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comments/modernComment_1C1_1D8D922D.xml" ContentType="application/vnd.ms-powerpoint.comments+xml"/>
  <Override PartName="/ppt/tags/tag3.xml" ContentType="application/vnd.openxmlformats-officedocument.presentationml.tags+xml"/>
  <Override PartName="/ppt/comments/modernComment_1E1_E151ADE3.xml" ContentType="application/vnd.ms-powerpoint.comment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13"/>
  </p:notesMasterIdLst>
  <p:sldIdLst>
    <p:sldId id="263" r:id="rId2"/>
    <p:sldId id="264" r:id="rId3"/>
    <p:sldId id="265" r:id="rId4"/>
    <p:sldId id="266" r:id="rId5"/>
    <p:sldId id="449" r:id="rId6"/>
    <p:sldId id="481" r:id="rId7"/>
    <p:sldId id="480" r:id="rId8"/>
    <p:sldId id="470" r:id="rId9"/>
    <p:sldId id="482" r:id="rId10"/>
    <p:sldId id="483" r:id="rId11"/>
    <p:sldId id="259" r:id="rId12"/>
  </p:sldIdLst>
  <p:sldSz cx="10691813" cy="7559675"/>
  <p:notesSz cx="6858000" cy="9144000"/>
  <p:embeddedFontLst>
    <p:embeddedFont>
      <p:font typeface="Calibri" panose="020F0502020204030204" pitchFamily="34" charset="0"/>
      <p:regular r:id="rId14"/>
      <p:bold r:id="rId15"/>
      <p:italic r:id="rId16"/>
      <p:boldItalic r:id="rId17"/>
    </p:embeddedFont>
    <p:embeddedFont>
      <p:font typeface="Franklin Gothic" panose="020B0604020202020204" charset="0"/>
      <p:bold r:id="rId18"/>
    </p:embeddedFont>
    <p:embeddedFont>
      <p:font typeface="Libre Franklin" pitchFamily="2" charset="0"/>
      <p:regular r:id="rId19"/>
      <p:bold r:id="rId20"/>
      <p:italic r:id="rId21"/>
      <p:boldItalic r:id="rId22"/>
    </p:embeddedFont>
    <p:embeddedFont>
      <p:font typeface="Open Sans" panose="020B0606030504020204" pitchFamily="34" charset="0"/>
      <p:regular r:id="rId23"/>
      <p:bold r:id="rId24"/>
      <p:italic r:id="rId25"/>
      <p:boldItalic r:id="rId26"/>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27" roundtripDataSignature="AMtx7mgohWxkuBKYvqnC2cILTChK7pEsFA=="/>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187C1AD-F1B5-325E-2F20-C04524BC8B96}" name="Casa 3" initials="C3" userId="S::casa3@infomineo.onmicrosoft.com::d591ae76-e12b-476f-b482-d9cb8033e0a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47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4" d="100"/>
          <a:sy n="64" d="100"/>
        </p:scale>
        <p:origin x="1618"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font" Target="fonts/font5.fntdata"/><Relationship Id="rId26" Type="http://schemas.openxmlformats.org/officeDocument/2006/relationships/font" Target="fonts/font13.fntdata"/><Relationship Id="rId3" Type="http://schemas.openxmlformats.org/officeDocument/2006/relationships/slide" Target="slides/slide2.xml"/><Relationship Id="rId21" Type="http://schemas.openxmlformats.org/officeDocument/2006/relationships/font" Target="fonts/font8.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4.fntdata"/><Relationship Id="rId25" Type="http://schemas.openxmlformats.org/officeDocument/2006/relationships/font" Target="fonts/font12.fntdata"/><Relationship Id="rId2" Type="http://schemas.openxmlformats.org/officeDocument/2006/relationships/slide" Target="slides/slide1.xml"/><Relationship Id="rId16" Type="http://schemas.openxmlformats.org/officeDocument/2006/relationships/font" Target="fonts/font3.fntdata"/><Relationship Id="rId20" Type="http://schemas.openxmlformats.org/officeDocument/2006/relationships/font" Target="fonts/font7.fntdata"/><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11.fntdata"/><Relationship Id="rId32" Type="http://schemas.microsoft.com/office/2018/10/relationships/authors" Target="authors.xml"/><Relationship Id="rId5" Type="http://schemas.openxmlformats.org/officeDocument/2006/relationships/slide" Target="slides/slide4.xml"/><Relationship Id="rId15" Type="http://schemas.openxmlformats.org/officeDocument/2006/relationships/font" Target="fonts/font2.fntdata"/><Relationship Id="rId23" Type="http://schemas.openxmlformats.org/officeDocument/2006/relationships/font" Target="fonts/font10.fntdata"/><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font" Target="fonts/font6.fntdata"/><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1.fntdata"/><Relationship Id="rId22" Type="http://schemas.openxmlformats.org/officeDocument/2006/relationships/font" Target="fonts/font9.fntdata"/><Relationship Id="rId27" Type="http://customschemas.google.com/relationships/presentationmetadata" Target="metadata"/><Relationship Id="rId30" Type="http://schemas.openxmlformats.org/officeDocument/2006/relationships/theme" Target="theme/theme1.xml"/></Relationships>
</file>

<file path=ppt/comments/modernComment_1C1_1D8D922D.xml><?xml version="1.0" encoding="utf-8"?>
<p188:cmLst xmlns:a="http://schemas.openxmlformats.org/drawingml/2006/main" xmlns:r="http://schemas.openxmlformats.org/officeDocument/2006/relationships" xmlns:p188="http://schemas.microsoft.com/office/powerpoint/2018/8/main">
  <p188:cm id="{1FB8482F-6A60-4B60-BCAD-077F4C340847}" authorId="{7187C1AD-F1B5-325E-2F20-C04524BC8B96}" created="2023-03-08T15:24:37.320">
    <ac:deMkLst xmlns:ac="http://schemas.microsoft.com/office/drawing/2013/main/command">
      <pc:docMk xmlns:pc="http://schemas.microsoft.com/office/powerpoint/2013/main/command"/>
      <pc:sldMk xmlns:pc="http://schemas.microsoft.com/office/powerpoint/2013/main/command" cId="495817261" sldId="449"/>
      <ac:spMk id="12" creationId="{341FE5C9-84F1-4B95-9EA7-0C821693FE11}"/>
    </ac:deMkLst>
    <p188:txBody>
      <a:bodyPr/>
      <a:lstStyle/>
      <a:p>
        <a:r>
          <a:rPr lang="en-US"/>
          <a:t>?
</a:t>
        </a:r>
      </a:p>
    </p188:txBody>
  </p188:cm>
</p188:cmLst>
</file>

<file path=ppt/comments/modernComment_1E1_E151ADE3.xml><?xml version="1.0" encoding="utf-8"?>
<p188:cmLst xmlns:a="http://schemas.openxmlformats.org/drawingml/2006/main" xmlns:r="http://schemas.openxmlformats.org/officeDocument/2006/relationships" xmlns:p188="http://schemas.microsoft.com/office/powerpoint/2018/8/main">
  <p188:cm id="{7ED9D677-BB6C-4C30-BE60-66B7E71C7B6E}" authorId="{7187C1AD-F1B5-325E-2F20-C04524BC8B96}" created="2023-03-08T14:56:48.828">
    <ac:txMkLst xmlns:ac="http://schemas.microsoft.com/office/drawing/2013/main/command">
      <pc:docMk xmlns:pc="http://schemas.microsoft.com/office/powerpoint/2013/main/command"/>
      <pc:sldMk xmlns:pc="http://schemas.microsoft.com/office/powerpoint/2013/main/command" cId="3780226531" sldId="481"/>
      <ac:spMk id="97" creationId="{F00DB661-8B92-AE9D-2519-5BC99A2E0662}"/>
      <ac:txMk cp="0" len="1374">
        <ac:context len="1377" hash="2673789874"/>
      </ac:txMk>
    </ac:txMkLst>
    <p188:pos x="8256373" y="142488"/>
    <p188:txBody>
      <a:bodyPr/>
      <a:lstStyle/>
      <a:p>
        <a:r>
          <a:rPr lang="en-US"/>
          <a:t>Garder la police a 9 ou passer a 10 pour uniformiser  mais réduire les tableaux?.</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1246188" y="1143000"/>
            <a:ext cx="436562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IN"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9"/>
        <p:cNvGrpSpPr/>
        <p:nvPr/>
      </p:nvGrpSpPr>
      <p:grpSpPr>
        <a:xfrm>
          <a:off x="0" y="0"/>
          <a:ext cx="0" cy="0"/>
          <a:chOff x="0" y="0"/>
          <a:chExt cx="0" cy="0"/>
        </a:xfrm>
      </p:grpSpPr>
      <p:sp>
        <p:nvSpPr>
          <p:cNvPr id="1320" name="Google Shape;1320;p43:notes"/>
          <p:cNvSpPr>
            <a:spLocks noGrp="1" noRot="1" noChangeAspect="1"/>
          </p:cNvSpPr>
          <p:nvPr>
            <p:ph type="sldImg" idx="2"/>
          </p:nvPr>
        </p:nvSpPr>
        <p:spPr>
          <a:xfrm>
            <a:off x="1246188" y="1143000"/>
            <a:ext cx="436562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21" name="Google Shape;1321;p4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SzPts val="1400"/>
              <a:buNone/>
            </a:pPr>
            <a:endParaRPr/>
          </a:p>
        </p:txBody>
      </p:sp>
      <p:sp>
        <p:nvSpPr>
          <p:cNvPr id="1322" name="Google Shape;1322;p4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9"/>
        <p:cNvGrpSpPr/>
        <p:nvPr/>
      </p:nvGrpSpPr>
      <p:grpSpPr>
        <a:xfrm>
          <a:off x="0" y="0"/>
          <a:ext cx="0" cy="0"/>
          <a:chOff x="0" y="0"/>
          <a:chExt cx="0" cy="0"/>
        </a:xfrm>
      </p:grpSpPr>
      <p:sp>
        <p:nvSpPr>
          <p:cNvPr id="1320" name="Google Shape;1320;p43:notes"/>
          <p:cNvSpPr>
            <a:spLocks noGrp="1" noRot="1" noChangeAspect="1"/>
          </p:cNvSpPr>
          <p:nvPr>
            <p:ph type="sldImg" idx="2"/>
          </p:nvPr>
        </p:nvSpPr>
        <p:spPr>
          <a:xfrm>
            <a:off x="1246188" y="1143000"/>
            <a:ext cx="436562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21" name="Google Shape;1321;p4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SzPts val="1400"/>
              <a:buNone/>
            </a:pPr>
            <a:endParaRPr/>
          </a:p>
        </p:txBody>
      </p:sp>
      <p:sp>
        <p:nvSpPr>
          <p:cNvPr id="1322" name="Google Shape;1322;p4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2</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4433658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9"/>
        <p:cNvGrpSpPr/>
        <p:nvPr/>
      </p:nvGrpSpPr>
      <p:grpSpPr>
        <a:xfrm>
          <a:off x="0" y="0"/>
          <a:ext cx="0" cy="0"/>
          <a:chOff x="0" y="0"/>
          <a:chExt cx="0" cy="0"/>
        </a:xfrm>
      </p:grpSpPr>
      <p:sp>
        <p:nvSpPr>
          <p:cNvPr id="1320" name="Google Shape;1320;p43:notes"/>
          <p:cNvSpPr>
            <a:spLocks noGrp="1" noRot="1" noChangeAspect="1"/>
          </p:cNvSpPr>
          <p:nvPr>
            <p:ph type="sldImg" idx="2"/>
          </p:nvPr>
        </p:nvSpPr>
        <p:spPr>
          <a:xfrm>
            <a:off x="1246188" y="1143000"/>
            <a:ext cx="436562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21" name="Google Shape;1321;p4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SzPts val="1400"/>
              <a:buNone/>
            </a:pPr>
            <a:endParaRPr/>
          </a:p>
        </p:txBody>
      </p:sp>
      <p:sp>
        <p:nvSpPr>
          <p:cNvPr id="1322" name="Google Shape;1322;p4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4</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207115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0"/>
        <p:cNvGrpSpPr/>
        <p:nvPr/>
      </p:nvGrpSpPr>
      <p:grpSpPr>
        <a:xfrm>
          <a:off x="0" y="0"/>
          <a:ext cx="0" cy="0"/>
          <a:chOff x="0" y="0"/>
          <a:chExt cx="0" cy="0"/>
        </a:xfrm>
      </p:grpSpPr>
      <p:sp>
        <p:nvSpPr>
          <p:cNvPr id="351" name="Google Shape;351;p4:notes"/>
          <p:cNvSpPr>
            <a:spLocks noGrp="1" noRot="1" noChangeAspect="1"/>
          </p:cNvSpPr>
          <p:nvPr>
            <p:ph type="sldImg" idx="2"/>
          </p:nvPr>
        </p:nvSpPr>
        <p:spPr>
          <a:xfrm>
            <a:off x="1246188" y="1143000"/>
            <a:ext cx="436562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52" name="Google Shape;352;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53" name="Google Shape;353;p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IN"/>
              <a:t>11</a:t>
            </a:fld>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s://www.facebook.com/Infomineo/" TargetMode="External"/><Relationship Id="rId3" Type="http://schemas.openxmlformats.org/officeDocument/2006/relationships/image" Target="../media/image2.png"/><Relationship Id="rId7" Type="http://schemas.openxmlformats.org/officeDocument/2006/relationships/image" Target="../media/image4.png"/><Relationship Id="rId2" Type="http://schemas.openxmlformats.org/officeDocument/2006/relationships/hyperlink" Target="http://www.infomineo.com/" TargetMode="External"/><Relationship Id="rId1" Type="http://schemas.openxmlformats.org/officeDocument/2006/relationships/slideMaster" Target="../slideMasters/slideMaster1.xml"/><Relationship Id="rId6" Type="http://schemas.openxmlformats.org/officeDocument/2006/relationships/hyperlink" Target="https://www.linkedin.com/company-beta/2416143/admin/updates/" TargetMode="External"/><Relationship Id="rId5" Type="http://schemas.openxmlformats.org/officeDocument/2006/relationships/image" Target="../media/image3.png"/><Relationship Id="rId4" Type="http://schemas.openxmlformats.org/officeDocument/2006/relationships/hyperlink" Target="https://infomineo.com/insights/blog/" TargetMode="Externa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5_Custom Layout">
  <p:cSld name="5_Custom Layout">
    <p:spTree>
      <p:nvGrpSpPr>
        <p:cNvPr id="1" name="Shape 54"/>
        <p:cNvGrpSpPr/>
        <p:nvPr/>
      </p:nvGrpSpPr>
      <p:grpSpPr>
        <a:xfrm>
          <a:off x="0" y="0"/>
          <a:ext cx="0" cy="0"/>
          <a:chOff x="0" y="0"/>
          <a:chExt cx="0" cy="0"/>
        </a:xfrm>
      </p:grpSpPr>
      <p:sp>
        <p:nvSpPr>
          <p:cNvPr id="55" name="Google Shape;55;p9"/>
          <p:cNvSpPr/>
          <p:nvPr/>
        </p:nvSpPr>
        <p:spPr>
          <a:xfrm>
            <a:off x="3" y="0"/>
            <a:ext cx="10691813" cy="7559675"/>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56" name="Google Shape;56;p9"/>
          <p:cNvSpPr txBox="1"/>
          <p:nvPr/>
        </p:nvSpPr>
        <p:spPr>
          <a:xfrm>
            <a:off x="483081" y="6754856"/>
            <a:ext cx="2659382" cy="32380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IN" sz="1052" b="1" i="0" u="sng">
                <a:solidFill>
                  <a:srgbClr val="43E1D3"/>
                </a:solidFill>
                <a:latin typeface="Calibri"/>
                <a:ea typeface="Calibri"/>
                <a:cs typeface="Calibri"/>
                <a:sym typeface="Calibri"/>
                <a:hlinkClick r:id="rId2">
                  <a:extLst>
                    <a:ext uri="{A12FA001-AC4F-418D-AE19-62706E023703}">
                      <ahyp:hlinkClr xmlns:ahyp="http://schemas.microsoft.com/office/drawing/2018/hyperlinkcolor" val="tx"/>
                    </a:ext>
                  </a:extLst>
                </a:hlinkClick>
              </a:rPr>
              <a:t>www.infomineo.com</a:t>
            </a:r>
            <a:r>
              <a:rPr lang="en-IN" sz="1052" b="1" i="0">
                <a:solidFill>
                  <a:srgbClr val="43E1D3"/>
                </a:solidFill>
                <a:latin typeface="Calibri"/>
                <a:ea typeface="Calibri"/>
                <a:cs typeface="Calibri"/>
                <a:sym typeface="Calibri"/>
              </a:rPr>
              <a:t> </a:t>
            </a:r>
            <a:endParaRPr/>
          </a:p>
          <a:p>
            <a:pPr marL="0" marR="0" lvl="0" indent="0" algn="l" rtl="0">
              <a:spcBef>
                <a:spcPts val="0"/>
              </a:spcBef>
              <a:spcAft>
                <a:spcPts val="0"/>
              </a:spcAft>
              <a:buNone/>
            </a:pPr>
            <a:r>
              <a:rPr lang="en-IN" sz="1052" b="0" i="0">
                <a:solidFill>
                  <a:schemeClr val="lt1"/>
                </a:solidFill>
                <a:latin typeface="Calibri"/>
                <a:ea typeface="Calibri"/>
                <a:cs typeface="Calibri"/>
                <a:sym typeface="Calibri"/>
              </a:rPr>
              <a:t>Infomineo Copyright © 2022. All rights reserved.</a:t>
            </a:r>
            <a:endParaRPr/>
          </a:p>
        </p:txBody>
      </p:sp>
      <p:pic>
        <p:nvPicPr>
          <p:cNvPr id="57" name="Google Shape;57;p9"/>
          <p:cNvPicPr preferRelativeResize="0"/>
          <p:nvPr/>
        </p:nvPicPr>
        <p:blipFill rotWithShape="1">
          <a:blip r:embed="rId3">
            <a:alphaModFix/>
          </a:blip>
          <a:srcRect/>
          <a:stretch/>
        </p:blipFill>
        <p:spPr>
          <a:xfrm>
            <a:off x="3318385" y="3322299"/>
            <a:ext cx="4055043" cy="915076"/>
          </a:xfrm>
          <a:prstGeom prst="rect">
            <a:avLst/>
          </a:prstGeom>
          <a:noFill/>
          <a:ln>
            <a:noFill/>
          </a:ln>
        </p:spPr>
      </p:pic>
      <p:pic>
        <p:nvPicPr>
          <p:cNvPr id="58" name="Google Shape;58;p9">
            <a:hlinkClick r:id="rId4"/>
          </p:cNvPr>
          <p:cNvPicPr preferRelativeResize="0"/>
          <p:nvPr/>
        </p:nvPicPr>
        <p:blipFill rotWithShape="1">
          <a:blip r:embed="rId5">
            <a:alphaModFix/>
          </a:blip>
          <a:srcRect/>
          <a:stretch/>
        </p:blipFill>
        <p:spPr>
          <a:xfrm>
            <a:off x="9907409" y="6823864"/>
            <a:ext cx="301323" cy="301323"/>
          </a:xfrm>
          <a:prstGeom prst="rect">
            <a:avLst/>
          </a:prstGeom>
          <a:noFill/>
          <a:ln>
            <a:noFill/>
          </a:ln>
        </p:spPr>
      </p:pic>
      <p:pic>
        <p:nvPicPr>
          <p:cNvPr id="59" name="Google Shape;59;p9">
            <a:hlinkClick r:id="rId6"/>
          </p:cNvPr>
          <p:cNvPicPr preferRelativeResize="0"/>
          <p:nvPr/>
        </p:nvPicPr>
        <p:blipFill rotWithShape="1">
          <a:blip r:embed="rId7">
            <a:alphaModFix/>
          </a:blip>
          <a:srcRect/>
          <a:stretch/>
        </p:blipFill>
        <p:spPr>
          <a:xfrm>
            <a:off x="9506582" y="6823864"/>
            <a:ext cx="300083" cy="301323"/>
          </a:xfrm>
          <a:prstGeom prst="rect">
            <a:avLst/>
          </a:prstGeom>
          <a:noFill/>
          <a:ln>
            <a:noFill/>
          </a:ln>
        </p:spPr>
      </p:pic>
      <p:pic>
        <p:nvPicPr>
          <p:cNvPr id="60" name="Google Shape;60;p9">
            <a:hlinkClick r:id="rId8"/>
          </p:cNvPr>
          <p:cNvPicPr preferRelativeResize="0"/>
          <p:nvPr/>
        </p:nvPicPr>
        <p:blipFill rotWithShape="1">
          <a:blip r:embed="rId9">
            <a:alphaModFix/>
          </a:blip>
          <a:srcRect/>
          <a:stretch/>
        </p:blipFill>
        <p:spPr>
          <a:xfrm>
            <a:off x="9106039" y="6823864"/>
            <a:ext cx="300083" cy="301323"/>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5 Column Layout">
  <p:cSld name="5 Column Layout">
    <p:spTree>
      <p:nvGrpSpPr>
        <p:cNvPr id="1" name="Shape 132"/>
        <p:cNvGrpSpPr/>
        <p:nvPr/>
      </p:nvGrpSpPr>
      <p:grpSpPr>
        <a:xfrm>
          <a:off x="0" y="0"/>
          <a:ext cx="0" cy="0"/>
          <a:chOff x="0" y="0"/>
          <a:chExt cx="0" cy="0"/>
        </a:xfrm>
      </p:grpSpPr>
      <p:sp>
        <p:nvSpPr>
          <p:cNvPr id="133" name="Google Shape;133;p18"/>
          <p:cNvSpPr txBox="1">
            <a:spLocks noGrp="1"/>
          </p:cNvSpPr>
          <p:nvPr>
            <p:ph type="title"/>
          </p:nvPr>
        </p:nvSpPr>
        <p:spPr>
          <a:xfrm>
            <a:off x="483827" y="484188"/>
            <a:ext cx="9725386"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8"/>
          <p:cNvSpPr txBox="1">
            <a:spLocks noGrp="1"/>
          </p:cNvSpPr>
          <p:nvPr>
            <p:ph type="ftr" idx="11"/>
          </p:nvPr>
        </p:nvSpPr>
        <p:spPr>
          <a:xfrm>
            <a:off x="483080" y="7158305"/>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5" name="Google Shape;135;p18"/>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sp>
        <p:nvSpPr>
          <p:cNvPr id="136" name="Google Shape;136;p18"/>
          <p:cNvSpPr txBox="1">
            <a:spLocks noGrp="1"/>
          </p:cNvSpPr>
          <p:nvPr>
            <p:ph type="body" idx="1"/>
          </p:nvPr>
        </p:nvSpPr>
        <p:spPr>
          <a:xfrm>
            <a:off x="483082" y="2330619"/>
            <a:ext cx="1739524"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439"/>
              </a:spcBef>
              <a:spcAft>
                <a:spcPts val="0"/>
              </a:spcAft>
              <a:buSzPts val="1260"/>
              <a:buChar char="▪"/>
              <a:defRPr sz="1400">
                <a:latin typeface="Calibri"/>
                <a:ea typeface="Calibri"/>
                <a:cs typeface="Calibri"/>
                <a:sym typeface="Calibri"/>
              </a:defRPr>
            </a:lvl2pPr>
            <a:lvl3pPr marL="1371600" lvl="2" indent="-228600" algn="l">
              <a:lnSpc>
                <a:spcPct val="95000"/>
              </a:lnSpc>
              <a:spcBef>
                <a:spcPts val="263"/>
              </a:spcBef>
              <a:spcAft>
                <a:spcPts val="0"/>
              </a:spcAft>
              <a:buSzPts val="1400"/>
              <a:buNone/>
              <a:defRPr sz="1400">
                <a:latin typeface="Calibri"/>
                <a:ea typeface="Calibri"/>
                <a:cs typeface="Calibri"/>
                <a:sym typeface="Calibri"/>
              </a:defRPr>
            </a:lvl3pPr>
            <a:lvl4pPr marL="1828800" lvl="3" indent="-308610" algn="l">
              <a:lnSpc>
                <a:spcPct val="95000"/>
              </a:lnSpc>
              <a:spcBef>
                <a:spcPts val="88"/>
              </a:spcBef>
              <a:spcAft>
                <a:spcPts val="0"/>
              </a:spcAft>
              <a:buSzPts val="1260"/>
              <a:buChar char="•"/>
              <a:defRPr sz="1400">
                <a:latin typeface="Calibri"/>
                <a:ea typeface="Calibri"/>
                <a:cs typeface="Calibri"/>
                <a:sym typeface="Calibri"/>
              </a:defRPr>
            </a:lvl4pPr>
            <a:lvl5pPr marL="2286000" lvl="4" indent="-317500" algn="l">
              <a:lnSpc>
                <a:spcPct val="95000"/>
              </a:lnSpc>
              <a:spcBef>
                <a:spcPts val="88"/>
              </a:spcBef>
              <a:spcAft>
                <a:spcPts val="0"/>
              </a:spcAft>
              <a:buSzPts val="1400"/>
              <a:buChar char="−"/>
              <a:defRPr sz="1400">
                <a:latin typeface="Calibri"/>
                <a:ea typeface="Calibri"/>
                <a:cs typeface="Calibri"/>
                <a:sym typeface="Calibri"/>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37" name="Google Shape;137;p18"/>
          <p:cNvSpPr txBox="1">
            <a:spLocks noGrp="1"/>
          </p:cNvSpPr>
          <p:nvPr>
            <p:ph type="body" idx="2"/>
          </p:nvPr>
        </p:nvSpPr>
        <p:spPr>
          <a:xfrm>
            <a:off x="483082" y="1979613"/>
            <a:ext cx="173952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38" name="Google Shape;138;p18"/>
          <p:cNvSpPr txBox="1">
            <a:spLocks noGrp="1"/>
          </p:cNvSpPr>
          <p:nvPr>
            <p:ph type="body" idx="3"/>
          </p:nvPr>
        </p:nvSpPr>
        <p:spPr>
          <a:xfrm>
            <a:off x="4476015" y="2330619"/>
            <a:ext cx="1736397"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439"/>
              </a:spcBef>
              <a:spcAft>
                <a:spcPts val="0"/>
              </a:spcAft>
              <a:buSzPts val="1260"/>
              <a:buChar char="▪"/>
              <a:defRPr sz="1400">
                <a:latin typeface="Calibri"/>
                <a:ea typeface="Calibri"/>
                <a:cs typeface="Calibri"/>
                <a:sym typeface="Calibri"/>
              </a:defRPr>
            </a:lvl2pPr>
            <a:lvl3pPr marL="1371600" lvl="2" indent="-317500" algn="l">
              <a:lnSpc>
                <a:spcPct val="95000"/>
              </a:lnSpc>
              <a:spcBef>
                <a:spcPts val="263"/>
              </a:spcBef>
              <a:spcAft>
                <a:spcPts val="0"/>
              </a:spcAft>
              <a:buSzPts val="1400"/>
              <a:buChar char="−"/>
              <a:defRPr sz="1400">
                <a:latin typeface="Calibri"/>
                <a:ea typeface="Calibri"/>
                <a:cs typeface="Calibri"/>
                <a:sym typeface="Calibri"/>
              </a:defRPr>
            </a:lvl3pPr>
            <a:lvl4pPr marL="1828800" lvl="3" indent="-308610" algn="l">
              <a:lnSpc>
                <a:spcPct val="95000"/>
              </a:lnSpc>
              <a:spcBef>
                <a:spcPts val="88"/>
              </a:spcBef>
              <a:spcAft>
                <a:spcPts val="0"/>
              </a:spcAft>
              <a:buSzPts val="1260"/>
              <a:buChar char="•"/>
              <a:defRPr sz="1400">
                <a:latin typeface="Calibri"/>
                <a:ea typeface="Calibri"/>
                <a:cs typeface="Calibri"/>
                <a:sym typeface="Calibri"/>
              </a:defRPr>
            </a:lvl4pPr>
            <a:lvl5pPr marL="2286000" lvl="4" indent="-317500" algn="l">
              <a:lnSpc>
                <a:spcPct val="95000"/>
              </a:lnSpc>
              <a:spcBef>
                <a:spcPts val="88"/>
              </a:spcBef>
              <a:spcAft>
                <a:spcPts val="0"/>
              </a:spcAft>
              <a:buSzPts val="1400"/>
              <a:buChar char="−"/>
              <a:defRPr sz="1400">
                <a:latin typeface="Calibri"/>
                <a:ea typeface="Calibri"/>
                <a:cs typeface="Calibri"/>
                <a:sym typeface="Calibri"/>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39" name="Google Shape;139;p18"/>
          <p:cNvSpPr txBox="1">
            <a:spLocks noGrp="1"/>
          </p:cNvSpPr>
          <p:nvPr>
            <p:ph type="body" idx="4"/>
          </p:nvPr>
        </p:nvSpPr>
        <p:spPr>
          <a:xfrm>
            <a:off x="4476015" y="1979613"/>
            <a:ext cx="1736397"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40" name="Google Shape;140;p18"/>
          <p:cNvSpPr txBox="1">
            <a:spLocks noGrp="1"/>
          </p:cNvSpPr>
          <p:nvPr>
            <p:ph type="body" idx="5"/>
          </p:nvPr>
        </p:nvSpPr>
        <p:spPr>
          <a:xfrm>
            <a:off x="2479548" y="2330619"/>
            <a:ext cx="1739524"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439"/>
              </a:spcBef>
              <a:spcAft>
                <a:spcPts val="0"/>
              </a:spcAft>
              <a:buSzPts val="1260"/>
              <a:buChar char="▪"/>
              <a:defRPr sz="1400">
                <a:latin typeface="Calibri"/>
                <a:ea typeface="Calibri"/>
                <a:cs typeface="Calibri"/>
                <a:sym typeface="Calibri"/>
              </a:defRPr>
            </a:lvl2pPr>
            <a:lvl3pPr marL="1371600" lvl="2" indent="-228600" algn="l">
              <a:lnSpc>
                <a:spcPct val="95000"/>
              </a:lnSpc>
              <a:spcBef>
                <a:spcPts val="263"/>
              </a:spcBef>
              <a:spcAft>
                <a:spcPts val="0"/>
              </a:spcAft>
              <a:buSzPts val="1400"/>
              <a:buNone/>
              <a:defRPr sz="1400">
                <a:latin typeface="Calibri"/>
                <a:ea typeface="Calibri"/>
                <a:cs typeface="Calibri"/>
                <a:sym typeface="Calibri"/>
              </a:defRPr>
            </a:lvl3pPr>
            <a:lvl4pPr marL="1828800" lvl="3" indent="-308610" algn="l">
              <a:lnSpc>
                <a:spcPct val="95000"/>
              </a:lnSpc>
              <a:spcBef>
                <a:spcPts val="88"/>
              </a:spcBef>
              <a:spcAft>
                <a:spcPts val="0"/>
              </a:spcAft>
              <a:buSzPts val="1260"/>
              <a:buChar char="•"/>
              <a:defRPr sz="1400">
                <a:latin typeface="Calibri"/>
                <a:ea typeface="Calibri"/>
                <a:cs typeface="Calibri"/>
                <a:sym typeface="Calibri"/>
              </a:defRPr>
            </a:lvl4pPr>
            <a:lvl5pPr marL="2286000" lvl="4" indent="-317500" algn="l">
              <a:lnSpc>
                <a:spcPct val="95000"/>
              </a:lnSpc>
              <a:spcBef>
                <a:spcPts val="88"/>
              </a:spcBef>
              <a:spcAft>
                <a:spcPts val="0"/>
              </a:spcAft>
              <a:buSzPts val="1400"/>
              <a:buChar char="−"/>
              <a:defRPr sz="1400">
                <a:latin typeface="Calibri"/>
                <a:ea typeface="Calibri"/>
                <a:cs typeface="Calibri"/>
                <a:sym typeface="Calibri"/>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41" name="Google Shape;141;p18"/>
          <p:cNvSpPr txBox="1">
            <a:spLocks noGrp="1"/>
          </p:cNvSpPr>
          <p:nvPr>
            <p:ph type="body" idx="6"/>
          </p:nvPr>
        </p:nvSpPr>
        <p:spPr>
          <a:xfrm>
            <a:off x="2479548" y="1979613"/>
            <a:ext cx="173952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42" name="Google Shape;142;p18"/>
          <p:cNvSpPr txBox="1">
            <a:spLocks noGrp="1"/>
          </p:cNvSpPr>
          <p:nvPr>
            <p:ph type="body" idx="7"/>
          </p:nvPr>
        </p:nvSpPr>
        <p:spPr>
          <a:xfrm>
            <a:off x="6472478" y="2330619"/>
            <a:ext cx="1736397"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439"/>
              </a:spcBef>
              <a:spcAft>
                <a:spcPts val="0"/>
              </a:spcAft>
              <a:buSzPts val="1260"/>
              <a:buChar char="▪"/>
              <a:defRPr sz="1400">
                <a:latin typeface="Calibri"/>
                <a:ea typeface="Calibri"/>
                <a:cs typeface="Calibri"/>
                <a:sym typeface="Calibri"/>
              </a:defRPr>
            </a:lvl2pPr>
            <a:lvl3pPr marL="1371600" lvl="2" indent="-317500" algn="l">
              <a:lnSpc>
                <a:spcPct val="95000"/>
              </a:lnSpc>
              <a:spcBef>
                <a:spcPts val="263"/>
              </a:spcBef>
              <a:spcAft>
                <a:spcPts val="0"/>
              </a:spcAft>
              <a:buSzPts val="1400"/>
              <a:buChar char="−"/>
              <a:defRPr sz="1400">
                <a:latin typeface="Calibri"/>
                <a:ea typeface="Calibri"/>
                <a:cs typeface="Calibri"/>
                <a:sym typeface="Calibri"/>
              </a:defRPr>
            </a:lvl3pPr>
            <a:lvl4pPr marL="1828800" lvl="3" indent="-308610" algn="l">
              <a:lnSpc>
                <a:spcPct val="95000"/>
              </a:lnSpc>
              <a:spcBef>
                <a:spcPts val="88"/>
              </a:spcBef>
              <a:spcAft>
                <a:spcPts val="0"/>
              </a:spcAft>
              <a:buSzPts val="1260"/>
              <a:buChar char="•"/>
              <a:defRPr sz="1400">
                <a:latin typeface="Calibri"/>
                <a:ea typeface="Calibri"/>
                <a:cs typeface="Calibri"/>
                <a:sym typeface="Calibri"/>
              </a:defRPr>
            </a:lvl4pPr>
            <a:lvl5pPr marL="2286000" lvl="4" indent="-317500" algn="l">
              <a:lnSpc>
                <a:spcPct val="95000"/>
              </a:lnSpc>
              <a:spcBef>
                <a:spcPts val="88"/>
              </a:spcBef>
              <a:spcAft>
                <a:spcPts val="0"/>
              </a:spcAft>
              <a:buSzPts val="1400"/>
              <a:buChar char="−"/>
              <a:defRPr sz="1400">
                <a:latin typeface="Calibri"/>
                <a:ea typeface="Calibri"/>
                <a:cs typeface="Calibri"/>
                <a:sym typeface="Calibri"/>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43" name="Google Shape;143;p18"/>
          <p:cNvSpPr txBox="1">
            <a:spLocks noGrp="1"/>
          </p:cNvSpPr>
          <p:nvPr>
            <p:ph type="body" idx="8"/>
          </p:nvPr>
        </p:nvSpPr>
        <p:spPr>
          <a:xfrm>
            <a:off x="6472478" y="1979613"/>
            <a:ext cx="1736397"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44" name="Google Shape;144;p18"/>
          <p:cNvSpPr txBox="1">
            <a:spLocks noGrp="1"/>
          </p:cNvSpPr>
          <p:nvPr>
            <p:ph type="body" idx="9"/>
          </p:nvPr>
        </p:nvSpPr>
        <p:spPr>
          <a:xfrm>
            <a:off x="8472070" y="2330619"/>
            <a:ext cx="1736397"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439"/>
              </a:spcBef>
              <a:spcAft>
                <a:spcPts val="0"/>
              </a:spcAft>
              <a:buSzPts val="1260"/>
              <a:buChar char="▪"/>
              <a:defRPr sz="1400">
                <a:latin typeface="Calibri"/>
                <a:ea typeface="Calibri"/>
                <a:cs typeface="Calibri"/>
                <a:sym typeface="Calibri"/>
              </a:defRPr>
            </a:lvl2pPr>
            <a:lvl3pPr marL="1371600" lvl="2" indent="-317500" algn="l">
              <a:lnSpc>
                <a:spcPct val="95000"/>
              </a:lnSpc>
              <a:spcBef>
                <a:spcPts val="263"/>
              </a:spcBef>
              <a:spcAft>
                <a:spcPts val="0"/>
              </a:spcAft>
              <a:buSzPts val="1400"/>
              <a:buChar char="−"/>
              <a:defRPr sz="1400">
                <a:latin typeface="Calibri"/>
                <a:ea typeface="Calibri"/>
                <a:cs typeface="Calibri"/>
                <a:sym typeface="Calibri"/>
              </a:defRPr>
            </a:lvl3pPr>
            <a:lvl4pPr marL="1828800" lvl="3" indent="-308610" algn="l">
              <a:lnSpc>
                <a:spcPct val="95000"/>
              </a:lnSpc>
              <a:spcBef>
                <a:spcPts val="88"/>
              </a:spcBef>
              <a:spcAft>
                <a:spcPts val="0"/>
              </a:spcAft>
              <a:buSzPts val="1260"/>
              <a:buChar char="•"/>
              <a:defRPr sz="1400">
                <a:latin typeface="Calibri"/>
                <a:ea typeface="Calibri"/>
                <a:cs typeface="Calibri"/>
                <a:sym typeface="Calibri"/>
              </a:defRPr>
            </a:lvl4pPr>
            <a:lvl5pPr marL="2286000" lvl="4" indent="-317500" algn="l">
              <a:lnSpc>
                <a:spcPct val="95000"/>
              </a:lnSpc>
              <a:spcBef>
                <a:spcPts val="88"/>
              </a:spcBef>
              <a:spcAft>
                <a:spcPts val="0"/>
              </a:spcAft>
              <a:buSzPts val="1400"/>
              <a:buChar char="−"/>
              <a:defRPr sz="1400">
                <a:latin typeface="Calibri"/>
                <a:ea typeface="Calibri"/>
                <a:cs typeface="Calibri"/>
                <a:sym typeface="Calibri"/>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45" name="Google Shape;145;p18"/>
          <p:cNvSpPr txBox="1">
            <a:spLocks noGrp="1"/>
          </p:cNvSpPr>
          <p:nvPr>
            <p:ph type="body" idx="13"/>
          </p:nvPr>
        </p:nvSpPr>
        <p:spPr>
          <a:xfrm>
            <a:off x="8472070" y="1979613"/>
            <a:ext cx="1736397"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2_Custom Layout">
  <p:cSld name="2_Custom Layout">
    <p:spTree>
      <p:nvGrpSpPr>
        <p:cNvPr id="1" name="Shape 146"/>
        <p:cNvGrpSpPr/>
        <p:nvPr/>
      </p:nvGrpSpPr>
      <p:grpSpPr>
        <a:xfrm>
          <a:off x="0" y="0"/>
          <a:ext cx="0" cy="0"/>
          <a:chOff x="0" y="0"/>
          <a:chExt cx="0" cy="0"/>
        </a:xfrm>
      </p:grpSpPr>
      <p:sp>
        <p:nvSpPr>
          <p:cNvPr id="147" name="Google Shape;147;p19"/>
          <p:cNvSpPr/>
          <p:nvPr/>
        </p:nvSpPr>
        <p:spPr>
          <a:xfrm>
            <a:off x="0" y="-1"/>
            <a:ext cx="3560233" cy="7559674"/>
          </a:xfrm>
          <a:prstGeom prst="rect">
            <a:avLst/>
          </a:pr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579">
              <a:solidFill>
                <a:schemeClr val="lt1"/>
              </a:solidFill>
              <a:latin typeface="Calibri"/>
              <a:ea typeface="Calibri"/>
              <a:cs typeface="Calibri"/>
              <a:sym typeface="Calibri"/>
            </a:endParaRPr>
          </a:p>
        </p:txBody>
      </p:sp>
      <p:sp>
        <p:nvSpPr>
          <p:cNvPr id="148" name="Google Shape;148;p19"/>
          <p:cNvSpPr txBox="1">
            <a:spLocks noGrp="1"/>
          </p:cNvSpPr>
          <p:nvPr>
            <p:ph type="title"/>
          </p:nvPr>
        </p:nvSpPr>
        <p:spPr>
          <a:xfrm>
            <a:off x="482600" y="484188"/>
            <a:ext cx="2698535" cy="125572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 name="Google Shape;149;p19"/>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sp>
        <p:nvSpPr>
          <p:cNvPr id="150" name="Google Shape;150;p19"/>
          <p:cNvSpPr txBox="1">
            <a:spLocks noGrp="1"/>
          </p:cNvSpPr>
          <p:nvPr>
            <p:ph type="ftr" idx="11"/>
          </p:nvPr>
        </p:nvSpPr>
        <p:spPr>
          <a:xfrm>
            <a:off x="3814375" y="7135906"/>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51" name="Google Shape;151;p19"/>
          <p:cNvCxnSpPr/>
          <p:nvPr/>
        </p:nvCxnSpPr>
        <p:spPr>
          <a:xfrm>
            <a:off x="473028" y="383916"/>
            <a:ext cx="473555" cy="0"/>
          </a:xfrm>
          <a:prstGeom prst="straightConnector1">
            <a:avLst/>
          </a:prstGeom>
          <a:noFill/>
          <a:ln w="38100" cap="flat" cmpd="sng">
            <a:solidFill>
              <a:schemeClr val="dk2"/>
            </a:solidFill>
            <a:prstDash val="solid"/>
            <a:miter lim="800000"/>
            <a:headEnd type="none" w="sm" len="sm"/>
            <a:tailEnd type="none" w="sm" len="sm"/>
          </a:ln>
        </p:spPr>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9_Custom Layout">
  <p:cSld name="9_Custom Layout">
    <p:spTree>
      <p:nvGrpSpPr>
        <p:cNvPr id="1" name="Shape 152"/>
        <p:cNvGrpSpPr/>
        <p:nvPr/>
      </p:nvGrpSpPr>
      <p:grpSpPr>
        <a:xfrm>
          <a:off x="0" y="0"/>
          <a:ext cx="0" cy="0"/>
          <a:chOff x="0" y="0"/>
          <a:chExt cx="0" cy="0"/>
        </a:xfrm>
      </p:grpSpPr>
      <p:sp>
        <p:nvSpPr>
          <p:cNvPr id="153" name="Google Shape;153;p20"/>
          <p:cNvSpPr/>
          <p:nvPr/>
        </p:nvSpPr>
        <p:spPr>
          <a:xfrm>
            <a:off x="0" y="-1"/>
            <a:ext cx="3560233" cy="7559674"/>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579">
              <a:solidFill>
                <a:schemeClr val="lt1"/>
              </a:solidFill>
              <a:latin typeface="Calibri"/>
              <a:ea typeface="Calibri"/>
              <a:cs typeface="Calibri"/>
              <a:sym typeface="Calibri"/>
            </a:endParaRPr>
          </a:p>
        </p:txBody>
      </p:sp>
      <p:sp>
        <p:nvSpPr>
          <p:cNvPr id="154" name="Google Shape;154;p20"/>
          <p:cNvSpPr txBox="1">
            <a:spLocks noGrp="1"/>
          </p:cNvSpPr>
          <p:nvPr>
            <p:ph type="title"/>
          </p:nvPr>
        </p:nvSpPr>
        <p:spPr>
          <a:xfrm>
            <a:off x="481654" y="484188"/>
            <a:ext cx="2698535" cy="125572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 name="Google Shape;155;p20"/>
          <p:cNvSpPr txBox="1">
            <a:spLocks noGrp="1"/>
          </p:cNvSpPr>
          <p:nvPr>
            <p:ph type="ftr" idx="11"/>
          </p:nvPr>
        </p:nvSpPr>
        <p:spPr>
          <a:xfrm>
            <a:off x="3814375" y="7135906"/>
            <a:ext cx="428002"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56" name="Google Shape;156;p20"/>
          <p:cNvCxnSpPr/>
          <p:nvPr/>
        </p:nvCxnSpPr>
        <p:spPr>
          <a:xfrm>
            <a:off x="473028" y="383916"/>
            <a:ext cx="473555" cy="0"/>
          </a:xfrm>
          <a:prstGeom prst="straightConnector1">
            <a:avLst/>
          </a:prstGeom>
          <a:noFill/>
          <a:ln w="38100" cap="flat" cmpd="sng">
            <a:solidFill>
              <a:schemeClr val="lt1"/>
            </a:solidFill>
            <a:prstDash val="solid"/>
            <a:miter lim="800000"/>
            <a:headEnd type="none" w="sm" len="sm"/>
            <a:tailEnd type="none" w="sm" len="sm"/>
          </a:ln>
        </p:spPr>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4_Custom Layout">
  <p:cSld name="4_Custom Layout">
    <p:spTree>
      <p:nvGrpSpPr>
        <p:cNvPr id="1" name="Shape 157"/>
        <p:cNvGrpSpPr/>
        <p:nvPr/>
      </p:nvGrpSpPr>
      <p:grpSpPr>
        <a:xfrm>
          <a:off x="0" y="0"/>
          <a:ext cx="0" cy="0"/>
          <a:chOff x="0" y="0"/>
          <a:chExt cx="0" cy="0"/>
        </a:xfrm>
      </p:grpSpPr>
      <p:sp>
        <p:nvSpPr>
          <p:cNvPr id="158" name="Google Shape;158;p21"/>
          <p:cNvSpPr/>
          <p:nvPr/>
        </p:nvSpPr>
        <p:spPr>
          <a:xfrm>
            <a:off x="4" y="-1"/>
            <a:ext cx="5348131" cy="7559674"/>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579">
              <a:solidFill>
                <a:schemeClr val="lt1"/>
              </a:solidFill>
              <a:latin typeface="Calibri"/>
              <a:ea typeface="Calibri"/>
              <a:cs typeface="Calibri"/>
              <a:sym typeface="Calibri"/>
            </a:endParaRPr>
          </a:p>
        </p:txBody>
      </p:sp>
      <p:sp>
        <p:nvSpPr>
          <p:cNvPr id="159" name="Google Shape;159;p21"/>
          <p:cNvSpPr txBox="1">
            <a:spLocks noGrp="1"/>
          </p:cNvSpPr>
          <p:nvPr>
            <p:ph type="title"/>
          </p:nvPr>
        </p:nvSpPr>
        <p:spPr>
          <a:xfrm>
            <a:off x="481651" y="484188"/>
            <a:ext cx="4722740"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 name="Google Shape;160;p21"/>
          <p:cNvSpPr txBox="1">
            <a:spLocks noGrp="1"/>
          </p:cNvSpPr>
          <p:nvPr>
            <p:ph type="ftr" idx="11"/>
          </p:nvPr>
        </p:nvSpPr>
        <p:spPr>
          <a:xfrm>
            <a:off x="496480" y="7135906"/>
            <a:ext cx="428002"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61" name="Google Shape;161;p21"/>
          <p:cNvCxnSpPr/>
          <p:nvPr/>
        </p:nvCxnSpPr>
        <p:spPr>
          <a:xfrm>
            <a:off x="473028" y="383916"/>
            <a:ext cx="473555" cy="0"/>
          </a:xfrm>
          <a:prstGeom prst="straightConnector1">
            <a:avLst/>
          </a:prstGeom>
          <a:noFill/>
          <a:ln w="38100" cap="flat" cmpd="sng">
            <a:solidFill>
              <a:schemeClr val="lt1"/>
            </a:solidFill>
            <a:prstDash val="solid"/>
            <a:miter lim="800000"/>
            <a:headEnd type="none" w="sm" len="sm"/>
            <a:tailEnd type="none" w="sm" len="sm"/>
          </a:ln>
        </p:spPr>
      </p:cxn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3_Custom Layout">
  <p:cSld name="3_Custom Layout">
    <p:spTree>
      <p:nvGrpSpPr>
        <p:cNvPr id="1" name="Shape 162"/>
        <p:cNvGrpSpPr/>
        <p:nvPr/>
      </p:nvGrpSpPr>
      <p:grpSpPr>
        <a:xfrm>
          <a:off x="0" y="0"/>
          <a:ext cx="0" cy="0"/>
          <a:chOff x="0" y="0"/>
          <a:chExt cx="0" cy="0"/>
        </a:xfrm>
      </p:grpSpPr>
      <p:sp>
        <p:nvSpPr>
          <p:cNvPr id="163" name="Google Shape;163;p22"/>
          <p:cNvSpPr/>
          <p:nvPr/>
        </p:nvSpPr>
        <p:spPr>
          <a:xfrm>
            <a:off x="0" y="-1"/>
            <a:ext cx="3560233" cy="7559674"/>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579">
              <a:solidFill>
                <a:schemeClr val="lt1"/>
              </a:solidFill>
              <a:latin typeface="Calibri"/>
              <a:ea typeface="Calibri"/>
              <a:cs typeface="Calibri"/>
              <a:sym typeface="Calibri"/>
            </a:endParaRPr>
          </a:p>
        </p:txBody>
      </p:sp>
      <p:sp>
        <p:nvSpPr>
          <p:cNvPr id="164" name="Google Shape;164;p22"/>
          <p:cNvSpPr txBox="1">
            <a:spLocks noGrp="1"/>
          </p:cNvSpPr>
          <p:nvPr>
            <p:ph type="title"/>
          </p:nvPr>
        </p:nvSpPr>
        <p:spPr>
          <a:xfrm>
            <a:off x="496479" y="3151972"/>
            <a:ext cx="2659330" cy="125572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5" name="Google Shape;165;p22"/>
          <p:cNvSpPr txBox="1">
            <a:spLocks noGrp="1"/>
          </p:cNvSpPr>
          <p:nvPr>
            <p:ph type="ftr" idx="11"/>
          </p:nvPr>
        </p:nvSpPr>
        <p:spPr>
          <a:xfrm>
            <a:off x="3814375" y="7135906"/>
            <a:ext cx="428002"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8_Custom Layout">
  <p:cSld name="8_Custom Layout">
    <p:spTree>
      <p:nvGrpSpPr>
        <p:cNvPr id="1" name="Shape 166"/>
        <p:cNvGrpSpPr/>
        <p:nvPr/>
      </p:nvGrpSpPr>
      <p:grpSpPr>
        <a:xfrm>
          <a:off x="0" y="0"/>
          <a:ext cx="0" cy="0"/>
          <a:chOff x="0" y="0"/>
          <a:chExt cx="0" cy="0"/>
        </a:xfrm>
      </p:grpSpPr>
      <p:sp>
        <p:nvSpPr>
          <p:cNvPr id="167" name="Google Shape;167;p23"/>
          <p:cNvSpPr/>
          <p:nvPr/>
        </p:nvSpPr>
        <p:spPr>
          <a:xfrm>
            <a:off x="3" y="0"/>
            <a:ext cx="10691813" cy="7559675"/>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168" name="Google Shape;168;p23"/>
          <p:cNvSpPr txBox="1">
            <a:spLocks noGrp="1"/>
          </p:cNvSpPr>
          <p:nvPr>
            <p:ph type="title"/>
          </p:nvPr>
        </p:nvSpPr>
        <p:spPr>
          <a:xfrm>
            <a:off x="483081" y="484188"/>
            <a:ext cx="9725386" cy="36702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 name="Google Shape;169;p23"/>
          <p:cNvSpPr txBox="1">
            <a:spLocks noGrp="1"/>
          </p:cNvSpPr>
          <p:nvPr>
            <p:ph type="ftr" idx="11"/>
          </p:nvPr>
        </p:nvSpPr>
        <p:spPr>
          <a:xfrm>
            <a:off x="483081" y="7135906"/>
            <a:ext cx="428002"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0" name="Google Shape;170;p23"/>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cxnSp>
        <p:nvCxnSpPr>
          <p:cNvPr id="171" name="Google Shape;171;p23"/>
          <p:cNvCxnSpPr/>
          <p:nvPr/>
        </p:nvCxnSpPr>
        <p:spPr>
          <a:xfrm>
            <a:off x="473028" y="383916"/>
            <a:ext cx="473555" cy="0"/>
          </a:xfrm>
          <a:prstGeom prst="straightConnector1">
            <a:avLst/>
          </a:prstGeom>
          <a:noFill/>
          <a:ln w="38100" cap="flat" cmpd="sng">
            <a:solidFill>
              <a:schemeClr val="lt1"/>
            </a:solidFill>
            <a:prstDash val="solid"/>
            <a:miter lim="800000"/>
            <a:headEnd type="none" w="sm" len="sm"/>
            <a:tailEnd type="none" w="sm" len="sm"/>
          </a:ln>
        </p:spPr>
      </p:cxnSp>
      <p:grpSp>
        <p:nvGrpSpPr>
          <p:cNvPr id="172" name="Google Shape;172;p23"/>
          <p:cNvGrpSpPr/>
          <p:nvPr/>
        </p:nvGrpSpPr>
        <p:grpSpPr>
          <a:xfrm>
            <a:off x="10518694" y="5440544"/>
            <a:ext cx="97271" cy="1816408"/>
            <a:chOff x="10518694" y="5463404"/>
            <a:chExt cx="97271" cy="1816408"/>
          </a:xfrm>
        </p:grpSpPr>
        <p:grpSp>
          <p:nvGrpSpPr>
            <p:cNvPr id="173" name="Google Shape;173;p23"/>
            <p:cNvGrpSpPr/>
            <p:nvPr/>
          </p:nvGrpSpPr>
          <p:grpSpPr>
            <a:xfrm>
              <a:off x="10530628" y="6878757"/>
              <a:ext cx="62166" cy="401056"/>
              <a:chOff x="10629461" y="6878757"/>
              <a:chExt cx="62166" cy="401056"/>
            </a:xfrm>
          </p:grpSpPr>
          <p:sp>
            <p:nvSpPr>
              <p:cNvPr id="174" name="Google Shape;174;p23"/>
              <p:cNvSpPr/>
              <p:nvPr/>
            </p:nvSpPr>
            <p:spPr>
              <a:xfrm rot="-5400000">
                <a:off x="10688095" y="7163862"/>
                <a:ext cx="15" cy="1558"/>
              </a:xfrm>
              <a:custGeom>
                <a:avLst/>
                <a:gdLst/>
                <a:ahLst/>
                <a:cxnLst/>
                <a:rect l="l" t="t" r="r" b="b"/>
                <a:pathLst>
                  <a:path w="15" h="1558" extrusionOk="0">
                    <a:moveTo>
                      <a:pt x="0" y="0"/>
                    </a:moveTo>
                    <a:lnTo>
                      <a:pt x="16" y="0"/>
                    </a:lnTo>
                    <a:lnTo>
                      <a:pt x="16" y="0"/>
                    </a:lnTo>
                    <a:lnTo>
                      <a:pt x="0" y="0"/>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 name="Google Shape;175;p23"/>
              <p:cNvSpPr/>
              <p:nvPr/>
            </p:nvSpPr>
            <p:spPr>
              <a:xfrm rot="-5400000">
                <a:off x="10652401" y="7145302"/>
                <a:ext cx="411" cy="246"/>
              </a:xfrm>
              <a:custGeom>
                <a:avLst/>
                <a:gdLst/>
                <a:ahLst/>
                <a:cxnLst/>
                <a:rect l="l" t="t" r="r" b="b"/>
                <a:pathLst>
                  <a:path w="411" h="246" extrusionOk="0">
                    <a:moveTo>
                      <a:pt x="0" y="0"/>
                    </a:moveTo>
                    <a:cubicBezTo>
                      <a:pt x="234" y="156"/>
                      <a:pt x="452" y="312"/>
                      <a:pt x="405" y="218"/>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 name="Google Shape;176;p23"/>
              <p:cNvSpPr/>
              <p:nvPr/>
            </p:nvSpPr>
            <p:spPr>
              <a:xfrm rot="-5400000">
                <a:off x="10652556" y="7165151"/>
                <a:ext cx="13" cy="69"/>
              </a:xfrm>
              <a:custGeom>
                <a:avLst/>
                <a:gdLst/>
                <a:ahLst/>
                <a:cxnLst/>
                <a:rect l="l" t="t" r="r" b="b"/>
                <a:pathLst>
                  <a:path w="13" h="69" extrusionOk="0">
                    <a:moveTo>
                      <a:pt x="14" y="35"/>
                    </a:moveTo>
                    <a:cubicBezTo>
                      <a:pt x="14" y="35"/>
                      <a:pt x="14" y="-43"/>
                      <a:pt x="14" y="35"/>
                    </a:cubicBezTo>
                    <a:cubicBezTo>
                      <a:pt x="14" y="113"/>
                      <a:pt x="-17" y="35"/>
                      <a:pt x="14" y="35"/>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7" name="Google Shape;177;p23"/>
              <p:cNvSpPr/>
              <p:nvPr/>
            </p:nvSpPr>
            <p:spPr>
              <a:xfrm rot="-5400000">
                <a:off x="10650495" y="7161416"/>
                <a:ext cx="237" cy="93"/>
              </a:xfrm>
              <a:custGeom>
                <a:avLst/>
                <a:gdLst/>
                <a:ahLst/>
                <a:cxnLst/>
                <a:rect l="l" t="t" r="r" b="b"/>
                <a:pathLst>
                  <a:path w="237" h="93" extrusionOk="0">
                    <a:moveTo>
                      <a:pt x="238" y="0"/>
                    </a:moveTo>
                    <a:lnTo>
                      <a:pt x="50" y="94"/>
                    </a:lnTo>
                    <a:cubicBezTo>
                      <a:pt x="160" y="94"/>
                      <a:pt x="-105" y="94"/>
                      <a:pt x="50" y="9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 name="Google Shape;178;p23"/>
              <p:cNvSpPr/>
              <p:nvPr/>
            </p:nvSpPr>
            <p:spPr>
              <a:xfrm rot="-5400000">
                <a:off x="10645049" y="7132879"/>
                <a:ext cx="46577" cy="46577"/>
              </a:xfrm>
              <a:custGeom>
                <a:avLst/>
                <a:gdLst/>
                <a:ahLst/>
                <a:cxnLst/>
                <a:rect l="l" t="t" r="r" b="b"/>
                <a:pathLst>
                  <a:path w="46577" h="46577" extrusionOk="0">
                    <a:moveTo>
                      <a:pt x="23289" y="0"/>
                    </a:moveTo>
                    <a:cubicBezTo>
                      <a:pt x="10427" y="0"/>
                      <a:pt x="0" y="10427"/>
                      <a:pt x="0" y="23289"/>
                    </a:cubicBezTo>
                    <a:cubicBezTo>
                      <a:pt x="0" y="36151"/>
                      <a:pt x="10427" y="46578"/>
                      <a:pt x="23289" y="46578"/>
                    </a:cubicBezTo>
                    <a:cubicBezTo>
                      <a:pt x="36151" y="46578"/>
                      <a:pt x="46577" y="36151"/>
                      <a:pt x="46577" y="23289"/>
                    </a:cubicBezTo>
                    <a:cubicBezTo>
                      <a:pt x="46577" y="23273"/>
                      <a:pt x="46577" y="23258"/>
                      <a:pt x="46577" y="23242"/>
                    </a:cubicBezTo>
                    <a:cubicBezTo>
                      <a:pt x="46569" y="10397"/>
                      <a:pt x="36149" y="-9"/>
                      <a:pt x="23304" y="0"/>
                    </a:cubicBezTo>
                    <a:cubicBezTo>
                      <a:pt x="23299" y="0"/>
                      <a:pt x="23294" y="0"/>
                      <a:pt x="23289" y="0"/>
                    </a:cubicBezTo>
                    <a:close/>
                    <a:moveTo>
                      <a:pt x="24473" y="14201"/>
                    </a:moveTo>
                    <a:cubicBezTo>
                      <a:pt x="24380" y="14201"/>
                      <a:pt x="24473" y="14326"/>
                      <a:pt x="24473" y="14372"/>
                    </a:cubicBezTo>
                    <a:cubicBezTo>
                      <a:pt x="24407" y="14358"/>
                      <a:pt x="24337" y="14358"/>
                      <a:pt x="24271" y="14372"/>
                    </a:cubicBezTo>
                    <a:cubicBezTo>
                      <a:pt x="24411" y="14372"/>
                      <a:pt x="24629" y="14559"/>
                      <a:pt x="24442" y="14669"/>
                    </a:cubicBezTo>
                    <a:cubicBezTo>
                      <a:pt x="24255" y="14778"/>
                      <a:pt x="24520" y="14669"/>
                      <a:pt x="24536" y="14669"/>
                    </a:cubicBezTo>
                    <a:cubicBezTo>
                      <a:pt x="24660" y="14388"/>
                      <a:pt x="25034" y="14778"/>
                      <a:pt x="24769" y="14965"/>
                    </a:cubicBezTo>
                    <a:lnTo>
                      <a:pt x="24769" y="14965"/>
                    </a:lnTo>
                    <a:cubicBezTo>
                      <a:pt x="24769" y="14965"/>
                      <a:pt x="24769" y="14965"/>
                      <a:pt x="24769" y="14965"/>
                    </a:cubicBezTo>
                    <a:lnTo>
                      <a:pt x="24769" y="14965"/>
                    </a:lnTo>
                    <a:cubicBezTo>
                      <a:pt x="24769" y="14965"/>
                      <a:pt x="24676" y="14965"/>
                      <a:pt x="24645" y="14965"/>
                    </a:cubicBezTo>
                    <a:cubicBezTo>
                      <a:pt x="24614" y="14965"/>
                      <a:pt x="24645" y="14965"/>
                      <a:pt x="24645" y="15058"/>
                    </a:cubicBezTo>
                    <a:cubicBezTo>
                      <a:pt x="24645" y="15152"/>
                      <a:pt x="24754" y="15058"/>
                      <a:pt x="24645" y="15058"/>
                    </a:cubicBezTo>
                    <a:cubicBezTo>
                      <a:pt x="24536" y="15058"/>
                      <a:pt x="24769" y="15058"/>
                      <a:pt x="24847" y="15058"/>
                    </a:cubicBezTo>
                    <a:cubicBezTo>
                      <a:pt x="24925" y="15058"/>
                      <a:pt x="24754" y="15167"/>
                      <a:pt x="24754" y="15245"/>
                    </a:cubicBezTo>
                    <a:cubicBezTo>
                      <a:pt x="24754" y="15323"/>
                      <a:pt x="24317" y="15370"/>
                      <a:pt x="24271" y="15245"/>
                    </a:cubicBezTo>
                    <a:cubicBezTo>
                      <a:pt x="24224" y="15121"/>
                      <a:pt x="23865" y="15245"/>
                      <a:pt x="23663" y="15339"/>
                    </a:cubicBezTo>
                    <a:cubicBezTo>
                      <a:pt x="23460" y="15432"/>
                      <a:pt x="23663" y="15542"/>
                      <a:pt x="23476" y="15417"/>
                    </a:cubicBezTo>
                    <a:cubicBezTo>
                      <a:pt x="23289" y="15292"/>
                      <a:pt x="23242" y="15417"/>
                      <a:pt x="23195" y="15557"/>
                    </a:cubicBezTo>
                    <a:cubicBezTo>
                      <a:pt x="23148" y="15697"/>
                      <a:pt x="23195" y="15557"/>
                      <a:pt x="23055" y="15557"/>
                    </a:cubicBezTo>
                    <a:cubicBezTo>
                      <a:pt x="23189" y="15454"/>
                      <a:pt x="23315" y="15339"/>
                      <a:pt x="23429" y="15214"/>
                    </a:cubicBezTo>
                    <a:cubicBezTo>
                      <a:pt x="23429" y="15058"/>
                      <a:pt x="23647" y="15214"/>
                      <a:pt x="23772" y="15214"/>
                    </a:cubicBezTo>
                    <a:cubicBezTo>
                      <a:pt x="23897" y="15214"/>
                      <a:pt x="23865" y="15074"/>
                      <a:pt x="23912" y="15012"/>
                    </a:cubicBezTo>
                    <a:cubicBezTo>
                      <a:pt x="23959" y="14949"/>
                      <a:pt x="23678" y="15214"/>
                      <a:pt x="23600" y="15089"/>
                    </a:cubicBezTo>
                    <a:cubicBezTo>
                      <a:pt x="23522" y="14965"/>
                      <a:pt x="23367" y="15089"/>
                      <a:pt x="23507" y="15089"/>
                    </a:cubicBezTo>
                    <a:cubicBezTo>
                      <a:pt x="23647" y="15089"/>
                      <a:pt x="23382" y="15089"/>
                      <a:pt x="23289" y="15089"/>
                    </a:cubicBezTo>
                    <a:lnTo>
                      <a:pt x="23289" y="15089"/>
                    </a:lnTo>
                    <a:cubicBezTo>
                      <a:pt x="23289" y="15089"/>
                      <a:pt x="23289" y="15089"/>
                      <a:pt x="23289" y="15089"/>
                    </a:cubicBezTo>
                    <a:cubicBezTo>
                      <a:pt x="23522" y="15012"/>
                      <a:pt x="23632" y="14949"/>
                      <a:pt x="23600" y="14715"/>
                    </a:cubicBezTo>
                    <a:lnTo>
                      <a:pt x="23444" y="14715"/>
                    </a:lnTo>
                    <a:cubicBezTo>
                      <a:pt x="23554" y="14606"/>
                      <a:pt x="23709" y="14466"/>
                      <a:pt x="23865" y="14575"/>
                    </a:cubicBezTo>
                    <a:cubicBezTo>
                      <a:pt x="23741" y="14419"/>
                      <a:pt x="23865" y="14575"/>
                      <a:pt x="23865" y="14575"/>
                    </a:cubicBezTo>
                    <a:cubicBezTo>
                      <a:pt x="23865" y="14575"/>
                      <a:pt x="23772" y="14372"/>
                      <a:pt x="23865" y="14326"/>
                    </a:cubicBezTo>
                    <a:cubicBezTo>
                      <a:pt x="23959" y="14279"/>
                      <a:pt x="23865" y="14201"/>
                      <a:pt x="23772" y="14326"/>
                    </a:cubicBezTo>
                    <a:lnTo>
                      <a:pt x="23772" y="14326"/>
                    </a:lnTo>
                    <a:cubicBezTo>
                      <a:pt x="23647" y="14326"/>
                      <a:pt x="23772" y="14045"/>
                      <a:pt x="23772" y="14061"/>
                    </a:cubicBezTo>
                    <a:cubicBezTo>
                      <a:pt x="23616" y="14061"/>
                      <a:pt x="23585" y="14170"/>
                      <a:pt x="23444" y="14061"/>
                    </a:cubicBezTo>
                    <a:cubicBezTo>
                      <a:pt x="23304" y="13952"/>
                      <a:pt x="23444" y="14061"/>
                      <a:pt x="23444" y="14154"/>
                    </a:cubicBezTo>
                    <a:cubicBezTo>
                      <a:pt x="23444" y="14248"/>
                      <a:pt x="23289" y="14029"/>
                      <a:pt x="23335" y="14154"/>
                    </a:cubicBezTo>
                    <a:cubicBezTo>
                      <a:pt x="23382" y="14279"/>
                      <a:pt x="23335" y="14061"/>
                      <a:pt x="23335" y="14029"/>
                    </a:cubicBezTo>
                    <a:lnTo>
                      <a:pt x="23335" y="14029"/>
                    </a:lnTo>
                    <a:cubicBezTo>
                      <a:pt x="23335" y="14029"/>
                      <a:pt x="23335" y="13874"/>
                      <a:pt x="23429" y="13827"/>
                    </a:cubicBezTo>
                    <a:cubicBezTo>
                      <a:pt x="23522" y="13780"/>
                      <a:pt x="23335" y="13640"/>
                      <a:pt x="23429" y="13671"/>
                    </a:cubicBezTo>
                    <a:cubicBezTo>
                      <a:pt x="23522" y="13702"/>
                      <a:pt x="23429" y="13671"/>
                      <a:pt x="23429" y="13577"/>
                    </a:cubicBezTo>
                    <a:cubicBezTo>
                      <a:pt x="23429" y="13484"/>
                      <a:pt x="23429" y="13655"/>
                      <a:pt x="23429" y="13687"/>
                    </a:cubicBezTo>
                    <a:lnTo>
                      <a:pt x="23429" y="13687"/>
                    </a:lnTo>
                    <a:cubicBezTo>
                      <a:pt x="23429" y="13687"/>
                      <a:pt x="23429" y="13687"/>
                      <a:pt x="23429" y="13687"/>
                    </a:cubicBezTo>
                    <a:cubicBezTo>
                      <a:pt x="23429" y="13687"/>
                      <a:pt x="23429" y="13687"/>
                      <a:pt x="23429" y="13687"/>
                    </a:cubicBezTo>
                    <a:cubicBezTo>
                      <a:pt x="23425" y="13770"/>
                      <a:pt x="23425" y="13853"/>
                      <a:pt x="23429" y="13936"/>
                    </a:cubicBezTo>
                    <a:cubicBezTo>
                      <a:pt x="23335" y="13936"/>
                      <a:pt x="23429" y="13811"/>
                      <a:pt x="23429" y="13764"/>
                    </a:cubicBezTo>
                    <a:cubicBezTo>
                      <a:pt x="23429" y="13718"/>
                      <a:pt x="23429" y="13484"/>
                      <a:pt x="23522" y="13453"/>
                    </a:cubicBezTo>
                    <a:cubicBezTo>
                      <a:pt x="23616" y="13422"/>
                      <a:pt x="23522" y="13453"/>
                      <a:pt x="23522" y="13453"/>
                    </a:cubicBezTo>
                    <a:cubicBezTo>
                      <a:pt x="23522" y="13453"/>
                      <a:pt x="23413" y="13593"/>
                      <a:pt x="23351" y="13453"/>
                    </a:cubicBezTo>
                    <a:cubicBezTo>
                      <a:pt x="23289" y="13312"/>
                      <a:pt x="23351" y="13453"/>
                      <a:pt x="23351" y="13453"/>
                    </a:cubicBezTo>
                    <a:cubicBezTo>
                      <a:pt x="23351" y="13453"/>
                      <a:pt x="23351" y="13328"/>
                      <a:pt x="23476" y="13375"/>
                    </a:cubicBezTo>
                    <a:cubicBezTo>
                      <a:pt x="23600" y="13422"/>
                      <a:pt x="23476" y="13375"/>
                      <a:pt x="23476" y="13375"/>
                    </a:cubicBezTo>
                    <a:cubicBezTo>
                      <a:pt x="23476" y="13375"/>
                      <a:pt x="23476" y="13375"/>
                      <a:pt x="23476" y="13375"/>
                    </a:cubicBezTo>
                    <a:cubicBezTo>
                      <a:pt x="23476" y="13375"/>
                      <a:pt x="23476" y="13375"/>
                      <a:pt x="23476" y="13375"/>
                    </a:cubicBezTo>
                    <a:cubicBezTo>
                      <a:pt x="23476" y="13375"/>
                      <a:pt x="23476" y="13375"/>
                      <a:pt x="23476" y="13375"/>
                    </a:cubicBezTo>
                    <a:lnTo>
                      <a:pt x="23476" y="13375"/>
                    </a:lnTo>
                    <a:lnTo>
                      <a:pt x="23476" y="13297"/>
                    </a:lnTo>
                    <a:cubicBezTo>
                      <a:pt x="23476" y="13297"/>
                      <a:pt x="23476" y="13297"/>
                      <a:pt x="23476" y="13297"/>
                    </a:cubicBezTo>
                    <a:cubicBezTo>
                      <a:pt x="23476" y="13297"/>
                      <a:pt x="23476" y="13219"/>
                      <a:pt x="23476" y="13172"/>
                    </a:cubicBezTo>
                    <a:lnTo>
                      <a:pt x="23476" y="13172"/>
                    </a:lnTo>
                    <a:cubicBezTo>
                      <a:pt x="23476" y="13172"/>
                      <a:pt x="23476" y="13172"/>
                      <a:pt x="23476" y="13172"/>
                    </a:cubicBezTo>
                    <a:cubicBezTo>
                      <a:pt x="23476" y="13172"/>
                      <a:pt x="23476" y="13172"/>
                      <a:pt x="23569" y="13172"/>
                    </a:cubicBezTo>
                    <a:cubicBezTo>
                      <a:pt x="23574" y="13146"/>
                      <a:pt x="23574" y="13120"/>
                      <a:pt x="23569" y="13094"/>
                    </a:cubicBezTo>
                    <a:cubicBezTo>
                      <a:pt x="23569" y="13094"/>
                      <a:pt x="23678" y="12782"/>
                      <a:pt x="23709" y="12969"/>
                    </a:cubicBezTo>
                    <a:cubicBezTo>
                      <a:pt x="23741" y="13157"/>
                      <a:pt x="23709" y="12969"/>
                      <a:pt x="23709" y="12969"/>
                    </a:cubicBezTo>
                    <a:cubicBezTo>
                      <a:pt x="24084" y="12829"/>
                      <a:pt x="23990" y="12969"/>
                      <a:pt x="23709" y="13188"/>
                    </a:cubicBezTo>
                    <a:lnTo>
                      <a:pt x="23709" y="13188"/>
                    </a:lnTo>
                    <a:cubicBezTo>
                      <a:pt x="23507" y="13375"/>
                      <a:pt x="23928" y="13188"/>
                      <a:pt x="24037" y="13188"/>
                    </a:cubicBezTo>
                    <a:cubicBezTo>
                      <a:pt x="24146" y="13188"/>
                      <a:pt x="24037" y="13640"/>
                      <a:pt x="23834" y="13609"/>
                    </a:cubicBezTo>
                    <a:cubicBezTo>
                      <a:pt x="23632" y="13577"/>
                      <a:pt x="23834" y="13609"/>
                      <a:pt x="23834" y="13609"/>
                    </a:cubicBezTo>
                    <a:cubicBezTo>
                      <a:pt x="23834" y="13609"/>
                      <a:pt x="23694" y="13733"/>
                      <a:pt x="23600" y="13609"/>
                    </a:cubicBezTo>
                    <a:cubicBezTo>
                      <a:pt x="23654" y="13665"/>
                      <a:pt x="23743" y="13666"/>
                      <a:pt x="23799" y="13613"/>
                    </a:cubicBezTo>
                    <a:cubicBezTo>
                      <a:pt x="23800" y="13612"/>
                      <a:pt x="23802" y="13610"/>
                      <a:pt x="23803" y="13609"/>
                    </a:cubicBezTo>
                    <a:cubicBezTo>
                      <a:pt x="24037" y="13702"/>
                      <a:pt x="24052" y="13952"/>
                      <a:pt x="24130" y="14139"/>
                    </a:cubicBezTo>
                    <a:cubicBezTo>
                      <a:pt x="24208" y="14326"/>
                      <a:pt x="24349" y="14107"/>
                      <a:pt x="24473" y="14170"/>
                    </a:cubicBezTo>
                    <a:close/>
                    <a:moveTo>
                      <a:pt x="16461" y="43086"/>
                    </a:moveTo>
                    <a:lnTo>
                      <a:pt x="16461" y="43086"/>
                    </a:lnTo>
                    <a:lnTo>
                      <a:pt x="16461" y="43086"/>
                    </a:lnTo>
                    <a:lnTo>
                      <a:pt x="16461" y="43086"/>
                    </a:lnTo>
                    <a:lnTo>
                      <a:pt x="16539" y="43086"/>
                    </a:lnTo>
                    <a:lnTo>
                      <a:pt x="16539" y="43086"/>
                    </a:lnTo>
                    <a:lnTo>
                      <a:pt x="16321" y="42961"/>
                    </a:lnTo>
                    <a:lnTo>
                      <a:pt x="16321" y="42961"/>
                    </a:lnTo>
                    <a:lnTo>
                      <a:pt x="16321" y="42961"/>
                    </a:lnTo>
                    <a:lnTo>
                      <a:pt x="16399" y="42961"/>
                    </a:lnTo>
                    <a:lnTo>
                      <a:pt x="16399" y="42961"/>
                    </a:lnTo>
                    <a:lnTo>
                      <a:pt x="16399" y="42961"/>
                    </a:lnTo>
                    <a:lnTo>
                      <a:pt x="16149" y="42852"/>
                    </a:lnTo>
                    <a:lnTo>
                      <a:pt x="16149" y="42852"/>
                    </a:lnTo>
                    <a:cubicBezTo>
                      <a:pt x="16149" y="42852"/>
                      <a:pt x="16149" y="42852"/>
                      <a:pt x="16149" y="42852"/>
                    </a:cubicBezTo>
                    <a:cubicBezTo>
                      <a:pt x="16120" y="42838"/>
                      <a:pt x="16085" y="42838"/>
                      <a:pt x="16056" y="42852"/>
                    </a:cubicBezTo>
                    <a:lnTo>
                      <a:pt x="16056" y="42852"/>
                    </a:lnTo>
                    <a:lnTo>
                      <a:pt x="16056" y="42852"/>
                    </a:lnTo>
                    <a:lnTo>
                      <a:pt x="16056" y="42852"/>
                    </a:lnTo>
                    <a:lnTo>
                      <a:pt x="16212" y="42852"/>
                    </a:lnTo>
                    <a:lnTo>
                      <a:pt x="16025" y="42852"/>
                    </a:lnTo>
                    <a:lnTo>
                      <a:pt x="16025" y="42852"/>
                    </a:lnTo>
                    <a:lnTo>
                      <a:pt x="15806" y="42759"/>
                    </a:lnTo>
                    <a:lnTo>
                      <a:pt x="15806" y="42759"/>
                    </a:lnTo>
                    <a:lnTo>
                      <a:pt x="15806" y="42759"/>
                    </a:lnTo>
                    <a:lnTo>
                      <a:pt x="15682" y="42759"/>
                    </a:lnTo>
                    <a:lnTo>
                      <a:pt x="15853" y="42852"/>
                    </a:lnTo>
                    <a:lnTo>
                      <a:pt x="15604" y="42727"/>
                    </a:lnTo>
                    <a:lnTo>
                      <a:pt x="15604" y="42727"/>
                    </a:lnTo>
                    <a:lnTo>
                      <a:pt x="15760" y="42727"/>
                    </a:lnTo>
                    <a:lnTo>
                      <a:pt x="15635" y="42727"/>
                    </a:lnTo>
                    <a:lnTo>
                      <a:pt x="15760" y="42727"/>
                    </a:lnTo>
                    <a:lnTo>
                      <a:pt x="15526" y="42618"/>
                    </a:lnTo>
                    <a:lnTo>
                      <a:pt x="15526" y="42618"/>
                    </a:lnTo>
                    <a:lnTo>
                      <a:pt x="15432" y="42618"/>
                    </a:lnTo>
                    <a:lnTo>
                      <a:pt x="15432" y="42618"/>
                    </a:lnTo>
                    <a:lnTo>
                      <a:pt x="15230" y="42525"/>
                    </a:lnTo>
                    <a:lnTo>
                      <a:pt x="15230" y="42525"/>
                    </a:lnTo>
                    <a:lnTo>
                      <a:pt x="15152" y="42525"/>
                    </a:lnTo>
                    <a:lnTo>
                      <a:pt x="15152" y="42525"/>
                    </a:lnTo>
                    <a:cubicBezTo>
                      <a:pt x="15026" y="42475"/>
                      <a:pt x="14906" y="42412"/>
                      <a:pt x="14793" y="42338"/>
                    </a:cubicBezTo>
                    <a:lnTo>
                      <a:pt x="14793" y="42338"/>
                    </a:lnTo>
                    <a:lnTo>
                      <a:pt x="14637" y="42244"/>
                    </a:lnTo>
                    <a:lnTo>
                      <a:pt x="14778" y="42338"/>
                    </a:lnTo>
                    <a:lnTo>
                      <a:pt x="14466" y="42166"/>
                    </a:lnTo>
                    <a:lnTo>
                      <a:pt x="14466" y="42166"/>
                    </a:lnTo>
                    <a:lnTo>
                      <a:pt x="14372" y="42166"/>
                    </a:lnTo>
                    <a:lnTo>
                      <a:pt x="14372" y="42166"/>
                    </a:lnTo>
                    <a:lnTo>
                      <a:pt x="14216" y="42073"/>
                    </a:lnTo>
                    <a:lnTo>
                      <a:pt x="14216" y="42073"/>
                    </a:lnTo>
                    <a:lnTo>
                      <a:pt x="14216" y="42073"/>
                    </a:lnTo>
                    <a:lnTo>
                      <a:pt x="14216" y="42073"/>
                    </a:lnTo>
                    <a:lnTo>
                      <a:pt x="14076" y="41995"/>
                    </a:lnTo>
                    <a:lnTo>
                      <a:pt x="14076" y="41995"/>
                    </a:lnTo>
                    <a:lnTo>
                      <a:pt x="13920" y="41886"/>
                    </a:lnTo>
                    <a:lnTo>
                      <a:pt x="13920" y="41886"/>
                    </a:lnTo>
                    <a:lnTo>
                      <a:pt x="13795" y="41886"/>
                    </a:lnTo>
                    <a:lnTo>
                      <a:pt x="13795" y="41886"/>
                    </a:lnTo>
                    <a:cubicBezTo>
                      <a:pt x="13760" y="41896"/>
                      <a:pt x="13722" y="41896"/>
                      <a:pt x="13686" y="41886"/>
                    </a:cubicBezTo>
                    <a:lnTo>
                      <a:pt x="13686" y="41886"/>
                    </a:lnTo>
                    <a:lnTo>
                      <a:pt x="13811" y="41964"/>
                    </a:lnTo>
                    <a:lnTo>
                      <a:pt x="13686" y="41886"/>
                    </a:lnTo>
                    <a:lnTo>
                      <a:pt x="13686" y="41886"/>
                    </a:lnTo>
                    <a:lnTo>
                      <a:pt x="13577" y="41886"/>
                    </a:lnTo>
                    <a:lnTo>
                      <a:pt x="13577" y="41886"/>
                    </a:lnTo>
                    <a:lnTo>
                      <a:pt x="13453" y="41808"/>
                    </a:lnTo>
                    <a:cubicBezTo>
                      <a:pt x="13513" y="41833"/>
                      <a:pt x="13570" y="41864"/>
                      <a:pt x="13624" y="41901"/>
                    </a:cubicBezTo>
                    <a:cubicBezTo>
                      <a:pt x="13624" y="41901"/>
                      <a:pt x="13749" y="41995"/>
                      <a:pt x="13780" y="41995"/>
                    </a:cubicBezTo>
                    <a:lnTo>
                      <a:pt x="13359" y="41699"/>
                    </a:lnTo>
                    <a:lnTo>
                      <a:pt x="13359" y="41699"/>
                    </a:lnTo>
                    <a:cubicBezTo>
                      <a:pt x="13110" y="41496"/>
                      <a:pt x="12829" y="41324"/>
                      <a:pt x="12595" y="41122"/>
                    </a:cubicBezTo>
                    <a:lnTo>
                      <a:pt x="12689" y="41122"/>
                    </a:lnTo>
                    <a:lnTo>
                      <a:pt x="12548" y="41013"/>
                    </a:lnTo>
                    <a:lnTo>
                      <a:pt x="12548" y="41013"/>
                    </a:lnTo>
                    <a:cubicBezTo>
                      <a:pt x="12548" y="41013"/>
                      <a:pt x="12548" y="41013"/>
                      <a:pt x="12455" y="41013"/>
                    </a:cubicBezTo>
                    <a:lnTo>
                      <a:pt x="12455" y="41013"/>
                    </a:lnTo>
                    <a:lnTo>
                      <a:pt x="12455" y="41013"/>
                    </a:lnTo>
                    <a:lnTo>
                      <a:pt x="12455" y="41013"/>
                    </a:lnTo>
                    <a:cubicBezTo>
                      <a:pt x="12251" y="40890"/>
                      <a:pt x="12063" y="40743"/>
                      <a:pt x="11894" y="40576"/>
                    </a:cubicBezTo>
                    <a:lnTo>
                      <a:pt x="11894" y="40576"/>
                    </a:lnTo>
                    <a:cubicBezTo>
                      <a:pt x="11675" y="40342"/>
                      <a:pt x="11410" y="40171"/>
                      <a:pt x="11177" y="39953"/>
                    </a:cubicBezTo>
                    <a:cubicBezTo>
                      <a:pt x="11177" y="39953"/>
                      <a:pt x="11177" y="39953"/>
                      <a:pt x="11177" y="39953"/>
                    </a:cubicBezTo>
                    <a:cubicBezTo>
                      <a:pt x="10229" y="38961"/>
                      <a:pt x="9393" y="37869"/>
                      <a:pt x="8683" y="36695"/>
                    </a:cubicBezTo>
                    <a:lnTo>
                      <a:pt x="8683" y="36695"/>
                    </a:lnTo>
                    <a:cubicBezTo>
                      <a:pt x="8363" y="35817"/>
                      <a:pt x="7887" y="35004"/>
                      <a:pt x="7280" y="34294"/>
                    </a:cubicBezTo>
                    <a:lnTo>
                      <a:pt x="7280" y="34294"/>
                    </a:lnTo>
                    <a:cubicBezTo>
                      <a:pt x="6307" y="33179"/>
                      <a:pt x="5626" y="31840"/>
                      <a:pt x="5300" y="30397"/>
                    </a:cubicBezTo>
                    <a:cubicBezTo>
                      <a:pt x="5300" y="30397"/>
                      <a:pt x="5300" y="30397"/>
                      <a:pt x="5300" y="30475"/>
                    </a:cubicBezTo>
                    <a:cubicBezTo>
                      <a:pt x="5309" y="30444"/>
                      <a:pt x="5309" y="30412"/>
                      <a:pt x="5300" y="30382"/>
                    </a:cubicBezTo>
                    <a:cubicBezTo>
                      <a:pt x="5300" y="30382"/>
                      <a:pt x="5300" y="30475"/>
                      <a:pt x="5300" y="30506"/>
                    </a:cubicBezTo>
                    <a:cubicBezTo>
                      <a:pt x="5082" y="30132"/>
                      <a:pt x="5160" y="25830"/>
                      <a:pt x="4739" y="27498"/>
                    </a:cubicBezTo>
                    <a:cubicBezTo>
                      <a:pt x="4739" y="27498"/>
                      <a:pt x="4739" y="27311"/>
                      <a:pt x="4739" y="27264"/>
                    </a:cubicBezTo>
                    <a:cubicBezTo>
                      <a:pt x="4739" y="27217"/>
                      <a:pt x="4739" y="27264"/>
                      <a:pt x="4739" y="27342"/>
                    </a:cubicBezTo>
                    <a:cubicBezTo>
                      <a:pt x="4739" y="27420"/>
                      <a:pt x="4739" y="27124"/>
                      <a:pt x="4598" y="27030"/>
                    </a:cubicBezTo>
                    <a:cubicBezTo>
                      <a:pt x="4458" y="26937"/>
                      <a:pt x="4598" y="27030"/>
                      <a:pt x="4598" y="27030"/>
                    </a:cubicBezTo>
                    <a:lnTo>
                      <a:pt x="4598" y="27030"/>
                    </a:lnTo>
                    <a:cubicBezTo>
                      <a:pt x="4598" y="27030"/>
                      <a:pt x="4598" y="26874"/>
                      <a:pt x="4598" y="26812"/>
                    </a:cubicBezTo>
                    <a:cubicBezTo>
                      <a:pt x="4598" y="26749"/>
                      <a:pt x="4598" y="26921"/>
                      <a:pt x="4598" y="26968"/>
                    </a:cubicBezTo>
                    <a:cubicBezTo>
                      <a:pt x="4598" y="26734"/>
                      <a:pt x="4489" y="26469"/>
                      <a:pt x="4396" y="26235"/>
                    </a:cubicBezTo>
                    <a:cubicBezTo>
                      <a:pt x="4396" y="26313"/>
                      <a:pt x="4396" y="26391"/>
                      <a:pt x="4396" y="26484"/>
                    </a:cubicBezTo>
                    <a:cubicBezTo>
                      <a:pt x="4256" y="26095"/>
                      <a:pt x="4240" y="25674"/>
                      <a:pt x="4131" y="25269"/>
                    </a:cubicBezTo>
                    <a:cubicBezTo>
                      <a:pt x="4131" y="25347"/>
                      <a:pt x="4131" y="25269"/>
                      <a:pt x="4131" y="25175"/>
                    </a:cubicBezTo>
                    <a:cubicBezTo>
                      <a:pt x="4131" y="25082"/>
                      <a:pt x="4131" y="25175"/>
                      <a:pt x="4131" y="25175"/>
                    </a:cubicBezTo>
                    <a:cubicBezTo>
                      <a:pt x="4131" y="25175"/>
                      <a:pt x="4131" y="25175"/>
                      <a:pt x="4131" y="25175"/>
                    </a:cubicBezTo>
                    <a:cubicBezTo>
                      <a:pt x="4131" y="25175"/>
                      <a:pt x="4131" y="25175"/>
                      <a:pt x="4131" y="25175"/>
                    </a:cubicBezTo>
                    <a:cubicBezTo>
                      <a:pt x="3941" y="24764"/>
                      <a:pt x="3835" y="24318"/>
                      <a:pt x="3819" y="23866"/>
                    </a:cubicBezTo>
                    <a:cubicBezTo>
                      <a:pt x="3828" y="23928"/>
                      <a:pt x="3828" y="23991"/>
                      <a:pt x="3819" y="24053"/>
                    </a:cubicBezTo>
                    <a:cubicBezTo>
                      <a:pt x="3828" y="23991"/>
                      <a:pt x="3828" y="23928"/>
                      <a:pt x="3819" y="23866"/>
                    </a:cubicBezTo>
                    <a:lnTo>
                      <a:pt x="3819" y="23866"/>
                    </a:lnTo>
                    <a:cubicBezTo>
                      <a:pt x="3819" y="23866"/>
                      <a:pt x="3819" y="23866"/>
                      <a:pt x="3819" y="23866"/>
                    </a:cubicBezTo>
                    <a:lnTo>
                      <a:pt x="3819" y="23866"/>
                    </a:lnTo>
                    <a:lnTo>
                      <a:pt x="3819" y="23866"/>
                    </a:lnTo>
                    <a:cubicBezTo>
                      <a:pt x="3819" y="23866"/>
                      <a:pt x="3819" y="23866"/>
                      <a:pt x="3819" y="23959"/>
                    </a:cubicBezTo>
                    <a:cubicBezTo>
                      <a:pt x="3819" y="24053"/>
                      <a:pt x="3819" y="23959"/>
                      <a:pt x="3819" y="23959"/>
                    </a:cubicBezTo>
                    <a:lnTo>
                      <a:pt x="3819" y="23959"/>
                    </a:lnTo>
                    <a:lnTo>
                      <a:pt x="3819" y="23959"/>
                    </a:lnTo>
                    <a:cubicBezTo>
                      <a:pt x="3819" y="23881"/>
                      <a:pt x="3819" y="23772"/>
                      <a:pt x="3819" y="23679"/>
                    </a:cubicBezTo>
                    <a:lnTo>
                      <a:pt x="3819" y="23679"/>
                    </a:lnTo>
                    <a:cubicBezTo>
                      <a:pt x="3811" y="23627"/>
                      <a:pt x="3811" y="23574"/>
                      <a:pt x="3819" y="23523"/>
                    </a:cubicBezTo>
                    <a:lnTo>
                      <a:pt x="3819" y="23523"/>
                    </a:lnTo>
                    <a:cubicBezTo>
                      <a:pt x="3803" y="23305"/>
                      <a:pt x="3803" y="23086"/>
                      <a:pt x="3819" y="22868"/>
                    </a:cubicBezTo>
                    <a:lnTo>
                      <a:pt x="3819" y="22868"/>
                    </a:lnTo>
                    <a:cubicBezTo>
                      <a:pt x="3819" y="22868"/>
                      <a:pt x="3819" y="22790"/>
                      <a:pt x="3819" y="22759"/>
                    </a:cubicBezTo>
                    <a:lnTo>
                      <a:pt x="3819" y="22759"/>
                    </a:lnTo>
                    <a:cubicBezTo>
                      <a:pt x="4323" y="14291"/>
                      <a:pt x="9917" y="6976"/>
                      <a:pt x="17957" y="4271"/>
                    </a:cubicBezTo>
                    <a:lnTo>
                      <a:pt x="17957" y="4271"/>
                    </a:lnTo>
                    <a:lnTo>
                      <a:pt x="18145" y="4271"/>
                    </a:lnTo>
                    <a:lnTo>
                      <a:pt x="18145" y="4271"/>
                    </a:lnTo>
                    <a:lnTo>
                      <a:pt x="18347" y="4271"/>
                    </a:lnTo>
                    <a:lnTo>
                      <a:pt x="18207" y="4271"/>
                    </a:lnTo>
                    <a:lnTo>
                      <a:pt x="18456" y="4271"/>
                    </a:lnTo>
                    <a:lnTo>
                      <a:pt x="18363" y="4271"/>
                    </a:lnTo>
                    <a:lnTo>
                      <a:pt x="18363" y="4271"/>
                    </a:lnTo>
                    <a:lnTo>
                      <a:pt x="18534" y="4271"/>
                    </a:lnTo>
                    <a:lnTo>
                      <a:pt x="18534" y="4271"/>
                    </a:lnTo>
                    <a:lnTo>
                      <a:pt x="19703" y="4006"/>
                    </a:lnTo>
                    <a:lnTo>
                      <a:pt x="19703" y="4006"/>
                    </a:lnTo>
                    <a:lnTo>
                      <a:pt x="20000" y="4006"/>
                    </a:lnTo>
                    <a:lnTo>
                      <a:pt x="19797" y="4006"/>
                    </a:lnTo>
                    <a:lnTo>
                      <a:pt x="19797" y="4006"/>
                    </a:lnTo>
                    <a:lnTo>
                      <a:pt x="20342" y="4006"/>
                    </a:lnTo>
                    <a:lnTo>
                      <a:pt x="20342" y="4006"/>
                    </a:lnTo>
                    <a:lnTo>
                      <a:pt x="20062" y="4006"/>
                    </a:lnTo>
                    <a:lnTo>
                      <a:pt x="20327" y="4006"/>
                    </a:lnTo>
                    <a:lnTo>
                      <a:pt x="20327" y="4006"/>
                    </a:lnTo>
                    <a:lnTo>
                      <a:pt x="20592" y="4006"/>
                    </a:lnTo>
                    <a:lnTo>
                      <a:pt x="20498" y="4006"/>
                    </a:lnTo>
                    <a:lnTo>
                      <a:pt x="20405" y="4006"/>
                    </a:lnTo>
                    <a:lnTo>
                      <a:pt x="20623" y="4006"/>
                    </a:lnTo>
                    <a:lnTo>
                      <a:pt x="20280" y="4006"/>
                    </a:lnTo>
                    <a:lnTo>
                      <a:pt x="20187" y="4006"/>
                    </a:lnTo>
                    <a:lnTo>
                      <a:pt x="20015" y="4006"/>
                    </a:lnTo>
                    <a:lnTo>
                      <a:pt x="20342" y="4006"/>
                    </a:lnTo>
                    <a:lnTo>
                      <a:pt x="19984" y="4006"/>
                    </a:lnTo>
                    <a:lnTo>
                      <a:pt x="19984" y="4006"/>
                    </a:lnTo>
                    <a:lnTo>
                      <a:pt x="19610" y="4006"/>
                    </a:lnTo>
                    <a:lnTo>
                      <a:pt x="19610" y="4006"/>
                    </a:lnTo>
                    <a:lnTo>
                      <a:pt x="19251" y="4084"/>
                    </a:lnTo>
                    <a:lnTo>
                      <a:pt x="19407" y="4084"/>
                    </a:lnTo>
                    <a:lnTo>
                      <a:pt x="19407" y="4084"/>
                    </a:lnTo>
                    <a:cubicBezTo>
                      <a:pt x="19286" y="4123"/>
                      <a:pt x="19160" y="4150"/>
                      <a:pt x="19033" y="4162"/>
                    </a:cubicBezTo>
                    <a:lnTo>
                      <a:pt x="19189" y="4162"/>
                    </a:lnTo>
                    <a:lnTo>
                      <a:pt x="19017" y="4162"/>
                    </a:lnTo>
                    <a:lnTo>
                      <a:pt x="19017" y="4162"/>
                    </a:lnTo>
                    <a:lnTo>
                      <a:pt x="18908" y="4162"/>
                    </a:lnTo>
                    <a:lnTo>
                      <a:pt x="18908" y="4162"/>
                    </a:lnTo>
                    <a:lnTo>
                      <a:pt x="18908" y="4162"/>
                    </a:lnTo>
                    <a:cubicBezTo>
                      <a:pt x="18908" y="4162"/>
                      <a:pt x="18908" y="4162"/>
                      <a:pt x="18908" y="4162"/>
                    </a:cubicBezTo>
                    <a:lnTo>
                      <a:pt x="18908" y="4162"/>
                    </a:lnTo>
                    <a:lnTo>
                      <a:pt x="18752" y="4162"/>
                    </a:lnTo>
                    <a:lnTo>
                      <a:pt x="18752" y="4162"/>
                    </a:lnTo>
                    <a:lnTo>
                      <a:pt x="18752" y="4162"/>
                    </a:lnTo>
                    <a:lnTo>
                      <a:pt x="18752" y="4162"/>
                    </a:lnTo>
                    <a:lnTo>
                      <a:pt x="18659" y="4162"/>
                    </a:lnTo>
                    <a:lnTo>
                      <a:pt x="18659" y="4162"/>
                    </a:lnTo>
                    <a:lnTo>
                      <a:pt x="18254" y="4271"/>
                    </a:lnTo>
                    <a:lnTo>
                      <a:pt x="18254" y="4271"/>
                    </a:lnTo>
                    <a:lnTo>
                      <a:pt x="17957" y="4380"/>
                    </a:lnTo>
                    <a:lnTo>
                      <a:pt x="17957" y="4380"/>
                    </a:lnTo>
                    <a:lnTo>
                      <a:pt x="17599" y="4489"/>
                    </a:lnTo>
                    <a:lnTo>
                      <a:pt x="17599" y="4489"/>
                    </a:lnTo>
                    <a:lnTo>
                      <a:pt x="17334" y="4676"/>
                    </a:lnTo>
                    <a:lnTo>
                      <a:pt x="17334" y="4676"/>
                    </a:lnTo>
                    <a:lnTo>
                      <a:pt x="17240" y="4676"/>
                    </a:lnTo>
                    <a:lnTo>
                      <a:pt x="17240" y="4676"/>
                    </a:lnTo>
                    <a:lnTo>
                      <a:pt x="16726" y="4864"/>
                    </a:lnTo>
                    <a:lnTo>
                      <a:pt x="16851" y="4864"/>
                    </a:lnTo>
                    <a:lnTo>
                      <a:pt x="16851" y="4864"/>
                    </a:lnTo>
                    <a:cubicBezTo>
                      <a:pt x="17028" y="4797"/>
                      <a:pt x="17211" y="4745"/>
                      <a:pt x="17396" y="4708"/>
                    </a:cubicBezTo>
                    <a:lnTo>
                      <a:pt x="17396" y="4708"/>
                    </a:lnTo>
                    <a:lnTo>
                      <a:pt x="17552" y="4708"/>
                    </a:lnTo>
                    <a:lnTo>
                      <a:pt x="17661" y="4708"/>
                    </a:lnTo>
                    <a:lnTo>
                      <a:pt x="17412" y="4708"/>
                    </a:lnTo>
                    <a:lnTo>
                      <a:pt x="17412" y="4708"/>
                    </a:lnTo>
                    <a:lnTo>
                      <a:pt x="17272" y="4708"/>
                    </a:lnTo>
                    <a:lnTo>
                      <a:pt x="17272" y="4708"/>
                    </a:lnTo>
                    <a:lnTo>
                      <a:pt x="17162" y="4708"/>
                    </a:lnTo>
                    <a:lnTo>
                      <a:pt x="17162" y="4708"/>
                    </a:lnTo>
                    <a:lnTo>
                      <a:pt x="17007" y="4708"/>
                    </a:lnTo>
                    <a:lnTo>
                      <a:pt x="17007" y="4708"/>
                    </a:lnTo>
                    <a:lnTo>
                      <a:pt x="17147" y="4708"/>
                    </a:lnTo>
                    <a:lnTo>
                      <a:pt x="17147" y="4708"/>
                    </a:lnTo>
                    <a:lnTo>
                      <a:pt x="17287" y="4708"/>
                    </a:lnTo>
                    <a:lnTo>
                      <a:pt x="17287" y="4708"/>
                    </a:lnTo>
                    <a:lnTo>
                      <a:pt x="17116" y="4708"/>
                    </a:lnTo>
                    <a:cubicBezTo>
                      <a:pt x="17240" y="4708"/>
                      <a:pt x="17599" y="4599"/>
                      <a:pt x="17272" y="4708"/>
                    </a:cubicBezTo>
                    <a:lnTo>
                      <a:pt x="17412" y="4708"/>
                    </a:lnTo>
                    <a:lnTo>
                      <a:pt x="17505" y="4708"/>
                    </a:lnTo>
                    <a:lnTo>
                      <a:pt x="17833" y="4614"/>
                    </a:lnTo>
                    <a:cubicBezTo>
                      <a:pt x="17472" y="4715"/>
                      <a:pt x="17118" y="4840"/>
                      <a:pt x="16773" y="4988"/>
                    </a:cubicBezTo>
                    <a:lnTo>
                      <a:pt x="16929" y="4988"/>
                    </a:lnTo>
                    <a:lnTo>
                      <a:pt x="16929" y="4988"/>
                    </a:lnTo>
                    <a:cubicBezTo>
                      <a:pt x="16929" y="4988"/>
                      <a:pt x="17116" y="4988"/>
                      <a:pt x="17007" y="4988"/>
                    </a:cubicBezTo>
                    <a:lnTo>
                      <a:pt x="17147" y="4988"/>
                    </a:lnTo>
                    <a:lnTo>
                      <a:pt x="17147" y="4988"/>
                    </a:lnTo>
                    <a:lnTo>
                      <a:pt x="17272" y="4988"/>
                    </a:lnTo>
                    <a:cubicBezTo>
                      <a:pt x="17178" y="4988"/>
                      <a:pt x="17069" y="4988"/>
                      <a:pt x="16991" y="5097"/>
                    </a:cubicBezTo>
                    <a:lnTo>
                      <a:pt x="16991" y="5097"/>
                    </a:lnTo>
                    <a:lnTo>
                      <a:pt x="16866" y="5097"/>
                    </a:lnTo>
                    <a:lnTo>
                      <a:pt x="16866" y="5097"/>
                    </a:lnTo>
                    <a:lnTo>
                      <a:pt x="16710" y="5097"/>
                    </a:lnTo>
                    <a:cubicBezTo>
                      <a:pt x="16793" y="5104"/>
                      <a:pt x="16877" y="5104"/>
                      <a:pt x="16960" y="5097"/>
                    </a:cubicBezTo>
                    <a:cubicBezTo>
                      <a:pt x="16695" y="5238"/>
                      <a:pt x="16367" y="5362"/>
                      <a:pt x="16103" y="5534"/>
                    </a:cubicBezTo>
                    <a:lnTo>
                      <a:pt x="16103" y="5534"/>
                    </a:lnTo>
                    <a:lnTo>
                      <a:pt x="15931" y="5627"/>
                    </a:lnTo>
                    <a:lnTo>
                      <a:pt x="16103" y="5627"/>
                    </a:lnTo>
                    <a:lnTo>
                      <a:pt x="16103" y="5627"/>
                    </a:lnTo>
                    <a:cubicBezTo>
                      <a:pt x="16103" y="5627"/>
                      <a:pt x="16103" y="5627"/>
                      <a:pt x="16103" y="5627"/>
                    </a:cubicBezTo>
                    <a:cubicBezTo>
                      <a:pt x="15934" y="5726"/>
                      <a:pt x="15756" y="5810"/>
                      <a:pt x="15573" y="5877"/>
                    </a:cubicBezTo>
                    <a:cubicBezTo>
                      <a:pt x="15573" y="5877"/>
                      <a:pt x="15573" y="5877"/>
                      <a:pt x="15573" y="5877"/>
                    </a:cubicBezTo>
                    <a:cubicBezTo>
                      <a:pt x="15573" y="5877"/>
                      <a:pt x="15479" y="5877"/>
                      <a:pt x="15463" y="5877"/>
                    </a:cubicBezTo>
                    <a:lnTo>
                      <a:pt x="15463" y="5877"/>
                    </a:lnTo>
                    <a:cubicBezTo>
                      <a:pt x="15406" y="5898"/>
                      <a:pt x="15353" y="5930"/>
                      <a:pt x="15308" y="5970"/>
                    </a:cubicBezTo>
                    <a:lnTo>
                      <a:pt x="15308" y="5970"/>
                    </a:lnTo>
                    <a:cubicBezTo>
                      <a:pt x="15308" y="5970"/>
                      <a:pt x="15089" y="6126"/>
                      <a:pt x="15183" y="6095"/>
                    </a:cubicBezTo>
                    <a:lnTo>
                      <a:pt x="15183" y="6095"/>
                    </a:lnTo>
                    <a:lnTo>
                      <a:pt x="15183" y="6095"/>
                    </a:lnTo>
                    <a:lnTo>
                      <a:pt x="15183" y="6095"/>
                    </a:lnTo>
                    <a:cubicBezTo>
                      <a:pt x="15183" y="6095"/>
                      <a:pt x="15183" y="6095"/>
                      <a:pt x="15183" y="6095"/>
                    </a:cubicBezTo>
                    <a:lnTo>
                      <a:pt x="15323" y="6095"/>
                    </a:lnTo>
                    <a:lnTo>
                      <a:pt x="15089" y="6220"/>
                    </a:lnTo>
                    <a:lnTo>
                      <a:pt x="15089" y="6220"/>
                    </a:lnTo>
                    <a:cubicBezTo>
                      <a:pt x="15089" y="6220"/>
                      <a:pt x="14933" y="6220"/>
                      <a:pt x="14871" y="6344"/>
                    </a:cubicBezTo>
                    <a:cubicBezTo>
                      <a:pt x="14809" y="6469"/>
                      <a:pt x="14980" y="6344"/>
                      <a:pt x="15027" y="6344"/>
                    </a:cubicBezTo>
                    <a:cubicBezTo>
                      <a:pt x="14873" y="6412"/>
                      <a:pt x="14727" y="6496"/>
                      <a:pt x="14590" y="6594"/>
                    </a:cubicBezTo>
                    <a:lnTo>
                      <a:pt x="14590" y="6594"/>
                    </a:lnTo>
                    <a:lnTo>
                      <a:pt x="14590" y="6594"/>
                    </a:lnTo>
                    <a:cubicBezTo>
                      <a:pt x="14808" y="6458"/>
                      <a:pt x="15037" y="6343"/>
                      <a:pt x="15276" y="6251"/>
                    </a:cubicBezTo>
                    <a:lnTo>
                      <a:pt x="15276" y="6251"/>
                    </a:lnTo>
                    <a:cubicBezTo>
                      <a:pt x="15276" y="6251"/>
                      <a:pt x="15276" y="6251"/>
                      <a:pt x="15276" y="6251"/>
                    </a:cubicBezTo>
                    <a:lnTo>
                      <a:pt x="15276" y="6251"/>
                    </a:lnTo>
                    <a:lnTo>
                      <a:pt x="15370" y="6251"/>
                    </a:lnTo>
                    <a:lnTo>
                      <a:pt x="15276" y="6251"/>
                    </a:lnTo>
                    <a:cubicBezTo>
                      <a:pt x="15276" y="6251"/>
                      <a:pt x="15417" y="6157"/>
                      <a:pt x="15479" y="6157"/>
                    </a:cubicBezTo>
                    <a:lnTo>
                      <a:pt x="15479" y="6157"/>
                    </a:lnTo>
                    <a:cubicBezTo>
                      <a:pt x="15479" y="6157"/>
                      <a:pt x="15713" y="6064"/>
                      <a:pt x="15573" y="6157"/>
                    </a:cubicBezTo>
                    <a:lnTo>
                      <a:pt x="15463" y="6157"/>
                    </a:lnTo>
                    <a:cubicBezTo>
                      <a:pt x="15494" y="6149"/>
                      <a:pt x="15526" y="6149"/>
                      <a:pt x="15557" y="6157"/>
                    </a:cubicBezTo>
                    <a:lnTo>
                      <a:pt x="15448" y="6157"/>
                    </a:lnTo>
                    <a:lnTo>
                      <a:pt x="15448" y="6157"/>
                    </a:lnTo>
                    <a:cubicBezTo>
                      <a:pt x="15448" y="6157"/>
                      <a:pt x="15448" y="6157"/>
                      <a:pt x="15323" y="6157"/>
                    </a:cubicBezTo>
                    <a:cubicBezTo>
                      <a:pt x="15198" y="6157"/>
                      <a:pt x="15495" y="6157"/>
                      <a:pt x="15432" y="6157"/>
                    </a:cubicBezTo>
                    <a:cubicBezTo>
                      <a:pt x="15522" y="6121"/>
                      <a:pt x="15623" y="6121"/>
                      <a:pt x="15713" y="6157"/>
                    </a:cubicBezTo>
                    <a:lnTo>
                      <a:pt x="15713" y="6157"/>
                    </a:lnTo>
                    <a:cubicBezTo>
                      <a:pt x="15541" y="6282"/>
                      <a:pt x="15339" y="6376"/>
                      <a:pt x="15152" y="6485"/>
                    </a:cubicBezTo>
                    <a:lnTo>
                      <a:pt x="15152" y="6485"/>
                    </a:lnTo>
                    <a:lnTo>
                      <a:pt x="15152" y="6485"/>
                    </a:lnTo>
                    <a:lnTo>
                      <a:pt x="15152" y="6485"/>
                    </a:lnTo>
                    <a:cubicBezTo>
                      <a:pt x="15152" y="6485"/>
                      <a:pt x="15152" y="6485"/>
                      <a:pt x="15152" y="6485"/>
                    </a:cubicBezTo>
                    <a:lnTo>
                      <a:pt x="15152" y="6485"/>
                    </a:lnTo>
                    <a:lnTo>
                      <a:pt x="15152" y="6485"/>
                    </a:lnTo>
                    <a:lnTo>
                      <a:pt x="14933" y="6625"/>
                    </a:lnTo>
                    <a:lnTo>
                      <a:pt x="14933" y="6625"/>
                    </a:lnTo>
                    <a:cubicBezTo>
                      <a:pt x="14933" y="6625"/>
                      <a:pt x="14933" y="6625"/>
                      <a:pt x="14933" y="6703"/>
                    </a:cubicBezTo>
                    <a:lnTo>
                      <a:pt x="15074" y="6703"/>
                    </a:lnTo>
                    <a:lnTo>
                      <a:pt x="15074" y="6703"/>
                    </a:lnTo>
                    <a:lnTo>
                      <a:pt x="15074" y="6796"/>
                    </a:lnTo>
                    <a:cubicBezTo>
                      <a:pt x="15074" y="6796"/>
                      <a:pt x="15074" y="6796"/>
                      <a:pt x="15074" y="6796"/>
                    </a:cubicBezTo>
                    <a:lnTo>
                      <a:pt x="15074" y="6796"/>
                    </a:lnTo>
                    <a:cubicBezTo>
                      <a:pt x="15385" y="6594"/>
                      <a:pt x="15167" y="6796"/>
                      <a:pt x="15074" y="6890"/>
                    </a:cubicBezTo>
                    <a:cubicBezTo>
                      <a:pt x="15183" y="6890"/>
                      <a:pt x="15276" y="6703"/>
                      <a:pt x="15401" y="6656"/>
                    </a:cubicBezTo>
                    <a:lnTo>
                      <a:pt x="15401" y="6656"/>
                    </a:lnTo>
                    <a:cubicBezTo>
                      <a:pt x="15401" y="6656"/>
                      <a:pt x="15682" y="6485"/>
                      <a:pt x="15526" y="6656"/>
                    </a:cubicBezTo>
                    <a:lnTo>
                      <a:pt x="15650" y="6656"/>
                    </a:lnTo>
                    <a:lnTo>
                      <a:pt x="15557" y="6656"/>
                    </a:lnTo>
                    <a:cubicBezTo>
                      <a:pt x="15557" y="6656"/>
                      <a:pt x="15557" y="6656"/>
                      <a:pt x="15557" y="6656"/>
                    </a:cubicBezTo>
                    <a:cubicBezTo>
                      <a:pt x="15557" y="6656"/>
                      <a:pt x="15448" y="6656"/>
                      <a:pt x="15417" y="6750"/>
                    </a:cubicBezTo>
                    <a:lnTo>
                      <a:pt x="15417" y="6750"/>
                    </a:lnTo>
                    <a:cubicBezTo>
                      <a:pt x="15417" y="6750"/>
                      <a:pt x="15323" y="6750"/>
                      <a:pt x="15308" y="6750"/>
                    </a:cubicBezTo>
                    <a:cubicBezTo>
                      <a:pt x="15619" y="6641"/>
                      <a:pt x="15198" y="6750"/>
                      <a:pt x="15074" y="6874"/>
                    </a:cubicBezTo>
                    <a:lnTo>
                      <a:pt x="15074" y="6874"/>
                    </a:lnTo>
                    <a:lnTo>
                      <a:pt x="14902" y="6968"/>
                    </a:lnTo>
                    <a:lnTo>
                      <a:pt x="14902" y="6968"/>
                    </a:lnTo>
                    <a:lnTo>
                      <a:pt x="14778" y="6968"/>
                    </a:lnTo>
                    <a:cubicBezTo>
                      <a:pt x="14918" y="6968"/>
                      <a:pt x="14778" y="6968"/>
                      <a:pt x="14778" y="6968"/>
                    </a:cubicBezTo>
                    <a:lnTo>
                      <a:pt x="14778" y="6968"/>
                    </a:lnTo>
                    <a:lnTo>
                      <a:pt x="14637" y="6968"/>
                    </a:lnTo>
                    <a:lnTo>
                      <a:pt x="14637" y="6968"/>
                    </a:lnTo>
                    <a:lnTo>
                      <a:pt x="14637" y="6968"/>
                    </a:lnTo>
                    <a:lnTo>
                      <a:pt x="14637" y="6968"/>
                    </a:lnTo>
                    <a:cubicBezTo>
                      <a:pt x="14544" y="6968"/>
                      <a:pt x="14450" y="7108"/>
                      <a:pt x="14357" y="7139"/>
                    </a:cubicBezTo>
                    <a:cubicBezTo>
                      <a:pt x="14263" y="7171"/>
                      <a:pt x="14497" y="7046"/>
                      <a:pt x="14559" y="7030"/>
                    </a:cubicBezTo>
                    <a:cubicBezTo>
                      <a:pt x="14622" y="7015"/>
                      <a:pt x="14559" y="7030"/>
                      <a:pt x="14559" y="7030"/>
                    </a:cubicBezTo>
                    <a:cubicBezTo>
                      <a:pt x="14640" y="6992"/>
                      <a:pt x="14723" y="6961"/>
                      <a:pt x="14809" y="6937"/>
                    </a:cubicBezTo>
                    <a:lnTo>
                      <a:pt x="14700" y="6937"/>
                    </a:lnTo>
                    <a:cubicBezTo>
                      <a:pt x="14871" y="6859"/>
                      <a:pt x="15027" y="6734"/>
                      <a:pt x="15198" y="6672"/>
                    </a:cubicBezTo>
                    <a:lnTo>
                      <a:pt x="15198" y="6672"/>
                    </a:lnTo>
                    <a:lnTo>
                      <a:pt x="15198" y="6672"/>
                    </a:lnTo>
                    <a:cubicBezTo>
                      <a:pt x="15406" y="6614"/>
                      <a:pt x="15605" y="6531"/>
                      <a:pt x="15791" y="6422"/>
                    </a:cubicBezTo>
                    <a:cubicBezTo>
                      <a:pt x="15791" y="6422"/>
                      <a:pt x="15791" y="6422"/>
                      <a:pt x="15666" y="6422"/>
                    </a:cubicBezTo>
                    <a:lnTo>
                      <a:pt x="15666" y="6422"/>
                    </a:lnTo>
                    <a:cubicBezTo>
                      <a:pt x="15760" y="6422"/>
                      <a:pt x="16118" y="6204"/>
                      <a:pt x="15900" y="6344"/>
                    </a:cubicBezTo>
                    <a:cubicBezTo>
                      <a:pt x="16056" y="6344"/>
                      <a:pt x="16056" y="6189"/>
                      <a:pt x="16196" y="6142"/>
                    </a:cubicBezTo>
                    <a:cubicBezTo>
                      <a:pt x="16056" y="6142"/>
                      <a:pt x="16196" y="6142"/>
                      <a:pt x="16196" y="6142"/>
                    </a:cubicBezTo>
                    <a:lnTo>
                      <a:pt x="16196" y="6142"/>
                    </a:lnTo>
                    <a:cubicBezTo>
                      <a:pt x="16368" y="6015"/>
                      <a:pt x="16564" y="5925"/>
                      <a:pt x="16773" y="5877"/>
                    </a:cubicBezTo>
                    <a:lnTo>
                      <a:pt x="16773" y="5877"/>
                    </a:lnTo>
                    <a:cubicBezTo>
                      <a:pt x="16936" y="5775"/>
                      <a:pt x="17115" y="5701"/>
                      <a:pt x="17303" y="5659"/>
                    </a:cubicBezTo>
                    <a:lnTo>
                      <a:pt x="17162" y="5736"/>
                    </a:lnTo>
                    <a:cubicBezTo>
                      <a:pt x="17334" y="5736"/>
                      <a:pt x="17459" y="5581"/>
                      <a:pt x="17630" y="5549"/>
                    </a:cubicBezTo>
                    <a:lnTo>
                      <a:pt x="17459" y="5674"/>
                    </a:lnTo>
                    <a:cubicBezTo>
                      <a:pt x="18410" y="5097"/>
                      <a:pt x="20000" y="4536"/>
                      <a:pt x="18425" y="5362"/>
                    </a:cubicBezTo>
                    <a:cubicBezTo>
                      <a:pt x="18675" y="5284"/>
                      <a:pt x="19267" y="4910"/>
                      <a:pt x="19080" y="5129"/>
                    </a:cubicBezTo>
                    <a:cubicBezTo>
                      <a:pt x="19766" y="4895"/>
                      <a:pt x="18721" y="5456"/>
                      <a:pt x="18425" y="5581"/>
                    </a:cubicBezTo>
                    <a:cubicBezTo>
                      <a:pt x="18784" y="5456"/>
                      <a:pt x="18425" y="5581"/>
                      <a:pt x="18425" y="5581"/>
                    </a:cubicBezTo>
                    <a:cubicBezTo>
                      <a:pt x="18425" y="5581"/>
                      <a:pt x="18659" y="5425"/>
                      <a:pt x="18519" y="5581"/>
                    </a:cubicBezTo>
                    <a:cubicBezTo>
                      <a:pt x="18752" y="5316"/>
                      <a:pt x="18986" y="5581"/>
                      <a:pt x="18597" y="5659"/>
                    </a:cubicBezTo>
                    <a:cubicBezTo>
                      <a:pt x="18557" y="5643"/>
                      <a:pt x="18512" y="5643"/>
                      <a:pt x="18472" y="5659"/>
                    </a:cubicBezTo>
                    <a:cubicBezTo>
                      <a:pt x="18706" y="5659"/>
                      <a:pt x="18378" y="5736"/>
                      <a:pt x="18300" y="5768"/>
                    </a:cubicBezTo>
                    <a:cubicBezTo>
                      <a:pt x="18893" y="5581"/>
                      <a:pt x="17802" y="6033"/>
                      <a:pt x="18456" y="5768"/>
                    </a:cubicBezTo>
                    <a:cubicBezTo>
                      <a:pt x="17630" y="6126"/>
                      <a:pt x="18830" y="5768"/>
                      <a:pt x="18020" y="6095"/>
                    </a:cubicBezTo>
                    <a:cubicBezTo>
                      <a:pt x="18020" y="6189"/>
                      <a:pt x="18020" y="6095"/>
                      <a:pt x="18238" y="6095"/>
                    </a:cubicBezTo>
                    <a:cubicBezTo>
                      <a:pt x="18120" y="6184"/>
                      <a:pt x="17989" y="6252"/>
                      <a:pt x="17848" y="6298"/>
                    </a:cubicBezTo>
                    <a:cubicBezTo>
                      <a:pt x="17755" y="6298"/>
                      <a:pt x="18534" y="6298"/>
                      <a:pt x="17692" y="6485"/>
                    </a:cubicBezTo>
                    <a:cubicBezTo>
                      <a:pt x="17599" y="6485"/>
                      <a:pt x="18113" y="6485"/>
                      <a:pt x="17568" y="6594"/>
                    </a:cubicBezTo>
                    <a:cubicBezTo>
                      <a:pt x="18020" y="6438"/>
                      <a:pt x="18082" y="6594"/>
                      <a:pt x="17568" y="6672"/>
                    </a:cubicBezTo>
                    <a:cubicBezTo>
                      <a:pt x="17770" y="6843"/>
                      <a:pt x="17474" y="6890"/>
                      <a:pt x="17568" y="6828"/>
                    </a:cubicBezTo>
                    <a:cubicBezTo>
                      <a:pt x="17318" y="6828"/>
                      <a:pt x="17568" y="7030"/>
                      <a:pt x="17287" y="6921"/>
                    </a:cubicBezTo>
                    <a:cubicBezTo>
                      <a:pt x="17116" y="7217"/>
                      <a:pt x="17412" y="7046"/>
                      <a:pt x="17116" y="7186"/>
                    </a:cubicBezTo>
                    <a:cubicBezTo>
                      <a:pt x="17350" y="7108"/>
                      <a:pt x="16929" y="7436"/>
                      <a:pt x="17116" y="7295"/>
                    </a:cubicBezTo>
                    <a:cubicBezTo>
                      <a:pt x="16820" y="7591"/>
                      <a:pt x="17381" y="7124"/>
                      <a:pt x="16975" y="7623"/>
                    </a:cubicBezTo>
                    <a:cubicBezTo>
                      <a:pt x="16773" y="7732"/>
                      <a:pt x="17303" y="7623"/>
                      <a:pt x="16835" y="7794"/>
                    </a:cubicBezTo>
                    <a:cubicBezTo>
                      <a:pt x="17178" y="7654"/>
                      <a:pt x="16913" y="8137"/>
                      <a:pt x="16695" y="8012"/>
                    </a:cubicBezTo>
                    <a:cubicBezTo>
                      <a:pt x="16695" y="8137"/>
                      <a:pt x="16555" y="8231"/>
                      <a:pt x="16508" y="8137"/>
                    </a:cubicBezTo>
                    <a:cubicBezTo>
                      <a:pt x="16461" y="8044"/>
                      <a:pt x="16352" y="8309"/>
                      <a:pt x="16508" y="8137"/>
                    </a:cubicBezTo>
                    <a:cubicBezTo>
                      <a:pt x="16664" y="7966"/>
                      <a:pt x="16056" y="8574"/>
                      <a:pt x="16196" y="8309"/>
                    </a:cubicBezTo>
                    <a:cubicBezTo>
                      <a:pt x="16071" y="8137"/>
                      <a:pt x="16492" y="7903"/>
                      <a:pt x="16539" y="7810"/>
                    </a:cubicBezTo>
                    <a:cubicBezTo>
                      <a:pt x="16258" y="7966"/>
                      <a:pt x="16430" y="7810"/>
                      <a:pt x="16539" y="7654"/>
                    </a:cubicBezTo>
                    <a:cubicBezTo>
                      <a:pt x="16648" y="7498"/>
                      <a:pt x="16305" y="7841"/>
                      <a:pt x="16383" y="7654"/>
                    </a:cubicBezTo>
                    <a:cubicBezTo>
                      <a:pt x="16118" y="7903"/>
                      <a:pt x="15962" y="7934"/>
                      <a:pt x="15869" y="8309"/>
                    </a:cubicBezTo>
                    <a:cubicBezTo>
                      <a:pt x="15775" y="8683"/>
                      <a:pt x="15261" y="9135"/>
                      <a:pt x="15198" y="8932"/>
                    </a:cubicBezTo>
                    <a:cubicBezTo>
                      <a:pt x="15136" y="8729"/>
                      <a:pt x="15308" y="8823"/>
                      <a:pt x="15198" y="8527"/>
                    </a:cubicBezTo>
                    <a:cubicBezTo>
                      <a:pt x="14996" y="8885"/>
                      <a:pt x="14996" y="9353"/>
                      <a:pt x="14996" y="9353"/>
                    </a:cubicBezTo>
                    <a:cubicBezTo>
                      <a:pt x="14357" y="9493"/>
                      <a:pt x="15105" y="8262"/>
                      <a:pt x="15245" y="8231"/>
                    </a:cubicBezTo>
                    <a:cubicBezTo>
                      <a:pt x="14996" y="8324"/>
                      <a:pt x="15245" y="8231"/>
                      <a:pt x="15027" y="8231"/>
                    </a:cubicBezTo>
                    <a:cubicBezTo>
                      <a:pt x="15136" y="8075"/>
                      <a:pt x="14871" y="8309"/>
                      <a:pt x="14793" y="8231"/>
                    </a:cubicBezTo>
                    <a:cubicBezTo>
                      <a:pt x="14715" y="8153"/>
                      <a:pt x="15432" y="7607"/>
                      <a:pt x="15292" y="7981"/>
                    </a:cubicBezTo>
                    <a:cubicBezTo>
                      <a:pt x="16617" y="7701"/>
                      <a:pt x="17427" y="6422"/>
                      <a:pt x="17724" y="6111"/>
                    </a:cubicBezTo>
                    <a:cubicBezTo>
                      <a:pt x="17272" y="6485"/>
                      <a:pt x="17396" y="6111"/>
                      <a:pt x="17225" y="6111"/>
                    </a:cubicBezTo>
                    <a:cubicBezTo>
                      <a:pt x="17053" y="6111"/>
                      <a:pt x="17459" y="5970"/>
                      <a:pt x="17225" y="5955"/>
                    </a:cubicBezTo>
                    <a:cubicBezTo>
                      <a:pt x="17427" y="5736"/>
                      <a:pt x="17225" y="5955"/>
                      <a:pt x="17225" y="5783"/>
                    </a:cubicBezTo>
                    <a:lnTo>
                      <a:pt x="17318" y="5783"/>
                    </a:lnTo>
                    <a:lnTo>
                      <a:pt x="17178" y="5861"/>
                    </a:lnTo>
                    <a:cubicBezTo>
                      <a:pt x="16944" y="5970"/>
                      <a:pt x="16726" y="6111"/>
                      <a:pt x="16492" y="6235"/>
                    </a:cubicBezTo>
                    <a:lnTo>
                      <a:pt x="16492" y="6235"/>
                    </a:lnTo>
                    <a:lnTo>
                      <a:pt x="16601" y="6235"/>
                    </a:lnTo>
                    <a:lnTo>
                      <a:pt x="16555" y="6235"/>
                    </a:lnTo>
                    <a:lnTo>
                      <a:pt x="16555" y="6235"/>
                    </a:lnTo>
                    <a:cubicBezTo>
                      <a:pt x="16555" y="6313"/>
                      <a:pt x="16321" y="6235"/>
                      <a:pt x="16243" y="6376"/>
                    </a:cubicBezTo>
                    <a:lnTo>
                      <a:pt x="16243" y="6376"/>
                    </a:lnTo>
                    <a:lnTo>
                      <a:pt x="16243" y="6376"/>
                    </a:lnTo>
                    <a:lnTo>
                      <a:pt x="16336" y="6376"/>
                    </a:lnTo>
                    <a:cubicBezTo>
                      <a:pt x="16336" y="6376"/>
                      <a:pt x="16336" y="6376"/>
                      <a:pt x="16336" y="6376"/>
                    </a:cubicBezTo>
                    <a:lnTo>
                      <a:pt x="16336" y="6376"/>
                    </a:lnTo>
                    <a:cubicBezTo>
                      <a:pt x="16336" y="6376"/>
                      <a:pt x="16227" y="6376"/>
                      <a:pt x="16180" y="6376"/>
                    </a:cubicBezTo>
                    <a:lnTo>
                      <a:pt x="16180" y="6376"/>
                    </a:lnTo>
                    <a:lnTo>
                      <a:pt x="16180" y="6376"/>
                    </a:lnTo>
                    <a:cubicBezTo>
                      <a:pt x="15993" y="6516"/>
                      <a:pt x="15791" y="6625"/>
                      <a:pt x="15588" y="6750"/>
                    </a:cubicBezTo>
                    <a:lnTo>
                      <a:pt x="15822" y="6656"/>
                    </a:lnTo>
                    <a:lnTo>
                      <a:pt x="15822" y="6656"/>
                    </a:lnTo>
                    <a:lnTo>
                      <a:pt x="16212" y="6454"/>
                    </a:lnTo>
                    <a:cubicBezTo>
                      <a:pt x="16065" y="6587"/>
                      <a:pt x="15903" y="6702"/>
                      <a:pt x="15728" y="6796"/>
                    </a:cubicBezTo>
                    <a:lnTo>
                      <a:pt x="15728" y="6796"/>
                    </a:lnTo>
                    <a:cubicBezTo>
                      <a:pt x="15496" y="6904"/>
                      <a:pt x="15285" y="7052"/>
                      <a:pt x="15105" y="7233"/>
                    </a:cubicBezTo>
                    <a:cubicBezTo>
                      <a:pt x="15105" y="7233"/>
                      <a:pt x="15198" y="7155"/>
                      <a:pt x="15245" y="7155"/>
                    </a:cubicBezTo>
                    <a:lnTo>
                      <a:pt x="15245" y="7155"/>
                    </a:lnTo>
                    <a:lnTo>
                      <a:pt x="16040" y="6750"/>
                    </a:lnTo>
                    <a:lnTo>
                      <a:pt x="16040" y="6750"/>
                    </a:lnTo>
                    <a:lnTo>
                      <a:pt x="16040" y="6750"/>
                    </a:lnTo>
                    <a:cubicBezTo>
                      <a:pt x="16040" y="6750"/>
                      <a:pt x="16040" y="6656"/>
                      <a:pt x="16165" y="6672"/>
                    </a:cubicBezTo>
                    <a:lnTo>
                      <a:pt x="16165" y="6672"/>
                    </a:lnTo>
                    <a:cubicBezTo>
                      <a:pt x="16165" y="6672"/>
                      <a:pt x="16165" y="6672"/>
                      <a:pt x="16274" y="6672"/>
                    </a:cubicBezTo>
                    <a:lnTo>
                      <a:pt x="16274" y="6672"/>
                    </a:lnTo>
                    <a:lnTo>
                      <a:pt x="16664" y="6454"/>
                    </a:lnTo>
                    <a:cubicBezTo>
                      <a:pt x="16664" y="6454"/>
                      <a:pt x="16664" y="6454"/>
                      <a:pt x="16664" y="6594"/>
                    </a:cubicBezTo>
                    <a:lnTo>
                      <a:pt x="16664" y="6594"/>
                    </a:lnTo>
                    <a:cubicBezTo>
                      <a:pt x="16645" y="6644"/>
                      <a:pt x="16605" y="6684"/>
                      <a:pt x="16555" y="6703"/>
                    </a:cubicBezTo>
                    <a:cubicBezTo>
                      <a:pt x="16555" y="6625"/>
                      <a:pt x="16555" y="6781"/>
                      <a:pt x="16430" y="6796"/>
                    </a:cubicBezTo>
                    <a:cubicBezTo>
                      <a:pt x="16305" y="6812"/>
                      <a:pt x="16305" y="6921"/>
                      <a:pt x="16243" y="6921"/>
                    </a:cubicBezTo>
                    <a:cubicBezTo>
                      <a:pt x="16180" y="6921"/>
                      <a:pt x="16243" y="6921"/>
                      <a:pt x="16243" y="6921"/>
                    </a:cubicBezTo>
                    <a:lnTo>
                      <a:pt x="16243" y="6921"/>
                    </a:lnTo>
                    <a:cubicBezTo>
                      <a:pt x="16243" y="6921"/>
                      <a:pt x="15978" y="7046"/>
                      <a:pt x="16056" y="6921"/>
                    </a:cubicBezTo>
                    <a:lnTo>
                      <a:pt x="16056" y="6921"/>
                    </a:lnTo>
                    <a:cubicBezTo>
                      <a:pt x="16056" y="6921"/>
                      <a:pt x="16056" y="6999"/>
                      <a:pt x="15915" y="7015"/>
                    </a:cubicBezTo>
                    <a:lnTo>
                      <a:pt x="15915" y="7015"/>
                    </a:lnTo>
                    <a:cubicBezTo>
                      <a:pt x="15915" y="7015"/>
                      <a:pt x="15806" y="7015"/>
                      <a:pt x="15915" y="7015"/>
                    </a:cubicBezTo>
                    <a:cubicBezTo>
                      <a:pt x="15629" y="7264"/>
                      <a:pt x="15287" y="7441"/>
                      <a:pt x="14918" y="7529"/>
                    </a:cubicBezTo>
                    <a:cubicBezTo>
                      <a:pt x="14943" y="7513"/>
                      <a:pt x="14969" y="7497"/>
                      <a:pt x="14996" y="7482"/>
                    </a:cubicBezTo>
                    <a:lnTo>
                      <a:pt x="14996" y="7482"/>
                    </a:lnTo>
                    <a:lnTo>
                      <a:pt x="15120" y="7373"/>
                    </a:lnTo>
                    <a:lnTo>
                      <a:pt x="15120" y="7373"/>
                    </a:lnTo>
                    <a:cubicBezTo>
                      <a:pt x="15120" y="7373"/>
                      <a:pt x="14965" y="7451"/>
                      <a:pt x="15120" y="7373"/>
                    </a:cubicBezTo>
                    <a:cubicBezTo>
                      <a:pt x="15026" y="7487"/>
                      <a:pt x="14916" y="7587"/>
                      <a:pt x="14793" y="7669"/>
                    </a:cubicBezTo>
                    <a:lnTo>
                      <a:pt x="14887" y="7529"/>
                    </a:lnTo>
                    <a:cubicBezTo>
                      <a:pt x="14887" y="7529"/>
                      <a:pt x="14887" y="7607"/>
                      <a:pt x="14778" y="7623"/>
                    </a:cubicBezTo>
                    <a:cubicBezTo>
                      <a:pt x="14668" y="7638"/>
                      <a:pt x="14778" y="7623"/>
                      <a:pt x="14778" y="7623"/>
                    </a:cubicBezTo>
                    <a:lnTo>
                      <a:pt x="14778" y="7623"/>
                    </a:lnTo>
                    <a:lnTo>
                      <a:pt x="14918" y="7514"/>
                    </a:lnTo>
                    <a:cubicBezTo>
                      <a:pt x="14918" y="7514"/>
                      <a:pt x="14824" y="7514"/>
                      <a:pt x="14918" y="7514"/>
                    </a:cubicBezTo>
                    <a:lnTo>
                      <a:pt x="14918" y="7514"/>
                    </a:lnTo>
                    <a:lnTo>
                      <a:pt x="14918" y="7514"/>
                    </a:lnTo>
                    <a:cubicBezTo>
                      <a:pt x="14757" y="7658"/>
                      <a:pt x="14572" y="7774"/>
                      <a:pt x="14372" y="7856"/>
                    </a:cubicBezTo>
                    <a:lnTo>
                      <a:pt x="14372" y="7856"/>
                    </a:lnTo>
                    <a:cubicBezTo>
                      <a:pt x="14076" y="8028"/>
                      <a:pt x="14372" y="7732"/>
                      <a:pt x="14372" y="7591"/>
                    </a:cubicBezTo>
                    <a:cubicBezTo>
                      <a:pt x="14107" y="7747"/>
                      <a:pt x="14170" y="8028"/>
                      <a:pt x="13873" y="8106"/>
                    </a:cubicBezTo>
                    <a:lnTo>
                      <a:pt x="13873" y="8106"/>
                    </a:lnTo>
                    <a:lnTo>
                      <a:pt x="13468" y="8293"/>
                    </a:lnTo>
                    <a:cubicBezTo>
                      <a:pt x="13468" y="8293"/>
                      <a:pt x="13468" y="8293"/>
                      <a:pt x="13468" y="8293"/>
                    </a:cubicBezTo>
                    <a:lnTo>
                      <a:pt x="13468" y="8293"/>
                    </a:lnTo>
                    <a:lnTo>
                      <a:pt x="13468" y="8293"/>
                    </a:lnTo>
                    <a:cubicBezTo>
                      <a:pt x="13468" y="8293"/>
                      <a:pt x="13468" y="8293"/>
                      <a:pt x="13577" y="8199"/>
                    </a:cubicBezTo>
                    <a:cubicBezTo>
                      <a:pt x="13686" y="8106"/>
                      <a:pt x="13468" y="8199"/>
                      <a:pt x="13437" y="8277"/>
                    </a:cubicBezTo>
                    <a:cubicBezTo>
                      <a:pt x="13475" y="8255"/>
                      <a:pt x="13508" y="8223"/>
                      <a:pt x="13530" y="8184"/>
                    </a:cubicBezTo>
                    <a:cubicBezTo>
                      <a:pt x="13530" y="8184"/>
                      <a:pt x="13172" y="8480"/>
                      <a:pt x="13328" y="8293"/>
                    </a:cubicBezTo>
                    <a:lnTo>
                      <a:pt x="13188" y="8402"/>
                    </a:lnTo>
                    <a:cubicBezTo>
                      <a:pt x="13251" y="8269"/>
                      <a:pt x="13329" y="8143"/>
                      <a:pt x="13421" y="8028"/>
                    </a:cubicBezTo>
                    <a:lnTo>
                      <a:pt x="13421" y="8028"/>
                    </a:lnTo>
                    <a:lnTo>
                      <a:pt x="13421" y="8028"/>
                    </a:lnTo>
                    <a:lnTo>
                      <a:pt x="13343" y="8121"/>
                    </a:lnTo>
                    <a:cubicBezTo>
                      <a:pt x="13530" y="7981"/>
                      <a:pt x="13250" y="8293"/>
                      <a:pt x="13203" y="8277"/>
                    </a:cubicBezTo>
                    <a:lnTo>
                      <a:pt x="13328" y="8277"/>
                    </a:lnTo>
                    <a:cubicBezTo>
                      <a:pt x="13203" y="8496"/>
                      <a:pt x="12704" y="8761"/>
                      <a:pt x="13078" y="8277"/>
                    </a:cubicBezTo>
                    <a:cubicBezTo>
                      <a:pt x="12954" y="8355"/>
                      <a:pt x="12891" y="8496"/>
                      <a:pt x="12782" y="8574"/>
                    </a:cubicBezTo>
                    <a:lnTo>
                      <a:pt x="12782" y="8574"/>
                    </a:lnTo>
                    <a:lnTo>
                      <a:pt x="12782" y="8574"/>
                    </a:lnTo>
                    <a:lnTo>
                      <a:pt x="12782" y="8574"/>
                    </a:lnTo>
                    <a:lnTo>
                      <a:pt x="12642" y="8698"/>
                    </a:lnTo>
                    <a:cubicBezTo>
                      <a:pt x="12642" y="8698"/>
                      <a:pt x="12642" y="8698"/>
                      <a:pt x="12642" y="8698"/>
                    </a:cubicBezTo>
                    <a:cubicBezTo>
                      <a:pt x="12642" y="8698"/>
                      <a:pt x="12533" y="8698"/>
                      <a:pt x="12502" y="8698"/>
                    </a:cubicBezTo>
                    <a:cubicBezTo>
                      <a:pt x="12470" y="8698"/>
                      <a:pt x="12034" y="8994"/>
                      <a:pt x="11909" y="9026"/>
                    </a:cubicBezTo>
                    <a:lnTo>
                      <a:pt x="11909" y="9026"/>
                    </a:lnTo>
                    <a:cubicBezTo>
                      <a:pt x="11559" y="9339"/>
                      <a:pt x="11189" y="9631"/>
                      <a:pt x="10803" y="9899"/>
                    </a:cubicBezTo>
                    <a:cubicBezTo>
                      <a:pt x="11707" y="9306"/>
                      <a:pt x="10662" y="10351"/>
                      <a:pt x="10460" y="10351"/>
                    </a:cubicBezTo>
                    <a:cubicBezTo>
                      <a:pt x="10865" y="10351"/>
                      <a:pt x="10647" y="10694"/>
                      <a:pt x="10460" y="10974"/>
                    </a:cubicBezTo>
                    <a:lnTo>
                      <a:pt x="10460" y="10974"/>
                    </a:lnTo>
                    <a:cubicBezTo>
                      <a:pt x="10447" y="11120"/>
                      <a:pt x="10410" y="11262"/>
                      <a:pt x="10350" y="11395"/>
                    </a:cubicBezTo>
                    <a:cubicBezTo>
                      <a:pt x="10460" y="11395"/>
                      <a:pt x="10444" y="11520"/>
                      <a:pt x="10553" y="11520"/>
                    </a:cubicBezTo>
                    <a:lnTo>
                      <a:pt x="10553" y="11520"/>
                    </a:lnTo>
                    <a:cubicBezTo>
                      <a:pt x="10113" y="11959"/>
                      <a:pt x="9735" y="12458"/>
                      <a:pt x="9431" y="13001"/>
                    </a:cubicBezTo>
                    <a:cubicBezTo>
                      <a:pt x="9618" y="13001"/>
                      <a:pt x="9571" y="13001"/>
                      <a:pt x="9758" y="12876"/>
                    </a:cubicBezTo>
                    <a:cubicBezTo>
                      <a:pt x="9758" y="12954"/>
                      <a:pt x="9571" y="13110"/>
                      <a:pt x="9665" y="13172"/>
                    </a:cubicBezTo>
                    <a:cubicBezTo>
                      <a:pt x="10043" y="12406"/>
                      <a:pt x="10669" y="11791"/>
                      <a:pt x="11442" y="11426"/>
                    </a:cubicBezTo>
                    <a:cubicBezTo>
                      <a:pt x="11894" y="10912"/>
                      <a:pt x="12237" y="10288"/>
                      <a:pt x="12704" y="10117"/>
                    </a:cubicBezTo>
                    <a:lnTo>
                      <a:pt x="12704" y="10117"/>
                    </a:lnTo>
                    <a:cubicBezTo>
                      <a:pt x="12782" y="10117"/>
                      <a:pt x="12813" y="9961"/>
                      <a:pt x="12891" y="9961"/>
                    </a:cubicBezTo>
                    <a:cubicBezTo>
                      <a:pt x="12969" y="9961"/>
                      <a:pt x="12891" y="9867"/>
                      <a:pt x="13000" y="9852"/>
                    </a:cubicBezTo>
                    <a:cubicBezTo>
                      <a:pt x="13110" y="9836"/>
                      <a:pt x="14060" y="8901"/>
                      <a:pt x="13686" y="9446"/>
                    </a:cubicBezTo>
                    <a:cubicBezTo>
                      <a:pt x="13686" y="9446"/>
                      <a:pt x="13842" y="9446"/>
                      <a:pt x="13795" y="9446"/>
                    </a:cubicBezTo>
                    <a:lnTo>
                      <a:pt x="13795" y="9446"/>
                    </a:lnTo>
                    <a:cubicBezTo>
                      <a:pt x="14076" y="9446"/>
                      <a:pt x="13795" y="9446"/>
                      <a:pt x="13889" y="9587"/>
                    </a:cubicBezTo>
                    <a:cubicBezTo>
                      <a:pt x="13983" y="9727"/>
                      <a:pt x="13795" y="9665"/>
                      <a:pt x="13764" y="9711"/>
                    </a:cubicBezTo>
                    <a:lnTo>
                      <a:pt x="13764" y="9711"/>
                    </a:lnTo>
                    <a:cubicBezTo>
                      <a:pt x="13764" y="9711"/>
                      <a:pt x="13764" y="9805"/>
                      <a:pt x="13764" y="9852"/>
                    </a:cubicBezTo>
                    <a:lnTo>
                      <a:pt x="13764" y="9852"/>
                    </a:lnTo>
                    <a:cubicBezTo>
                      <a:pt x="13764" y="9852"/>
                      <a:pt x="13764" y="9930"/>
                      <a:pt x="13764" y="9930"/>
                    </a:cubicBezTo>
                    <a:lnTo>
                      <a:pt x="13764" y="9930"/>
                    </a:lnTo>
                    <a:cubicBezTo>
                      <a:pt x="13764" y="9930"/>
                      <a:pt x="13764" y="10008"/>
                      <a:pt x="13655" y="10054"/>
                    </a:cubicBezTo>
                    <a:lnTo>
                      <a:pt x="13655" y="10054"/>
                    </a:lnTo>
                    <a:lnTo>
                      <a:pt x="13655" y="10054"/>
                    </a:lnTo>
                    <a:lnTo>
                      <a:pt x="13655" y="10054"/>
                    </a:lnTo>
                    <a:lnTo>
                      <a:pt x="13655" y="10054"/>
                    </a:lnTo>
                    <a:lnTo>
                      <a:pt x="13655" y="10054"/>
                    </a:lnTo>
                    <a:cubicBezTo>
                      <a:pt x="13795" y="10054"/>
                      <a:pt x="13655" y="10132"/>
                      <a:pt x="13655" y="10179"/>
                    </a:cubicBezTo>
                    <a:cubicBezTo>
                      <a:pt x="13655" y="10226"/>
                      <a:pt x="13749" y="10086"/>
                      <a:pt x="13795" y="10101"/>
                    </a:cubicBezTo>
                    <a:cubicBezTo>
                      <a:pt x="13842" y="10117"/>
                      <a:pt x="13530" y="10288"/>
                      <a:pt x="13421" y="10444"/>
                    </a:cubicBezTo>
                    <a:lnTo>
                      <a:pt x="13421" y="10444"/>
                    </a:lnTo>
                    <a:cubicBezTo>
                      <a:pt x="13421" y="10444"/>
                      <a:pt x="13297" y="10553"/>
                      <a:pt x="13234" y="10444"/>
                    </a:cubicBezTo>
                    <a:cubicBezTo>
                      <a:pt x="13406" y="10600"/>
                      <a:pt x="12985" y="10927"/>
                      <a:pt x="13000" y="10881"/>
                    </a:cubicBezTo>
                    <a:cubicBezTo>
                      <a:pt x="13016" y="10834"/>
                      <a:pt x="13000" y="11021"/>
                      <a:pt x="13000" y="10881"/>
                    </a:cubicBezTo>
                    <a:cubicBezTo>
                      <a:pt x="13000" y="10740"/>
                      <a:pt x="12813" y="11130"/>
                      <a:pt x="12720" y="11224"/>
                    </a:cubicBezTo>
                    <a:cubicBezTo>
                      <a:pt x="12969" y="11052"/>
                      <a:pt x="13032" y="11021"/>
                      <a:pt x="12720" y="11224"/>
                    </a:cubicBezTo>
                    <a:cubicBezTo>
                      <a:pt x="12720" y="11224"/>
                      <a:pt x="12985" y="11005"/>
                      <a:pt x="12985" y="11099"/>
                    </a:cubicBezTo>
                    <a:cubicBezTo>
                      <a:pt x="12985" y="11192"/>
                      <a:pt x="13125" y="10990"/>
                      <a:pt x="13203" y="10959"/>
                    </a:cubicBezTo>
                    <a:cubicBezTo>
                      <a:pt x="13217" y="11010"/>
                      <a:pt x="13217" y="11063"/>
                      <a:pt x="13203" y="11114"/>
                    </a:cubicBezTo>
                    <a:cubicBezTo>
                      <a:pt x="13203" y="11037"/>
                      <a:pt x="13577" y="10709"/>
                      <a:pt x="13608" y="10818"/>
                    </a:cubicBezTo>
                    <a:cubicBezTo>
                      <a:pt x="13640" y="10927"/>
                      <a:pt x="13608" y="10818"/>
                      <a:pt x="13608" y="10818"/>
                    </a:cubicBezTo>
                    <a:cubicBezTo>
                      <a:pt x="13608" y="10818"/>
                      <a:pt x="13608" y="10725"/>
                      <a:pt x="13733" y="10725"/>
                    </a:cubicBezTo>
                    <a:lnTo>
                      <a:pt x="13733" y="10725"/>
                    </a:lnTo>
                    <a:cubicBezTo>
                      <a:pt x="13733" y="10647"/>
                      <a:pt x="14138" y="10397"/>
                      <a:pt x="14014" y="10507"/>
                    </a:cubicBezTo>
                    <a:lnTo>
                      <a:pt x="14014" y="10507"/>
                    </a:lnTo>
                    <a:cubicBezTo>
                      <a:pt x="14014" y="10507"/>
                      <a:pt x="14014" y="10616"/>
                      <a:pt x="13905" y="10616"/>
                    </a:cubicBezTo>
                    <a:cubicBezTo>
                      <a:pt x="13795" y="10616"/>
                      <a:pt x="13905" y="10616"/>
                      <a:pt x="13905" y="10694"/>
                    </a:cubicBezTo>
                    <a:lnTo>
                      <a:pt x="13905" y="10694"/>
                    </a:lnTo>
                    <a:cubicBezTo>
                      <a:pt x="13811" y="10694"/>
                      <a:pt x="13905" y="10849"/>
                      <a:pt x="13749" y="10896"/>
                    </a:cubicBezTo>
                    <a:cubicBezTo>
                      <a:pt x="13593" y="10943"/>
                      <a:pt x="13749" y="11005"/>
                      <a:pt x="13749" y="10896"/>
                    </a:cubicBezTo>
                    <a:cubicBezTo>
                      <a:pt x="13749" y="10787"/>
                      <a:pt x="13421" y="11037"/>
                      <a:pt x="13749" y="11021"/>
                    </a:cubicBezTo>
                    <a:cubicBezTo>
                      <a:pt x="14076" y="11005"/>
                      <a:pt x="13577" y="11161"/>
                      <a:pt x="13749" y="11114"/>
                    </a:cubicBezTo>
                    <a:cubicBezTo>
                      <a:pt x="13920" y="11068"/>
                      <a:pt x="13608" y="11270"/>
                      <a:pt x="13593" y="11114"/>
                    </a:cubicBezTo>
                    <a:cubicBezTo>
                      <a:pt x="13577" y="10959"/>
                      <a:pt x="13593" y="11192"/>
                      <a:pt x="13593" y="11208"/>
                    </a:cubicBezTo>
                    <a:cubicBezTo>
                      <a:pt x="13593" y="11224"/>
                      <a:pt x="13702" y="11208"/>
                      <a:pt x="13749" y="11208"/>
                    </a:cubicBezTo>
                    <a:cubicBezTo>
                      <a:pt x="13795" y="11208"/>
                      <a:pt x="13577" y="11208"/>
                      <a:pt x="13515" y="11348"/>
                    </a:cubicBezTo>
                    <a:cubicBezTo>
                      <a:pt x="13733" y="11348"/>
                      <a:pt x="13655" y="11348"/>
                      <a:pt x="13515" y="11442"/>
                    </a:cubicBezTo>
                    <a:cubicBezTo>
                      <a:pt x="13375" y="11535"/>
                      <a:pt x="13515" y="11442"/>
                      <a:pt x="13608" y="11442"/>
                    </a:cubicBezTo>
                    <a:cubicBezTo>
                      <a:pt x="13623" y="11509"/>
                      <a:pt x="13580" y="11575"/>
                      <a:pt x="13512" y="11590"/>
                    </a:cubicBezTo>
                    <a:cubicBezTo>
                      <a:pt x="13487" y="11595"/>
                      <a:pt x="13461" y="11592"/>
                      <a:pt x="13437" y="11582"/>
                    </a:cubicBezTo>
                    <a:cubicBezTo>
                      <a:pt x="13437" y="11582"/>
                      <a:pt x="13577" y="11660"/>
                      <a:pt x="13437" y="11722"/>
                    </a:cubicBezTo>
                    <a:cubicBezTo>
                      <a:pt x="13608" y="11816"/>
                      <a:pt x="13250" y="11941"/>
                      <a:pt x="13219" y="11878"/>
                    </a:cubicBezTo>
                    <a:cubicBezTo>
                      <a:pt x="13188" y="11816"/>
                      <a:pt x="13219" y="12128"/>
                      <a:pt x="13078" y="12081"/>
                    </a:cubicBezTo>
                    <a:cubicBezTo>
                      <a:pt x="12938" y="12034"/>
                      <a:pt x="13312" y="12081"/>
                      <a:pt x="13188" y="12174"/>
                    </a:cubicBezTo>
                    <a:cubicBezTo>
                      <a:pt x="13063" y="12268"/>
                      <a:pt x="13188" y="12174"/>
                      <a:pt x="13188" y="12252"/>
                    </a:cubicBezTo>
                    <a:cubicBezTo>
                      <a:pt x="13188" y="12330"/>
                      <a:pt x="13188" y="12252"/>
                      <a:pt x="13188" y="12362"/>
                    </a:cubicBezTo>
                    <a:lnTo>
                      <a:pt x="13281" y="12362"/>
                    </a:lnTo>
                    <a:cubicBezTo>
                      <a:pt x="13281" y="12439"/>
                      <a:pt x="13094" y="12595"/>
                      <a:pt x="13000" y="12564"/>
                    </a:cubicBezTo>
                    <a:cubicBezTo>
                      <a:pt x="12907" y="12533"/>
                      <a:pt x="13141" y="12564"/>
                      <a:pt x="13203" y="12564"/>
                    </a:cubicBezTo>
                    <a:cubicBezTo>
                      <a:pt x="13000" y="12751"/>
                      <a:pt x="13203" y="12564"/>
                      <a:pt x="13203" y="12564"/>
                    </a:cubicBezTo>
                    <a:cubicBezTo>
                      <a:pt x="13203" y="12564"/>
                      <a:pt x="13203" y="12564"/>
                      <a:pt x="13063" y="12704"/>
                    </a:cubicBezTo>
                    <a:cubicBezTo>
                      <a:pt x="13063" y="12704"/>
                      <a:pt x="13328" y="12533"/>
                      <a:pt x="13203" y="12704"/>
                    </a:cubicBezTo>
                    <a:lnTo>
                      <a:pt x="13203" y="12704"/>
                    </a:lnTo>
                    <a:cubicBezTo>
                      <a:pt x="13203" y="12704"/>
                      <a:pt x="13125" y="12798"/>
                      <a:pt x="13110" y="12845"/>
                    </a:cubicBezTo>
                    <a:cubicBezTo>
                      <a:pt x="13094" y="12892"/>
                      <a:pt x="13390" y="12845"/>
                      <a:pt x="13203" y="12845"/>
                    </a:cubicBezTo>
                    <a:cubicBezTo>
                      <a:pt x="13437" y="13016"/>
                      <a:pt x="12891" y="12923"/>
                      <a:pt x="12813" y="13032"/>
                    </a:cubicBezTo>
                    <a:cubicBezTo>
                      <a:pt x="13219" y="13032"/>
                      <a:pt x="12689" y="13032"/>
                      <a:pt x="12611" y="13157"/>
                    </a:cubicBezTo>
                    <a:cubicBezTo>
                      <a:pt x="12587" y="13102"/>
                      <a:pt x="12587" y="13040"/>
                      <a:pt x="12611" y="12985"/>
                    </a:cubicBezTo>
                    <a:cubicBezTo>
                      <a:pt x="12611" y="13110"/>
                      <a:pt x="12611" y="13188"/>
                      <a:pt x="12517" y="13281"/>
                    </a:cubicBezTo>
                    <a:cubicBezTo>
                      <a:pt x="12689" y="13281"/>
                      <a:pt x="12876" y="13016"/>
                      <a:pt x="13094" y="13079"/>
                    </a:cubicBezTo>
                    <a:cubicBezTo>
                      <a:pt x="12985" y="12938"/>
                      <a:pt x="13437" y="13079"/>
                      <a:pt x="13094" y="13266"/>
                    </a:cubicBezTo>
                    <a:cubicBezTo>
                      <a:pt x="13094" y="13266"/>
                      <a:pt x="13094" y="13266"/>
                      <a:pt x="13094" y="13266"/>
                    </a:cubicBezTo>
                    <a:cubicBezTo>
                      <a:pt x="13094" y="13266"/>
                      <a:pt x="13343" y="13125"/>
                      <a:pt x="13219" y="13266"/>
                    </a:cubicBezTo>
                    <a:cubicBezTo>
                      <a:pt x="13094" y="13406"/>
                      <a:pt x="13312" y="13266"/>
                      <a:pt x="13297" y="13266"/>
                    </a:cubicBezTo>
                    <a:cubicBezTo>
                      <a:pt x="13281" y="13266"/>
                      <a:pt x="13297" y="13422"/>
                      <a:pt x="13156" y="13406"/>
                    </a:cubicBezTo>
                    <a:cubicBezTo>
                      <a:pt x="13250" y="13406"/>
                      <a:pt x="13032" y="13609"/>
                      <a:pt x="13032" y="13499"/>
                    </a:cubicBezTo>
                    <a:cubicBezTo>
                      <a:pt x="13032" y="13390"/>
                      <a:pt x="13203" y="13655"/>
                      <a:pt x="13032" y="13624"/>
                    </a:cubicBezTo>
                    <a:cubicBezTo>
                      <a:pt x="13234" y="13718"/>
                      <a:pt x="12595" y="13983"/>
                      <a:pt x="12564" y="13874"/>
                    </a:cubicBezTo>
                    <a:cubicBezTo>
                      <a:pt x="12533" y="13764"/>
                      <a:pt x="12455" y="13874"/>
                      <a:pt x="12564" y="13874"/>
                    </a:cubicBezTo>
                    <a:cubicBezTo>
                      <a:pt x="12143" y="14232"/>
                      <a:pt x="11800" y="14279"/>
                      <a:pt x="11426" y="13983"/>
                    </a:cubicBezTo>
                    <a:cubicBezTo>
                      <a:pt x="11426" y="13983"/>
                      <a:pt x="11083" y="13983"/>
                      <a:pt x="11114" y="13842"/>
                    </a:cubicBezTo>
                    <a:cubicBezTo>
                      <a:pt x="10553" y="14185"/>
                      <a:pt x="10039" y="14544"/>
                      <a:pt x="9462" y="14856"/>
                    </a:cubicBezTo>
                    <a:cubicBezTo>
                      <a:pt x="9846" y="14695"/>
                      <a:pt x="10278" y="14695"/>
                      <a:pt x="10662" y="14856"/>
                    </a:cubicBezTo>
                    <a:cubicBezTo>
                      <a:pt x="10622" y="14910"/>
                      <a:pt x="10568" y="14953"/>
                      <a:pt x="10506" y="14980"/>
                    </a:cubicBezTo>
                    <a:cubicBezTo>
                      <a:pt x="10662" y="14980"/>
                      <a:pt x="10304" y="15323"/>
                      <a:pt x="10506" y="15370"/>
                    </a:cubicBezTo>
                    <a:cubicBezTo>
                      <a:pt x="10350" y="15448"/>
                      <a:pt x="10647" y="15666"/>
                      <a:pt x="10740" y="15542"/>
                    </a:cubicBezTo>
                    <a:cubicBezTo>
                      <a:pt x="10740" y="15542"/>
                      <a:pt x="10865" y="15666"/>
                      <a:pt x="10740" y="15651"/>
                    </a:cubicBezTo>
                    <a:cubicBezTo>
                      <a:pt x="10958" y="15651"/>
                      <a:pt x="10148" y="15900"/>
                      <a:pt x="10210" y="15760"/>
                    </a:cubicBezTo>
                    <a:cubicBezTo>
                      <a:pt x="10075" y="15886"/>
                      <a:pt x="9929" y="16001"/>
                      <a:pt x="9774" y="16103"/>
                    </a:cubicBezTo>
                    <a:lnTo>
                      <a:pt x="9774" y="16103"/>
                    </a:lnTo>
                    <a:cubicBezTo>
                      <a:pt x="9680" y="16103"/>
                      <a:pt x="9774" y="15962"/>
                      <a:pt x="9774" y="16009"/>
                    </a:cubicBezTo>
                    <a:cubicBezTo>
                      <a:pt x="9774" y="15807"/>
                      <a:pt x="10319" y="15417"/>
                      <a:pt x="10319" y="15682"/>
                    </a:cubicBezTo>
                    <a:cubicBezTo>
                      <a:pt x="10319" y="15588"/>
                      <a:pt x="10428" y="15682"/>
                      <a:pt x="10475" y="15604"/>
                    </a:cubicBezTo>
                    <a:cubicBezTo>
                      <a:pt x="10195" y="15495"/>
                      <a:pt x="10195" y="15604"/>
                      <a:pt x="10475" y="15401"/>
                    </a:cubicBezTo>
                    <a:lnTo>
                      <a:pt x="10475" y="15401"/>
                    </a:lnTo>
                    <a:lnTo>
                      <a:pt x="10475" y="15401"/>
                    </a:lnTo>
                    <a:cubicBezTo>
                      <a:pt x="10475" y="15495"/>
                      <a:pt x="10023" y="15651"/>
                      <a:pt x="10195" y="15401"/>
                    </a:cubicBezTo>
                    <a:cubicBezTo>
                      <a:pt x="10070" y="15542"/>
                      <a:pt x="10023" y="15495"/>
                      <a:pt x="9914" y="15401"/>
                    </a:cubicBezTo>
                    <a:cubicBezTo>
                      <a:pt x="9805" y="15308"/>
                      <a:pt x="9914" y="15510"/>
                      <a:pt x="9914" y="15573"/>
                    </a:cubicBezTo>
                    <a:cubicBezTo>
                      <a:pt x="9914" y="15635"/>
                      <a:pt x="9914" y="15729"/>
                      <a:pt x="9914" y="15573"/>
                    </a:cubicBezTo>
                    <a:cubicBezTo>
                      <a:pt x="9914" y="15417"/>
                      <a:pt x="9618" y="15713"/>
                      <a:pt x="9680" y="15573"/>
                    </a:cubicBezTo>
                    <a:cubicBezTo>
                      <a:pt x="9743" y="15432"/>
                      <a:pt x="9509" y="15651"/>
                      <a:pt x="9680" y="15573"/>
                    </a:cubicBezTo>
                    <a:cubicBezTo>
                      <a:pt x="9852" y="15495"/>
                      <a:pt x="9571" y="15697"/>
                      <a:pt x="9509" y="15729"/>
                    </a:cubicBezTo>
                    <a:lnTo>
                      <a:pt x="9509" y="15729"/>
                    </a:lnTo>
                    <a:cubicBezTo>
                      <a:pt x="9509" y="15729"/>
                      <a:pt x="9509" y="15807"/>
                      <a:pt x="9509" y="15729"/>
                    </a:cubicBezTo>
                    <a:cubicBezTo>
                      <a:pt x="9509" y="15651"/>
                      <a:pt x="9400" y="15853"/>
                      <a:pt x="9509" y="15729"/>
                    </a:cubicBezTo>
                    <a:cubicBezTo>
                      <a:pt x="9306" y="15729"/>
                      <a:pt x="8823" y="16648"/>
                      <a:pt x="9150" y="16337"/>
                    </a:cubicBezTo>
                    <a:cubicBezTo>
                      <a:pt x="9150" y="16461"/>
                      <a:pt x="8932" y="16633"/>
                      <a:pt x="8994" y="16414"/>
                    </a:cubicBezTo>
                    <a:cubicBezTo>
                      <a:pt x="8870" y="16570"/>
                      <a:pt x="8885" y="16555"/>
                      <a:pt x="8901" y="16414"/>
                    </a:cubicBezTo>
                    <a:cubicBezTo>
                      <a:pt x="8495" y="16565"/>
                      <a:pt x="8153" y="16851"/>
                      <a:pt x="7934" y="17225"/>
                    </a:cubicBezTo>
                    <a:lnTo>
                      <a:pt x="7934" y="17225"/>
                    </a:lnTo>
                    <a:lnTo>
                      <a:pt x="7934" y="17225"/>
                    </a:lnTo>
                    <a:cubicBezTo>
                      <a:pt x="7934" y="17225"/>
                      <a:pt x="7934" y="17085"/>
                      <a:pt x="7934" y="17007"/>
                    </a:cubicBezTo>
                    <a:cubicBezTo>
                      <a:pt x="7810" y="17225"/>
                      <a:pt x="7794" y="17506"/>
                      <a:pt x="7591" y="17693"/>
                    </a:cubicBezTo>
                    <a:lnTo>
                      <a:pt x="7591" y="17693"/>
                    </a:lnTo>
                    <a:lnTo>
                      <a:pt x="7498" y="17833"/>
                    </a:lnTo>
                    <a:cubicBezTo>
                      <a:pt x="7531" y="17730"/>
                      <a:pt x="7584" y="17635"/>
                      <a:pt x="7654" y="17552"/>
                    </a:cubicBezTo>
                    <a:cubicBezTo>
                      <a:pt x="7654" y="17552"/>
                      <a:pt x="7654" y="17474"/>
                      <a:pt x="7654" y="17443"/>
                    </a:cubicBezTo>
                    <a:lnTo>
                      <a:pt x="7654" y="17443"/>
                    </a:lnTo>
                    <a:cubicBezTo>
                      <a:pt x="7654" y="17256"/>
                      <a:pt x="7810" y="17116"/>
                      <a:pt x="7872" y="16944"/>
                    </a:cubicBezTo>
                    <a:cubicBezTo>
                      <a:pt x="7755" y="17096"/>
                      <a:pt x="7660" y="17264"/>
                      <a:pt x="7591" y="17443"/>
                    </a:cubicBezTo>
                    <a:cubicBezTo>
                      <a:pt x="7591" y="17350"/>
                      <a:pt x="7591" y="17272"/>
                      <a:pt x="7591" y="17178"/>
                    </a:cubicBezTo>
                    <a:cubicBezTo>
                      <a:pt x="7591" y="17085"/>
                      <a:pt x="7591" y="17771"/>
                      <a:pt x="7591" y="17537"/>
                    </a:cubicBezTo>
                    <a:cubicBezTo>
                      <a:pt x="7591" y="17537"/>
                      <a:pt x="7591" y="17786"/>
                      <a:pt x="7591" y="17724"/>
                    </a:cubicBezTo>
                    <a:cubicBezTo>
                      <a:pt x="7591" y="17662"/>
                      <a:pt x="7591" y="17802"/>
                      <a:pt x="7591" y="17833"/>
                    </a:cubicBezTo>
                    <a:cubicBezTo>
                      <a:pt x="7600" y="17792"/>
                      <a:pt x="7600" y="17749"/>
                      <a:pt x="7591" y="17708"/>
                    </a:cubicBezTo>
                    <a:cubicBezTo>
                      <a:pt x="7591" y="17833"/>
                      <a:pt x="7716" y="17895"/>
                      <a:pt x="7591" y="18020"/>
                    </a:cubicBezTo>
                    <a:lnTo>
                      <a:pt x="7591" y="18020"/>
                    </a:lnTo>
                    <a:cubicBezTo>
                      <a:pt x="7591" y="18145"/>
                      <a:pt x="7420" y="18285"/>
                      <a:pt x="7451" y="18129"/>
                    </a:cubicBezTo>
                    <a:cubicBezTo>
                      <a:pt x="7482" y="17973"/>
                      <a:pt x="7451" y="18223"/>
                      <a:pt x="7451" y="18238"/>
                    </a:cubicBezTo>
                    <a:cubicBezTo>
                      <a:pt x="7451" y="18254"/>
                      <a:pt x="7529" y="18238"/>
                      <a:pt x="7545" y="18363"/>
                    </a:cubicBezTo>
                    <a:cubicBezTo>
                      <a:pt x="7536" y="18332"/>
                      <a:pt x="7536" y="18300"/>
                      <a:pt x="7545" y="18269"/>
                    </a:cubicBezTo>
                    <a:cubicBezTo>
                      <a:pt x="7545" y="18363"/>
                      <a:pt x="7545" y="18410"/>
                      <a:pt x="7420" y="18472"/>
                    </a:cubicBezTo>
                    <a:cubicBezTo>
                      <a:pt x="7295" y="18534"/>
                      <a:pt x="7420" y="18472"/>
                      <a:pt x="7420" y="18379"/>
                    </a:cubicBezTo>
                    <a:cubicBezTo>
                      <a:pt x="7420" y="18285"/>
                      <a:pt x="7420" y="18379"/>
                      <a:pt x="7420" y="18379"/>
                    </a:cubicBezTo>
                    <a:cubicBezTo>
                      <a:pt x="7420" y="18379"/>
                      <a:pt x="7420" y="18581"/>
                      <a:pt x="7420" y="18503"/>
                    </a:cubicBezTo>
                    <a:lnTo>
                      <a:pt x="7420" y="18503"/>
                    </a:lnTo>
                    <a:lnTo>
                      <a:pt x="7420" y="18503"/>
                    </a:lnTo>
                    <a:lnTo>
                      <a:pt x="7420" y="18503"/>
                    </a:lnTo>
                    <a:cubicBezTo>
                      <a:pt x="6344" y="18503"/>
                      <a:pt x="5861" y="22681"/>
                      <a:pt x="5970" y="20857"/>
                    </a:cubicBezTo>
                    <a:cubicBezTo>
                      <a:pt x="5970" y="20857"/>
                      <a:pt x="5970" y="20857"/>
                      <a:pt x="5970" y="20857"/>
                    </a:cubicBezTo>
                    <a:cubicBezTo>
                      <a:pt x="5970" y="20857"/>
                      <a:pt x="5970" y="20857"/>
                      <a:pt x="5970" y="20857"/>
                    </a:cubicBezTo>
                    <a:lnTo>
                      <a:pt x="5970" y="20857"/>
                    </a:lnTo>
                    <a:cubicBezTo>
                      <a:pt x="5970" y="20764"/>
                      <a:pt x="5970" y="20608"/>
                      <a:pt x="5970" y="20514"/>
                    </a:cubicBezTo>
                    <a:cubicBezTo>
                      <a:pt x="5970" y="20421"/>
                      <a:pt x="5970" y="20514"/>
                      <a:pt x="5970" y="20608"/>
                    </a:cubicBezTo>
                    <a:cubicBezTo>
                      <a:pt x="5970" y="20701"/>
                      <a:pt x="6220" y="19766"/>
                      <a:pt x="5970" y="19735"/>
                    </a:cubicBezTo>
                    <a:cubicBezTo>
                      <a:pt x="5721" y="19704"/>
                      <a:pt x="5877" y="19828"/>
                      <a:pt x="5970" y="19735"/>
                    </a:cubicBezTo>
                    <a:lnTo>
                      <a:pt x="5970" y="19735"/>
                    </a:lnTo>
                    <a:lnTo>
                      <a:pt x="5970" y="19735"/>
                    </a:lnTo>
                    <a:cubicBezTo>
                      <a:pt x="5970" y="19735"/>
                      <a:pt x="5970" y="19579"/>
                      <a:pt x="5970" y="19641"/>
                    </a:cubicBezTo>
                    <a:cubicBezTo>
                      <a:pt x="5978" y="19605"/>
                      <a:pt x="5978" y="19568"/>
                      <a:pt x="5970" y="19532"/>
                    </a:cubicBezTo>
                    <a:lnTo>
                      <a:pt x="5970" y="19532"/>
                    </a:lnTo>
                    <a:cubicBezTo>
                      <a:pt x="5970" y="19532"/>
                      <a:pt x="5970" y="19454"/>
                      <a:pt x="5970" y="19407"/>
                    </a:cubicBezTo>
                    <a:lnTo>
                      <a:pt x="5970" y="19407"/>
                    </a:lnTo>
                    <a:cubicBezTo>
                      <a:pt x="5970" y="19407"/>
                      <a:pt x="5970" y="19407"/>
                      <a:pt x="5970" y="19407"/>
                    </a:cubicBezTo>
                    <a:cubicBezTo>
                      <a:pt x="5970" y="19407"/>
                      <a:pt x="5970" y="19407"/>
                      <a:pt x="5970" y="19407"/>
                    </a:cubicBezTo>
                    <a:cubicBezTo>
                      <a:pt x="5970" y="19407"/>
                      <a:pt x="5970" y="19314"/>
                      <a:pt x="5970" y="19267"/>
                    </a:cubicBezTo>
                    <a:lnTo>
                      <a:pt x="5970" y="19361"/>
                    </a:lnTo>
                    <a:cubicBezTo>
                      <a:pt x="5970" y="19267"/>
                      <a:pt x="5799" y="19361"/>
                      <a:pt x="5783" y="19470"/>
                    </a:cubicBezTo>
                    <a:lnTo>
                      <a:pt x="5783" y="19470"/>
                    </a:lnTo>
                    <a:cubicBezTo>
                      <a:pt x="5783" y="19641"/>
                      <a:pt x="5783" y="19750"/>
                      <a:pt x="5783" y="19828"/>
                    </a:cubicBezTo>
                    <a:cubicBezTo>
                      <a:pt x="5783" y="19906"/>
                      <a:pt x="5783" y="19485"/>
                      <a:pt x="5783" y="19750"/>
                    </a:cubicBezTo>
                    <a:lnTo>
                      <a:pt x="5783" y="19657"/>
                    </a:lnTo>
                    <a:cubicBezTo>
                      <a:pt x="5783" y="19548"/>
                      <a:pt x="5783" y="19485"/>
                      <a:pt x="5783" y="19376"/>
                    </a:cubicBezTo>
                    <a:cubicBezTo>
                      <a:pt x="5783" y="19267"/>
                      <a:pt x="5783" y="19376"/>
                      <a:pt x="5783" y="19376"/>
                    </a:cubicBezTo>
                    <a:cubicBezTo>
                      <a:pt x="5783" y="19594"/>
                      <a:pt x="5783" y="19127"/>
                      <a:pt x="5612" y="19376"/>
                    </a:cubicBezTo>
                    <a:cubicBezTo>
                      <a:pt x="5612" y="19376"/>
                      <a:pt x="5612" y="19236"/>
                      <a:pt x="5612" y="19174"/>
                    </a:cubicBezTo>
                    <a:cubicBezTo>
                      <a:pt x="5612" y="19111"/>
                      <a:pt x="5612" y="19283"/>
                      <a:pt x="5612" y="19174"/>
                    </a:cubicBezTo>
                    <a:cubicBezTo>
                      <a:pt x="5621" y="19251"/>
                      <a:pt x="5621" y="19330"/>
                      <a:pt x="5612" y="19407"/>
                    </a:cubicBezTo>
                    <a:lnTo>
                      <a:pt x="5612" y="19407"/>
                    </a:lnTo>
                    <a:lnTo>
                      <a:pt x="5612" y="19517"/>
                    </a:lnTo>
                    <a:lnTo>
                      <a:pt x="5612" y="19517"/>
                    </a:lnTo>
                    <a:cubicBezTo>
                      <a:pt x="5612" y="19594"/>
                      <a:pt x="5612" y="19517"/>
                      <a:pt x="5612" y="19517"/>
                    </a:cubicBezTo>
                    <a:lnTo>
                      <a:pt x="5612" y="19517"/>
                    </a:lnTo>
                    <a:cubicBezTo>
                      <a:pt x="5612" y="19517"/>
                      <a:pt x="5612" y="19517"/>
                      <a:pt x="5612" y="19517"/>
                    </a:cubicBezTo>
                    <a:lnTo>
                      <a:pt x="5612" y="19517"/>
                    </a:lnTo>
                    <a:cubicBezTo>
                      <a:pt x="5612" y="19517"/>
                      <a:pt x="5612" y="19610"/>
                      <a:pt x="5612" y="19610"/>
                    </a:cubicBezTo>
                    <a:lnTo>
                      <a:pt x="5612" y="19610"/>
                    </a:lnTo>
                    <a:cubicBezTo>
                      <a:pt x="5523" y="19891"/>
                      <a:pt x="5450" y="20178"/>
                      <a:pt x="5393" y="20467"/>
                    </a:cubicBezTo>
                    <a:cubicBezTo>
                      <a:pt x="5393" y="20467"/>
                      <a:pt x="5393" y="20358"/>
                      <a:pt x="5393" y="20327"/>
                    </a:cubicBezTo>
                    <a:cubicBezTo>
                      <a:pt x="5393" y="20296"/>
                      <a:pt x="5300" y="20748"/>
                      <a:pt x="5393" y="20530"/>
                    </a:cubicBezTo>
                    <a:cubicBezTo>
                      <a:pt x="5298" y="20978"/>
                      <a:pt x="5225" y="21430"/>
                      <a:pt x="5175" y="21886"/>
                    </a:cubicBezTo>
                    <a:cubicBezTo>
                      <a:pt x="5144" y="22306"/>
                      <a:pt x="5144" y="22728"/>
                      <a:pt x="5175" y="23149"/>
                    </a:cubicBezTo>
                    <a:cubicBezTo>
                      <a:pt x="5175" y="23149"/>
                      <a:pt x="5175" y="23149"/>
                      <a:pt x="5175" y="23149"/>
                    </a:cubicBezTo>
                    <a:cubicBezTo>
                      <a:pt x="5181" y="23123"/>
                      <a:pt x="5181" y="23096"/>
                      <a:pt x="5175" y="23071"/>
                    </a:cubicBezTo>
                    <a:lnTo>
                      <a:pt x="5175" y="23071"/>
                    </a:lnTo>
                    <a:cubicBezTo>
                      <a:pt x="5175" y="23071"/>
                      <a:pt x="5175" y="23071"/>
                      <a:pt x="5175" y="23071"/>
                    </a:cubicBezTo>
                    <a:lnTo>
                      <a:pt x="5175" y="23071"/>
                    </a:lnTo>
                    <a:cubicBezTo>
                      <a:pt x="5175" y="23071"/>
                      <a:pt x="5175" y="23195"/>
                      <a:pt x="5175" y="23258"/>
                    </a:cubicBezTo>
                    <a:lnTo>
                      <a:pt x="5175" y="23258"/>
                    </a:lnTo>
                    <a:lnTo>
                      <a:pt x="5175" y="23258"/>
                    </a:lnTo>
                    <a:cubicBezTo>
                      <a:pt x="5183" y="23190"/>
                      <a:pt x="5183" y="23122"/>
                      <a:pt x="5175" y="23055"/>
                    </a:cubicBezTo>
                    <a:lnTo>
                      <a:pt x="5175" y="23055"/>
                    </a:lnTo>
                    <a:cubicBezTo>
                      <a:pt x="5316" y="22915"/>
                      <a:pt x="5175" y="22244"/>
                      <a:pt x="5440" y="22385"/>
                    </a:cubicBezTo>
                    <a:cubicBezTo>
                      <a:pt x="5440" y="22385"/>
                      <a:pt x="5440" y="22291"/>
                      <a:pt x="5440" y="22385"/>
                    </a:cubicBezTo>
                    <a:cubicBezTo>
                      <a:pt x="5440" y="22478"/>
                      <a:pt x="5440" y="22385"/>
                      <a:pt x="5440" y="22385"/>
                    </a:cubicBezTo>
                    <a:cubicBezTo>
                      <a:pt x="5440" y="22385"/>
                      <a:pt x="5440" y="22525"/>
                      <a:pt x="5440" y="22385"/>
                    </a:cubicBezTo>
                    <a:cubicBezTo>
                      <a:pt x="5534" y="22650"/>
                      <a:pt x="5269" y="22946"/>
                      <a:pt x="5316" y="23227"/>
                    </a:cubicBezTo>
                    <a:cubicBezTo>
                      <a:pt x="5316" y="23227"/>
                      <a:pt x="5316" y="23476"/>
                      <a:pt x="5316" y="23523"/>
                    </a:cubicBezTo>
                    <a:cubicBezTo>
                      <a:pt x="5277" y="23863"/>
                      <a:pt x="4970" y="24107"/>
                      <a:pt x="4630" y="24068"/>
                    </a:cubicBezTo>
                    <a:cubicBezTo>
                      <a:pt x="4290" y="24029"/>
                      <a:pt x="4045" y="23723"/>
                      <a:pt x="4084" y="23382"/>
                    </a:cubicBezTo>
                    <a:cubicBezTo>
                      <a:pt x="4084" y="23554"/>
                      <a:pt x="4084" y="23912"/>
                      <a:pt x="3991" y="24193"/>
                    </a:cubicBezTo>
                    <a:lnTo>
                      <a:pt x="3991" y="24193"/>
                    </a:lnTo>
                    <a:cubicBezTo>
                      <a:pt x="3975" y="24254"/>
                      <a:pt x="3975" y="24319"/>
                      <a:pt x="3991" y="24380"/>
                    </a:cubicBezTo>
                    <a:lnTo>
                      <a:pt x="3991" y="24380"/>
                    </a:lnTo>
                    <a:cubicBezTo>
                      <a:pt x="3991" y="24380"/>
                      <a:pt x="3991" y="24380"/>
                      <a:pt x="3991" y="24458"/>
                    </a:cubicBezTo>
                    <a:cubicBezTo>
                      <a:pt x="3991" y="24536"/>
                      <a:pt x="4178" y="24629"/>
                      <a:pt x="4162" y="24458"/>
                    </a:cubicBezTo>
                    <a:cubicBezTo>
                      <a:pt x="4162" y="24552"/>
                      <a:pt x="4162" y="24598"/>
                      <a:pt x="4287" y="24676"/>
                    </a:cubicBezTo>
                    <a:lnTo>
                      <a:pt x="4287" y="24676"/>
                    </a:lnTo>
                    <a:cubicBezTo>
                      <a:pt x="4300" y="24722"/>
                      <a:pt x="4300" y="24771"/>
                      <a:pt x="4287" y="24817"/>
                    </a:cubicBezTo>
                    <a:cubicBezTo>
                      <a:pt x="4287" y="24692"/>
                      <a:pt x="4287" y="24817"/>
                      <a:pt x="4287" y="24910"/>
                    </a:cubicBezTo>
                    <a:lnTo>
                      <a:pt x="4287" y="24910"/>
                    </a:lnTo>
                    <a:cubicBezTo>
                      <a:pt x="4326" y="25121"/>
                      <a:pt x="4326" y="25338"/>
                      <a:pt x="4287" y="25549"/>
                    </a:cubicBezTo>
                    <a:lnTo>
                      <a:pt x="4287" y="25549"/>
                    </a:lnTo>
                    <a:cubicBezTo>
                      <a:pt x="4295" y="25689"/>
                      <a:pt x="4295" y="25830"/>
                      <a:pt x="4287" y="25970"/>
                    </a:cubicBezTo>
                    <a:cubicBezTo>
                      <a:pt x="4287" y="25970"/>
                      <a:pt x="4287" y="25877"/>
                      <a:pt x="4287" y="25814"/>
                    </a:cubicBezTo>
                    <a:cubicBezTo>
                      <a:pt x="4279" y="25923"/>
                      <a:pt x="4279" y="26033"/>
                      <a:pt x="4287" y="26142"/>
                    </a:cubicBezTo>
                    <a:cubicBezTo>
                      <a:pt x="4296" y="26116"/>
                      <a:pt x="4296" y="26089"/>
                      <a:pt x="4287" y="26064"/>
                    </a:cubicBezTo>
                    <a:cubicBezTo>
                      <a:pt x="4262" y="26192"/>
                      <a:pt x="4262" y="26325"/>
                      <a:pt x="4287" y="26453"/>
                    </a:cubicBezTo>
                    <a:cubicBezTo>
                      <a:pt x="4287" y="26375"/>
                      <a:pt x="4489" y="27264"/>
                      <a:pt x="4474" y="26983"/>
                    </a:cubicBezTo>
                    <a:cubicBezTo>
                      <a:pt x="4661" y="27467"/>
                      <a:pt x="4692" y="26438"/>
                      <a:pt x="5113" y="27654"/>
                    </a:cubicBezTo>
                    <a:cubicBezTo>
                      <a:pt x="5113" y="27560"/>
                      <a:pt x="5113" y="26625"/>
                      <a:pt x="5409" y="26859"/>
                    </a:cubicBezTo>
                    <a:cubicBezTo>
                      <a:pt x="5409" y="27061"/>
                      <a:pt x="5409" y="26859"/>
                      <a:pt x="5409" y="26749"/>
                    </a:cubicBezTo>
                    <a:cubicBezTo>
                      <a:pt x="5409" y="26640"/>
                      <a:pt x="5674" y="26594"/>
                      <a:pt x="5768" y="26531"/>
                    </a:cubicBezTo>
                    <a:cubicBezTo>
                      <a:pt x="5877" y="26734"/>
                      <a:pt x="5768" y="27077"/>
                      <a:pt x="5768" y="27357"/>
                    </a:cubicBezTo>
                    <a:cubicBezTo>
                      <a:pt x="6017" y="28043"/>
                      <a:pt x="5768" y="26937"/>
                      <a:pt x="6048" y="26921"/>
                    </a:cubicBezTo>
                    <a:cubicBezTo>
                      <a:pt x="6329" y="26905"/>
                      <a:pt x="5923" y="26812"/>
                      <a:pt x="6048" y="26718"/>
                    </a:cubicBezTo>
                    <a:cubicBezTo>
                      <a:pt x="6173" y="26625"/>
                      <a:pt x="6048" y="26921"/>
                      <a:pt x="6157" y="26983"/>
                    </a:cubicBezTo>
                    <a:cubicBezTo>
                      <a:pt x="6292" y="26991"/>
                      <a:pt x="6399" y="27098"/>
                      <a:pt x="6407" y="27233"/>
                    </a:cubicBezTo>
                    <a:cubicBezTo>
                      <a:pt x="6298" y="27420"/>
                      <a:pt x="6672" y="27357"/>
                      <a:pt x="6781" y="27404"/>
                    </a:cubicBezTo>
                    <a:cubicBezTo>
                      <a:pt x="6859" y="27825"/>
                      <a:pt x="7342" y="27264"/>
                      <a:pt x="7498" y="27591"/>
                    </a:cubicBezTo>
                    <a:cubicBezTo>
                      <a:pt x="7264" y="27591"/>
                      <a:pt x="7326" y="27591"/>
                      <a:pt x="7498" y="27809"/>
                    </a:cubicBezTo>
                    <a:cubicBezTo>
                      <a:pt x="7498" y="27654"/>
                      <a:pt x="8043" y="28230"/>
                      <a:pt x="7654" y="28230"/>
                    </a:cubicBezTo>
                    <a:cubicBezTo>
                      <a:pt x="8064" y="28271"/>
                      <a:pt x="8367" y="28630"/>
                      <a:pt x="8340" y="29041"/>
                    </a:cubicBezTo>
                    <a:cubicBezTo>
                      <a:pt x="8340" y="28745"/>
                      <a:pt x="8667" y="29181"/>
                      <a:pt x="8667" y="29322"/>
                    </a:cubicBezTo>
                    <a:cubicBezTo>
                      <a:pt x="8589" y="29134"/>
                      <a:pt x="9493" y="29322"/>
                      <a:pt x="9275" y="29524"/>
                    </a:cubicBezTo>
                    <a:cubicBezTo>
                      <a:pt x="9478" y="29368"/>
                      <a:pt x="9961" y="29976"/>
                      <a:pt x="9852" y="30085"/>
                    </a:cubicBezTo>
                    <a:cubicBezTo>
                      <a:pt x="9992" y="29852"/>
                      <a:pt x="10101" y="30615"/>
                      <a:pt x="10257" y="30787"/>
                    </a:cubicBezTo>
                    <a:cubicBezTo>
                      <a:pt x="10413" y="30958"/>
                      <a:pt x="9961" y="31364"/>
                      <a:pt x="10023" y="31644"/>
                    </a:cubicBezTo>
                    <a:cubicBezTo>
                      <a:pt x="10023" y="31410"/>
                      <a:pt x="10195" y="31426"/>
                      <a:pt x="10117" y="31644"/>
                    </a:cubicBezTo>
                    <a:cubicBezTo>
                      <a:pt x="10117" y="31644"/>
                      <a:pt x="10226" y="31364"/>
                      <a:pt x="10288" y="31519"/>
                    </a:cubicBezTo>
                    <a:cubicBezTo>
                      <a:pt x="10350" y="31675"/>
                      <a:pt x="10288" y="31519"/>
                      <a:pt x="10288" y="31519"/>
                    </a:cubicBezTo>
                    <a:cubicBezTo>
                      <a:pt x="10288" y="31052"/>
                      <a:pt x="11255" y="31894"/>
                      <a:pt x="10288" y="31847"/>
                    </a:cubicBezTo>
                    <a:cubicBezTo>
                      <a:pt x="10662" y="31847"/>
                      <a:pt x="10475" y="32049"/>
                      <a:pt x="10600" y="32330"/>
                    </a:cubicBezTo>
                    <a:cubicBezTo>
                      <a:pt x="10475" y="31831"/>
                      <a:pt x="10958" y="31379"/>
                      <a:pt x="11270" y="31831"/>
                    </a:cubicBezTo>
                    <a:cubicBezTo>
                      <a:pt x="11270" y="31831"/>
                      <a:pt x="11442" y="31925"/>
                      <a:pt x="11473" y="32003"/>
                    </a:cubicBezTo>
                    <a:cubicBezTo>
                      <a:pt x="11504" y="32081"/>
                      <a:pt x="11785" y="32096"/>
                      <a:pt x="11691" y="32190"/>
                    </a:cubicBezTo>
                    <a:cubicBezTo>
                      <a:pt x="11598" y="32283"/>
                      <a:pt x="11691" y="32424"/>
                      <a:pt x="11769" y="32517"/>
                    </a:cubicBezTo>
                    <a:cubicBezTo>
                      <a:pt x="11847" y="32611"/>
                      <a:pt x="11769" y="32205"/>
                      <a:pt x="11769" y="32408"/>
                    </a:cubicBezTo>
                    <a:cubicBezTo>
                      <a:pt x="11769" y="32268"/>
                      <a:pt x="11894" y="32314"/>
                      <a:pt x="11769" y="32221"/>
                    </a:cubicBezTo>
                    <a:cubicBezTo>
                      <a:pt x="11644" y="32127"/>
                      <a:pt x="12128" y="32455"/>
                      <a:pt x="12128" y="32346"/>
                    </a:cubicBezTo>
                    <a:cubicBezTo>
                      <a:pt x="12128" y="32237"/>
                      <a:pt x="12128" y="32346"/>
                      <a:pt x="12221" y="32439"/>
                    </a:cubicBezTo>
                    <a:cubicBezTo>
                      <a:pt x="12315" y="32533"/>
                      <a:pt x="12221" y="32439"/>
                      <a:pt x="12221" y="32439"/>
                    </a:cubicBezTo>
                    <a:lnTo>
                      <a:pt x="12221" y="32439"/>
                    </a:lnTo>
                    <a:lnTo>
                      <a:pt x="12221" y="32439"/>
                    </a:lnTo>
                    <a:cubicBezTo>
                      <a:pt x="13468" y="32813"/>
                      <a:pt x="14918" y="33998"/>
                      <a:pt x="13546" y="35323"/>
                    </a:cubicBezTo>
                    <a:cubicBezTo>
                      <a:pt x="13546" y="35245"/>
                      <a:pt x="13546" y="35105"/>
                      <a:pt x="13546" y="35229"/>
                    </a:cubicBezTo>
                    <a:cubicBezTo>
                      <a:pt x="13546" y="35354"/>
                      <a:pt x="13453" y="35229"/>
                      <a:pt x="13437" y="35229"/>
                    </a:cubicBezTo>
                    <a:lnTo>
                      <a:pt x="13437" y="35229"/>
                    </a:lnTo>
                    <a:cubicBezTo>
                      <a:pt x="13733" y="35744"/>
                      <a:pt x="14263" y="37770"/>
                      <a:pt x="13437" y="37614"/>
                    </a:cubicBezTo>
                    <a:cubicBezTo>
                      <a:pt x="13437" y="37614"/>
                      <a:pt x="13172" y="37614"/>
                      <a:pt x="13437" y="37614"/>
                    </a:cubicBezTo>
                    <a:cubicBezTo>
                      <a:pt x="13702" y="37614"/>
                      <a:pt x="13297" y="37614"/>
                      <a:pt x="13250" y="37614"/>
                    </a:cubicBezTo>
                    <a:cubicBezTo>
                      <a:pt x="13203" y="37614"/>
                      <a:pt x="13250" y="37692"/>
                      <a:pt x="13250" y="37833"/>
                    </a:cubicBezTo>
                    <a:cubicBezTo>
                      <a:pt x="13032" y="37661"/>
                      <a:pt x="12938" y="38113"/>
                      <a:pt x="12845" y="38082"/>
                    </a:cubicBezTo>
                    <a:cubicBezTo>
                      <a:pt x="12751" y="38051"/>
                      <a:pt x="12845" y="38082"/>
                      <a:pt x="12845" y="38082"/>
                    </a:cubicBezTo>
                    <a:cubicBezTo>
                      <a:pt x="12845" y="38082"/>
                      <a:pt x="12969" y="38160"/>
                      <a:pt x="12845" y="38160"/>
                    </a:cubicBezTo>
                    <a:cubicBezTo>
                      <a:pt x="12720" y="38160"/>
                      <a:pt x="12845" y="38160"/>
                      <a:pt x="12845" y="38160"/>
                    </a:cubicBezTo>
                    <a:cubicBezTo>
                      <a:pt x="12845" y="38160"/>
                      <a:pt x="13110" y="38503"/>
                      <a:pt x="13078" y="38597"/>
                    </a:cubicBezTo>
                    <a:cubicBezTo>
                      <a:pt x="13047" y="38690"/>
                      <a:pt x="13078" y="39657"/>
                      <a:pt x="13078" y="39329"/>
                    </a:cubicBezTo>
                    <a:cubicBezTo>
                      <a:pt x="13078" y="39329"/>
                      <a:pt x="13078" y="39329"/>
                      <a:pt x="13078" y="39251"/>
                    </a:cubicBezTo>
                    <a:cubicBezTo>
                      <a:pt x="13078" y="39173"/>
                      <a:pt x="13078" y="39127"/>
                      <a:pt x="13078" y="39127"/>
                    </a:cubicBezTo>
                    <a:cubicBezTo>
                      <a:pt x="13012" y="39062"/>
                      <a:pt x="12939" y="39004"/>
                      <a:pt x="12860" y="38955"/>
                    </a:cubicBezTo>
                    <a:cubicBezTo>
                      <a:pt x="12915" y="39005"/>
                      <a:pt x="12962" y="39063"/>
                      <a:pt x="13000" y="39127"/>
                    </a:cubicBezTo>
                    <a:cubicBezTo>
                      <a:pt x="13000" y="39127"/>
                      <a:pt x="13110" y="39345"/>
                      <a:pt x="13000" y="39251"/>
                    </a:cubicBezTo>
                    <a:cubicBezTo>
                      <a:pt x="13484" y="39968"/>
                      <a:pt x="13000" y="40171"/>
                      <a:pt x="12564" y="39766"/>
                    </a:cubicBezTo>
                    <a:lnTo>
                      <a:pt x="13203" y="40311"/>
                    </a:lnTo>
                    <a:lnTo>
                      <a:pt x="13203" y="40311"/>
                    </a:lnTo>
                    <a:cubicBezTo>
                      <a:pt x="13283" y="40379"/>
                      <a:pt x="13347" y="40464"/>
                      <a:pt x="13390" y="40561"/>
                    </a:cubicBezTo>
                    <a:lnTo>
                      <a:pt x="13390" y="40561"/>
                    </a:lnTo>
                    <a:cubicBezTo>
                      <a:pt x="13390" y="40561"/>
                      <a:pt x="13562" y="40794"/>
                      <a:pt x="13390" y="40732"/>
                    </a:cubicBezTo>
                    <a:cubicBezTo>
                      <a:pt x="13219" y="40670"/>
                      <a:pt x="13063" y="40732"/>
                      <a:pt x="12969" y="40732"/>
                    </a:cubicBezTo>
                    <a:cubicBezTo>
                      <a:pt x="12876" y="40732"/>
                      <a:pt x="13141" y="40872"/>
                      <a:pt x="13219" y="40950"/>
                    </a:cubicBezTo>
                    <a:lnTo>
                      <a:pt x="13219" y="40950"/>
                    </a:lnTo>
                    <a:cubicBezTo>
                      <a:pt x="13530" y="41262"/>
                      <a:pt x="13608" y="41356"/>
                      <a:pt x="13125" y="41106"/>
                    </a:cubicBezTo>
                    <a:cubicBezTo>
                      <a:pt x="13269" y="41259"/>
                      <a:pt x="13438" y="41385"/>
                      <a:pt x="13624" y="41480"/>
                    </a:cubicBezTo>
                    <a:cubicBezTo>
                      <a:pt x="13624" y="41480"/>
                      <a:pt x="13624" y="41480"/>
                      <a:pt x="13624" y="41480"/>
                    </a:cubicBezTo>
                    <a:lnTo>
                      <a:pt x="13624" y="41480"/>
                    </a:lnTo>
                    <a:cubicBezTo>
                      <a:pt x="13889" y="41683"/>
                      <a:pt x="13733" y="41699"/>
                      <a:pt x="14263" y="42073"/>
                    </a:cubicBezTo>
                    <a:lnTo>
                      <a:pt x="14263" y="42073"/>
                    </a:lnTo>
                    <a:lnTo>
                      <a:pt x="14263" y="42073"/>
                    </a:lnTo>
                    <a:lnTo>
                      <a:pt x="14263" y="42073"/>
                    </a:lnTo>
                    <a:cubicBezTo>
                      <a:pt x="14513" y="42353"/>
                      <a:pt x="14918" y="42416"/>
                      <a:pt x="15183" y="42665"/>
                    </a:cubicBezTo>
                    <a:lnTo>
                      <a:pt x="15183" y="42665"/>
                    </a:lnTo>
                    <a:lnTo>
                      <a:pt x="15183" y="42665"/>
                    </a:lnTo>
                    <a:lnTo>
                      <a:pt x="15183" y="42665"/>
                    </a:lnTo>
                    <a:lnTo>
                      <a:pt x="15323" y="42774"/>
                    </a:lnTo>
                    <a:lnTo>
                      <a:pt x="15323" y="42774"/>
                    </a:lnTo>
                    <a:lnTo>
                      <a:pt x="15510" y="42899"/>
                    </a:lnTo>
                    <a:cubicBezTo>
                      <a:pt x="15510" y="42899"/>
                      <a:pt x="15510" y="42899"/>
                      <a:pt x="15417" y="42899"/>
                    </a:cubicBezTo>
                    <a:cubicBezTo>
                      <a:pt x="15680" y="43066"/>
                      <a:pt x="15956" y="43212"/>
                      <a:pt x="16243" y="43335"/>
                    </a:cubicBezTo>
                    <a:lnTo>
                      <a:pt x="16243" y="43335"/>
                    </a:lnTo>
                    <a:cubicBezTo>
                      <a:pt x="16149" y="43335"/>
                      <a:pt x="16243" y="43335"/>
                      <a:pt x="16243" y="43335"/>
                    </a:cubicBezTo>
                    <a:lnTo>
                      <a:pt x="16243" y="43335"/>
                    </a:lnTo>
                    <a:cubicBezTo>
                      <a:pt x="16389" y="43422"/>
                      <a:pt x="16539" y="43501"/>
                      <a:pt x="16695" y="43569"/>
                    </a:cubicBezTo>
                    <a:lnTo>
                      <a:pt x="16492" y="43569"/>
                    </a:lnTo>
                    <a:close/>
                    <a:moveTo>
                      <a:pt x="18659" y="9182"/>
                    </a:moveTo>
                    <a:cubicBezTo>
                      <a:pt x="18410" y="9446"/>
                      <a:pt x="18659" y="9088"/>
                      <a:pt x="18659" y="9057"/>
                    </a:cubicBezTo>
                    <a:cubicBezTo>
                      <a:pt x="18659" y="9026"/>
                      <a:pt x="18534" y="9197"/>
                      <a:pt x="18410" y="9369"/>
                    </a:cubicBezTo>
                    <a:cubicBezTo>
                      <a:pt x="17989" y="9150"/>
                      <a:pt x="17770" y="9961"/>
                      <a:pt x="17505" y="9899"/>
                    </a:cubicBezTo>
                    <a:cubicBezTo>
                      <a:pt x="17724" y="10132"/>
                      <a:pt x="17334" y="9899"/>
                      <a:pt x="17381" y="10132"/>
                    </a:cubicBezTo>
                    <a:cubicBezTo>
                      <a:pt x="17256" y="9945"/>
                      <a:pt x="17381" y="10132"/>
                      <a:pt x="17381" y="10132"/>
                    </a:cubicBezTo>
                    <a:cubicBezTo>
                      <a:pt x="17381" y="9899"/>
                      <a:pt x="17381" y="10397"/>
                      <a:pt x="17240" y="10132"/>
                    </a:cubicBezTo>
                    <a:cubicBezTo>
                      <a:pt x="16960" y="10132"/>
                      <a:pt x="17240" y="10507"/>
                      <a:pt x="16866" y="10507"/>
                    </a:cubicBezTo>
                    <a:cubicBezTo>
                      <a:pt x="16866" y="10507"/>
                      <a:pt x="16633" y="10912"/>
                      <a:pt x="16570" y="10803"/>
                    </a:cubicBezTo>
                    <a:cubicBezTo>
                      <a:pt x="16508" y="10694"/>
                      <a:pt x="16196" y="11302"/>
                      <a:pt x="16336" y="10990"/>
                    </a:cubicBezTo>
                    <a:cubicBezTo>
                      <a:pt x="15915" y="11255"/>
                      <a:pt x="16430" y="10834"/>
                      <a:pt x="16103" y="10896"/>
                    </a:cubicBezTo>
                    <a:cubicBezTo>
                      <a:pt x="16492" y="10600"/>
                      <a:pt x="16399" y="10662"/>
                      <a:pt x="15884" y="10694"/>
                    </a:cubicBezTo>
                    <a:cubicBezTo>
                      <a:pt x="15962" y="10267"/>
                      <a:pt x="16121" y="9860"/>
                      <a:pt x="16352" y="9493"/>
                    </a:cubicBezTo>
                    <a:cubicBezTo>
                      <a:pt x="16352" y="9275"/>
                      <a:pt x="16539" y="9493"/>
                      <a:pt x="16742" y="9197"/>
                    </a:cubicBezTo>
                    <a:cubicBezTo>
                      <a:pt x="16321" y="9353"/>
                      <a:pt x="16321" y="9197"/>
                      <a:pt x="16742" y="8839"/>
                    </a:cubicBezTo>
                    <a:cubicBezTo>
                      <a:pt x="16648" y="8839"/>
                      <a:pt x="16523" y="8839"/>
                      <a:pt x="16648" y="8839"/>
                    </a:cubicBezTo>
                    <a:cubicBezTo>
                      <a:pt x="16773" y="8839"/>
                      <a:pt x="16648" y="8745"/>
                      <a:pt x="17209" y="8480"/>
                    </a:cubicBezTo>
                    <a:cubicBezTo>
                      <a:pt x="16071" y="8901"/>
                      <a:pt x="17599" y="8137"/>
                      <a:pt x="17038" y="8262"/>
                    </a:cubicBezTo>
                    <a:cubicBezTo>
                      <a:pt x="17490" y="7856"/>
                      <a:pt x="17381" y="8433"/>
                      <a:pt x="17537" y="8262"/>
                    </a:cubicBezTo>
                    <a:cubicBezTo>
                      <a:pt x="17240" y="8262"/>
                      <a:pt x="17848" y="8044"/>
                      <a:pt x="17537" y="8137"/>
                    </a:cubicBezTo>
                    <a:cubicBezTo>
                      <a:pt x="17646" y="8028"/>
                      <a:pt x="17396" y="8137"/>
                      <a:pt x="17194" y="8137"/>
                    </a:cubicBezTo>
                    <a:cubicBezTo>
                      <a:pt x="17630" y="7747"/>
                      <a:pt x="17459" y="8246"/>
                      <a:pt x="17786" y="7872"/>
                    </a:cubicBezTo>
                    <a:cubicBezTo>
                      <a:pt x="17505" y="8028"/>
                      <a:pt x="17552" y="7763"/>
                      <a:pt x="17786" y="7872"/>
                    </a:cubicBezTo>
                    <a:cubicBezTo>
                      <a:pt x="17976" y="7744"/>
                      <a:pt x="18154" y="7598"/>
                      <a:pt x="18316" y="7436"/>
                    </a:cubicBezTo>
                    <a:cubicBezTo>
                      <a:pt x="18145" y="7436"/>
                      <a:pt x="18316" y="6594"/>
                      <a:pt x="18472" y="7217"/>
                    </a:cubicBezTo>
                    <a:cubicBezTo>
                      <a:pt x="18472" y="7217"/>
                      <a:pt x="18612" y="6999"/>
                      <a:pt x="18659" y="7046"/>
                    </a:cubicBezTo>
                    <a:cubicBezTo>
                      <a:pt x="18706" y="7093"/>
                      <a:pt x="19189" y="6344"/>
                      <a:pt x="18768" y="6703"/>
                    </a:cubicBezTo>
                    <a:cubicBezTo>
                      <a:pt x="18347" y="7061"/>
                      <a:pt x="19205" y="6282"/>
                      <a:pt x="19735" y="5752"/>
                    </a:cubicBezTo>
                    <a:cubicBezTo>
                      <a:pt x="21013" y="4770"/>
                      <a:pt x="19735" y="4988"/>
                      <a:pt x="20795" y="4521"/>
                    </a:cubicBezTo>
                    <a:cubicBezTo>
                      <a:pt x="20950" y="4521"/>
                      <a:pt x="21060" y="4599"/>
                      <a:pt x="21169" y="4396"/>
                    </a:cubicBezTo>
                    <a:cubicBezTo>
                      <a:pt x="23897" y="3227"/>
                      <a:pt x="23211" y="3866"/>
                      <a:pt x="24286" y="3351"/>
                    </a:cubicBezTo>
                    <a:cubicBezTo>
                      <a:pt x="23974" y="3523"/>
                      <a:pt x="24286" y="3351"/>
                      <a:pt x="24395" y="3351"/>
                    </a:cubicBezTo>
                    <a:cubicBezTo>
                      <a:pt x="24052" y="3585"/>
                      <a:pt x="24239" y="3351"/>
                      <a:pt x="24146" y="3585"/>
                    </a:cubicBezTo>
                    <a:cubicBezTo>
                      <a:pt x="24286" y="3757"/>
                      <a:pt x="23382" y="3850"/>
                      <a:pt x="23787" y="3819"/>
                    </a:cubicBezTo>
                    <a:cubicBezTo>
                      <a:pt x="24193" y="3788"/>
                      <a:pt x="23647" y="3944"/>
                      <a:pt x="23787" y="3928"/>
                    </a:cubicBezTo>
                    <a:cubicBezTo>
                      <a:pt x="24099" y="3679"/>
                      <a:pt x="23787" y="4069"/>
                      <a:pt x="23663" y="4084"/>
                    </a:cubicBezTo>
                    <a:cubicBezTo>
                      <a:pt x="22946" y="4645"/>
                      <a:pt x="24536" y="3398"/>
                      <a:pt x="23943" y="4193"/>
                    </a:cubicBezTo>
                    <a:cubicBezTo>
                      <a:pt x="23694" y="4396"/>
                      <a:pt x="23429" y="4411"/>
                      <a:pt x="23647" y="4489"/>
                    </a:cubicBezTo>
                    <a:cubicBezTo>
                      <a:pt x="23298" y="4794"/>
                      <a:pt x="23057" y="5205"/>
                      <a:pt x="22961" y="5659"/>
                    </a:cubicBezTo>
                    <a:cubicBezTo>
                      <a:pt x="22868" y="5331"/>
                      <a:pt x="22462" y="5830"/>
                      <a:pt x="22790" y="5783"/>
                    </a:cubicBezTo>
                    <a:cubicBezTo>
                      <a:pt x="22540" y="5986"/>
                      <a:pt x="22790" y="5783"/>
                      <a:pt x="22696" y="5986"/>
                    </a:cubicBezTo>
                    <a:cubicBezTo>
                      <a:pt x="22603" y="6189"/>
                      <a:pt x="22540" y="5986"/>
                      <a:pt x="22462" y="5986"/>
                    </a:cubicBezTo>
                    <a:cubicBezTo>
                      <a:pt x="22385" y="5986"/>
                      <a:pt x="22462" y="6313"/>
                      <a:pt x="22462" y="6142"/>
                    </a:cubicBezTo>
                    <a:cubicBezTo>
                      <a:pt x="22462" y="6235"/>
                      <a:pt x="22743" y="6469"/>
                      <a:pt x="22462" y="6516"/>
                    </a:cubicBezTo>
                    <a:cubicBezTo>
                      <a:pt x="22026" y="6126"/>
                      <a:pt x="22462" y="6874"/>
                      <a:pt x="22182" y="6796"/>
                    </a:cubicBezTo>
                    <a:cubicBezTo>
                      <a:pt x="21745" y="7015"/>
                      <a:pt x="22182" y="6407"/>
                      <a:pt x="21901" y="6796"/>
                    </a:cubicBezTo>
                    <a:cubicBezTo>
                      <a:pt x="21901" y="6609"/>
                      <a:pt x="21605" y="6906"/>
                      <a:pt x="21543" y="6921"/>
                    </a:cubicBezTo>
                    <a:cubicBezTo>
                      <a:pt x="21917" y="6921"/>
                      <a:pt x="21543" y="7046"/>
                      <a:pt x="21543" y="7061"/>
                    </a:cubicBezTo>
                    <a:cubicBezTo>
                      <a:pt x="21995" y="7061"/>
                      <a:pt x="21543" y="7186"/>
                      <a:pt x="21621" y="7249"/>
                    </a:cubicBezTo>
                    <a:cubicBezTo>
                      <a:pt x="22182" y="7342"/>
                      <a:pt x="21340" y="8807"/>
                      <a:pt x="21402" y="7498"/>
                    </a:cubicBezTo>
                    <a:cubicBezTo>
                      <a:pt x="20904" y="7171"/>
                      <a:pt x="21761" y="7856"/>
                      <a:pt x="20997" y="7732"/>
                    </a:cubicBezTo>
                    <a:cubicBezTo>
                      <a:pt x="21137" y="7841"/>
                      <a:pt x="20576" y="7966"/>
                      <a:pt x="20810" y="7919"/>
                    </a:cubicBezTo>
                    <a:cubicBezTo>
                      <a:pt x="21044" y="7872"/>
                      <a:pt x="21169" y="8090"/>
                      <a:pt x="20810" y="8028"/>
                    </a:cubicBezTo>
                    <a:cubicBezTo>
                      <a:pt x="20452" y="7966"/>
                      <a:pt x="21855" y="8028"/>
                      <a:pt x="21278" y="8277"/>
                    </a:cubicBezTo>
                    <a:cubicBezTo>
                      <a:pt x="21278" y="8277"/>
                      <a:pt x="21028" y="8464"/>
                      <a:pt x="20997" y="8418"/>
                    </a:cubicBezTo>
                    <a:cubicBezTo>
                      <a:pt x="20966" y="8371"/>
                      <a:pt x="19844" y="8948"/>
                      <a:pt x="19922" y="8527"/>
                    </a:cubicBezTo>
                    <a:cubicBezTo>
                      <a:pt x="20000" y="8106"/>
                      <a:pt x="19922" y="8745"/>
                      <a:pt x="19812" y="8761"/>
                    </a:cubicBezTo>
                    <a:cubicBezTo>
                      <a:pt x="19407" y="8792"/>
                      <a:pt x="18706" y="9556"/>
                      <a:pt x="18659" y="9182"/>
                    </a:cubicBezTo>
                    <a:close/>
                    <a:moveTo>
                      <a:pt x="21480" y="10382"/>
                    </a:moveTo>
                    <a:cubicBezTo>
                      <a:pt x="21480" y="10507"/>
                      <a:pt x="21293" y="10475"/>
                      <a:pt x="21247" y="10382"/>
                    </a:cubicBezTo>
                    <a:cubicBezTo>
                      <a:pt x="21200" y="10288"/>
                      <a:pt x="21075" y="10382"/>
                      <a:pt x="21122" y="10273"/>
                    </a:cubicBezTo>
                    <a:cubicBezTo>
                      <a:pt x="21169" y="10164"/>
                      <a:pt x="21044" y="10273"/>
                      <a:pt x="21122" y="10273"/>
                    </a:cubicBezTo>
                    <a:cubicBezTo>
                      <a:pt x="21030" y="10296"/>
                      <a:pt x="20933" y="10296"/>
                      <a:pt x="20841" y="10273"/>
                    </a:cubicBezTo>
                    <a:cubicBezTo>
                      <a:pt x="20841" y="10273"/>
                      <a:pt x="20841" y="10273"/>
                      <a:pt x="20841" y="10273"/>
                    </a:cubicBezTo>
                    <a:cubicBezTo>
                      <a:pt x="20841" y="10273"/>
                      <a:pt x="20841" y="10273"/>
                      <a:pt x="20841" y="10195"/>
                    </a:cubicBezTo>
                    <a:cubicBezTo>
                      <a:pt x="20841" y="10117"/>
                      <a:pt x="20841" y="10195"/>
                      <a:pt x="20841" y="10195"/>
                    </a:cubicBezTo>
                    <a:cubicBezTo>
                      <a:pt x="20841" y="10195"/>
                      <a:pt x="20982" y="10070"/>
                      <a:pt x="21060" y="10117"/>
                    </a:cubicBezTo>
                    <a:cubicBezTo>
                      <a:pt x="21137" y="10164"/>
                      <a:pt x="20826" y="10210"/>
                      <a:pt x="21060" y="10008"/>
                    </a:cubicBezTo>
                    <a:cubicBezTo>
                      <a:pt x="21060" y="10086"/>
                      <a:pt x="20919" y="10008"/>
                      <a:pt x="21060" y="9930"/>
                    </a:cubicBezTo>
                    <a:cubicBezTo>
                      <a:pt x="21200" y="9852"/>
                      <a:pt x="20826" y="9930"/>
                      <a:pt x="20826" y="9821"/>
                    </a:cubicBezTo>
                    <a:cubicBezTo>
                      <a:pt x="20826" y="9711"/>
                      <a:pt x="21060" y="9743"/>
                      <a:pt x="21075" y="9821"/>
                    </a:cubicBezTo>
                    <a:cubicBezTo>
                      <a:pt x="21091" y="9899"/>
                      <a:pt x="21231" y="9821"/>
                      <a:pt x="21247" y="9727"/>
                    </a:cubicBezTo>
                    <a:cubicBezTo>
                      <a:pt x="21262" y="9634"/>
                      <a:pt x="21137" y="9727"/>
                      <a:pt x="21247" y="9727"/>
                    </a:cubicBezTo>
                    <a:cubicBezTo>
                      <a:pt x="21356" y="9727"/>
                      <a:pt x="21137" y="9727"/>
                      <a:pt x="21247" y="9649"/>
                    </a:cubicBezTo>
                    <a:cubicBezTo>
                      <a:pt x="21356" y="9571"/>
                      <a:pt x="21247" y="9649"/>
                      <a:pt x="21247" y="9649"/>
                    </a:cubicBezTo>
                    <a:cubicBezTo>
                      <a:pt x="21247" y="9649"/>
                      <a:pt x="21247" y="9727"/>
                      <a:pt x="21247" y="9649"/>
                    </a:cubicBezTo>
                    <a:cubicBezTo>
                      <a:pt x="21247" y="9571"/>
                      <a:pt x="21247" y="9649"/>
                      <a:pt x="21247" y="9649"/>
                    </a:cubicBezTo>
                    <a:cubicBezTo>
                      <a:pt x="21075" y="9867"/>
                      <a:pt x="20982" y="9509"/>
                      <a:pt x="21137" y="9649"/>
                    </a:cubicBezTo>
                    <a:cubicBezTo>
                      <a:pt x="21293" y="9789"/>
                      <a:pt x="21137" y="9509"/>
                      <a:pt x="21137" y="9649"/>
                    </a:cubicBezTo>
                    <a:cubicBezTo>
                      <a:pt x="21137" y="9789"/>
                      <a:pt x="21137" y="9649"/>
                      <a:pt x="21137" y="9649"/>
                    </a:cubicBezTo>
                    <a:cubicBezTo>
                      <a:pt x="21137" y="9649"/>
                      <a:pt x="21137" y="9556"/>
                      <a:pt x="21137" y="9649"/>
                    </a:cubicBezTo>
                    <a:cubicBezTo>
                      <a:pt x="21137" y="9743"/>
                      <a:pt x="21137" y="9509"/>
                      <a:pt x="21137" y="9649"/>
                    </a:cubicBezTo>
                    <a:cubicBezTo>
                      <a:pt x="21137" y="9789"/>
                      <a:pt x="21247" y="9649"/>
                      <a:pt x="21137" y="9649"/>
                    </a:cubicBezTo>
                    <a:cubicBezTo>
                      <a:pt x="21028" y="9649"/>
                      <a:pt x="21231" y="9649"/>
                      <a:pt x="21137" y="9649"/>
                    </a:cubicBezTo>
                    <a:cubicBezTo>
                      <a:pt x="21044" y="9649"/>
                      <a:pt x="20982" y="9509"/>
                      <a:pt x="21137" y="9509"/>
                    </a:cubicBezTo>
                    <a:cubicBezTo>
                      <a:pt x="20872" y="9415"/>
                      <a:pt x="21231" y="9415"/>
                      <a:pt x="21137" y="9602"/>
                    </a:cubicBezTo>
                    <a:cubicBezTo>
                      <a:pt x="21137" y="9602"/>
                      <a:pt x="21137" y="9602"/>
                      <a:pt x="21137" y="9602"/>
                    </a:cubicBezTo>
                    <a:cubicBezTo>
                      <a:pt x="21137" y="9602"/>
                      <a:pt x="21137" y="9711"/>
                      <a:pt x="21137" y="9602"/>
                    </a:cubicBezTo>
                    <a:cubicBezTo>
                      <a:pt x="21147" y="9627"/>
                      <a:pt x="21147" y="9655"/>
                      <a:pt x="21137" y="9680"/>
                    </a:cubicBezTo>
                    <a:cubicBezTo>
                      <a:pt x="21137" y="9680"/>
                      <a:pt x="21137" y="9758"/>
                      <a:pt x="21137" y="9789"/>
                    </a:cubicBezTo>
                    <a:cubicBezTo>
                      <a:pt x="21137" y="9821"/>
                      <a:pt x="21137" y="9789"/>
                      <a:pt x="21137" y="9867"/>
                    </a:cubicBezTo>
                    <a:cubicBezTo>
                      <a:pt x="21156" y="9800"/>
                      <a:pt x="21201" y="9744"/>
                      <a:pt x="21262" y="9711"/>
                    </a:cubicBezTo>
                    <a:cubicBezTo>
                      <a:pt x="21262" y="9899"/>
                      <a:pt x="21262" y="9509"/>
                      <a:pt x="21418" y="9493"/>
                    </a:cubicBezTo>
                    <a:cubicBezTo>
                      <a:pt x="21574" y="9478"/>
                      <a:pt x="21418" y="9602"/>
                      <a:pt x="21418" y="9618"/>
                    </a:cubicBezTo>
                    <a:cubicBezTo>
                      <a:pt x="21418" y="9634"/>
                      <a:pt x="21496" y="9493"/>
                      <a:pt x="21590" y="9509"/>
                    </a:cubicBezTo>
                    <a:cubicBezTo>
                      <a:pt x="21628" y="9598"/>
                      <a:pt x="21628" y="9700"/>
                      <a:pt x="21590" y="9789"/>
                    </a:cubicBezTo>
                    <a:cubicBezTo>
                      <a:pt x="21683" y="9711"/>
                      <a:pt x="21590" y="9493"/>
                      <a:pt x="21745" y="9540"/>
                    </a:cubicBezTo>
                    <a:cubicBezTo>
                      <a:pt x="21901" y="9587"/>
                      <a:pt x="21886" y="9415"/>
                      <a:pt x="21870" y="9540"/>
                    </a:cubicBezTo>
                    <a:cubicBezTo>
                      <a:pt x="21855" y="9665"/>
                      <a:pt x="22104" y="9275"/>
                      <a:pt x="22073" y="9540"/>
                    </a:cubicBezTo>
                    <a:cubicBezTo>
                      <a:pt x="22042" y="9805"/>
                      <a:pt x="22182" y="9400"/>
                      <a:pt x="22260" y="9540"/>
                    </a:cubicBezTo>
                    <a:cubicBezTo>
                      <a:pt x="22338" y="9680"/>
                      <a:pt x="22104" y="9680"/>
                      <a:pt x="22260" y="9649"/>
                    </a:cubicBezTo>
                    <a:cubicBezTo>
                      <a:pt x="22416" y="9618"/>
                      <a:pt x="22166" y="9649"/>
                      <a:pt x="22260" y="9805"/>
                    </a:cubicBezTo>
                    <a:cubicBezTo>
                      <a:pt x="22353" y="9961"/>
                      <a:pt x="22260" y="9805"/>
                      <a:pt x="22260" y="9805"/>
                    </a:cubicBezTo>
                    <a:cubicBezTo>
                      <a:pt x="22462" y="9805"/>
                      <a:pt x="22338" y="9805"/>
                      <a:pt x="22260" y="9914"/>
                    </a:cubicBezTo>
                    <a:cubicBezTo>
                      <a:pt x="22182" y="10023"/>
                      <a:pt x="22260" y="10054"/>
                      <a:pt x="22260" y="10117"/>
                    </a:cubicBezTo>
                    <a:cubicBezTo>
                      <a:pt x="22120" y="9914"/>
                      <a:pt x="22260" y="10382"/>
                      <a:pt x="22042" y="10117"/>
                    </a:cubicBezTo>
                    <a:cubicBezTo>
                      <a:pt x="22042" y="10226"/>
                      <a:pt x="21839" y="10226"/>
                      <a:pt x="21761" y="10335"/>
                    </a:cubicBezTo>
                    <a:lnTo>
                      <a:pt x="21761" y="10335"/>
                    </a:lnTo>
                    <a:cubicBezTo>
                      <a:pt x="21761" y="10335"/>
                      <a:pt x="21636" y="10335"/>
                      <a:pt x="21590" y="10335"/>
                    </a:cubicBezTo>
                    <a:cubicBezTo>
                      <a:pt x="21543" y="10335"/>
                      <a:pt x="21590" y="10335"/>
                      <a:pt x="21590" y="10335"/>
                    </a:cubicBezTo>
                    <a:cubicBezTo>
                      <a:pt x="21590" y="10335"/>
                      <a:pt x="21543" y="10522"/>
                      <a:pt x="21480" y="10382"/>
                    </a:cubicBezTo>
                    <a:close/>
                    <a:moveTo>
                      <a:pt x="34652" y="37692"/>
                    </a:moveTo>
                    <a:cubicBezTo>
                      <a:pt x="34543" y="37412"/>
                      <a:pt x="35011" y="37100"/>
                      <a:pt x="35214" y="36882"/>
                    </a:cubicBezTo>
                    <a:cubicBezTo>
                      <a:pt x="35416" y="36664"/>
                      <a:pt x="35416" y="36056"/>
                      <a:pt x="35884" y="35869"/>
                    </a:cubicBezTo>
                    <a:lnTo>
                      <a:pt x="35884" y="35869"/>
                    </a:lnTo>
                    <a:cubicBezTo>
                      <a:pt x="35884" y="35869"/>
                      <a:pt x="35884" y="35869"/>
                      <a:pt x="35884" y="35869"/>
                    </a:cubicBezTo>
                    <a:cubicBezTo>
                      <a:pt x="35884" y="35869"/>
                      <a:pt x="35977" y="35869"/>
                      <a:pt x="36102" y="35744"/>
                    </a:cubicBezTo>
                    <a:cubicBezTo>
                      <a:pt x="35993" y="36009"/>
                      <a:pt x="36367" y="35463"/>
                      <a:pt x="36258" y="35744"/>
                    </a:cubicBezTo>
                    <a:cubicBezTo>
                      <a:pt x="36149" y="36024"/>
                      <a:pt x="36258" y="35744"/>
                      <a:pt x="36258" y="35744"/>
                    </a:cubicBezTo>
                    <a:cubicBezTo>
                      <a:pt x="36258" y="35744"/>
                      <a:pt x="36258" y="35744"/>
                      <a:pt x="36258" y="35619"/>
                    </a:cubicBezTo>
                    <a:cubicBezTo>
                      <a:pt x="36258" y="35494"/>
                      <a:pt x="36367" y="35619"/>
                      <a:pt x="36258" y="35619"/>
                    </a:cubicBezTo>
                    <a:lnTo>
                      <a:pt x="36258" y="35619"/>
                    </a:lnTo>
                    <a:cubicBezTo>
                      <a:pt x="36258" y="35619"/>
                      <a:pt x="36258" y="35619"/>
                      <a:pt x="36258" y="35728"/>
                    </a:cubicBezTo>
                    <a:cubicBezTo>
                      <a:pt x="36258" y="35837"/>
                      <a:pt x="36383" y="35572"/>
                      <a:pt x="36398" y="35635"/>
                    </a:cubicBezTo>
                    <a:cubicBezTo>
                      <a:pt x="36414" y="35697"/>
                      <a:pt x="36398" y="35635"/>
                      <a:pt x="36398" y="35526"/>
                    </a:cubicBezTo>
                    <a:cubicBezTo>
                      <a:pt x="36398" y="35417"/>
                      <a:pt x="36538" y="35526"/>
                      <a:pt x="36398" y="35432"/>
                    </a:cubicBezTo>
                    <a:cubicBezTo>
                      <a:pt x="36258" y="35339"/>
                      <a:pt x="36398" y="35526"/>
                      <a:pt x="36538" y="35339"/>
                    </a:cubicBezTo>
                    <a:cubicBezTo>
                      <a:pt x="36679" y="35152"/>
                      <a:pt x="36788" y="35152"/>
                      <a:pt x="36741" y="34996"/>
                    </a:cubicBezTo>
                    <a:cubicBezTo>
                      <a:pt x="36694" y="34840"/>
                      <a:pt x="36835" y="34996"/>
                      <a:pt x="36913" y="34887"/>
                    </a:cubicBezTo>
                    <a:cubicBezTo>
                      <a:pt x="36991" y="34777"/>
                      <a:pt x="36913" y="35089"/>
                      <a:pt x="36913" y="35089"/>
                    </a:cubicBezTo>
                    <a:cubicBezTo>
                      <a:pt x="37521" y="35323"/>
                      <a:pt x="34044" y="39532"/>
                      <a:pt x="34652" y="37692"/>
                    </a:cubicBezTo>
                    <a:close/>
                    <a:moveTo>
                      <a:pt x="44613" y="24131"/>
                    </a:moveTo>
                    <a:cubicBezTo>
                      <a:pt x="44613" y="24131"/>
                      <a:pt x="44613" y="24131"/>
                      <a:pt x="44613" y="24131"/>
                    </a:cubicBezTo>
                    <a:cubicBezTo>
                      <a:pt x="44296" y="25340"/>
                      <a:pt x="44062" y="26569"/>
                      <a:pt x="43912" y="27809"/>
                    </a:cubicBezTo>
                    <a:cubicBezTo>
                      <a:pt x="43912" y="27716"/>
                      <a:pt x="43756" y="27934"/>
                      <a:pt x="43756" y="27997"/>
                    </a:cubicBezTo>
                    <a:cubicBezTo>
                      <a:pt x="43584" y="28651"/>
                      <a:pt x="43179" y="24380"/>
                      <a:pt x="43210" y="24006"/>
                    </a:cubicBezTo>
                    <a:cubicBezTo>
                      <a:pt x="43070" y="24006"/>
                      <a:pt x="43210" y="23834"/>
                      <a:pt x="43210" y="23741"/>
                    </a:cubicBezTo>
                    <a:cubicBezTo>
                      <a:pt x="43210" y="23647"/>
                      <a:pt x="43132" y="23741"/>
                      <a:pt x="43132" y="23741"/>
                    </a:cubicBezTo>
                    <a:cubicBezTo>
                      <a:pt x="43132" y="24099"/>
                      <a:pt x="42992" y="24832"/>
                      <a:pt x="42743" y="24146"/>
                    </a:cubicBezTo>
                    <a:cubicBezTo>
                      <a:pt x="42743" y="24146"/>
                      <a:pt x="42571" y="23897"/>
                      <a:pt x="42649" y="23944"/>
                    </a:cubicBezTo>
                    <a:lnTo>
                      <a:pt x="42649" y="23944"/>
                    </a:lnTo>
                    <a:cubicBezTo>
                      <a:pt x="42649" y="24084"/>
                      <a:pt x="42649" y="23944"/>
                      <a:pt x="42649" y="23944"/>
                    </a:cubicBezTo>
                    <a:cubicBezTo>
                      <a:pt x="42649" y="23944"/>
                      <a:pt x="42836" y="23663"/>
                      <a:pt x="42727" y="23632"/>
                    </a:cubicBezTo>
                    <a:cubicBezTo>
                      <a:pt x="42727" y="23944"/>
                      <a:pt x="42275" y="23632"/>
                      <a:pt x="42478" y="23445"/>
                    </a:cubicBezTo>
                    <a:cubicBezTo>
                      <a:pt x="42478" y="23445"/>
                      <a:pt x="42478" y="23538"/>
                      <a:pt x="42368" y="23569"/>
                    </a:cubicBezTo>
                    <a:cubicBezTo>
                      <a:pt x="42259" y="23601"/>
                      <a:pt x="42368" y="23492"/>
                      <a:pt x="42244" y="23569"/>
                    </a:cubicBezTo>
                    <a:cubicBezTo>
                      <a:pt x="42119" y="23647"/>
                      <a:pt x="42244" y="23320"/>
                      <a:pt x="42135" y="23195"/>
                    </a:cubicBezTo>
                    <a:cubicBezTo>
                      <a:pt x="41963" y="23351"/>
                      <a:pt x="42135" y="22977"/>
                      <a:pt x="41854" y="23086"/>
                    </a:cubicBezTo>
                    <a:cubicBezTo>
                      <a:pt x="41854" y="23086"/>
                      <a:pt x="41714" y="23164"/>
                      <a:pt x="41667" y="23242"/>
                    </a:cubicBezTo>
                    <a:cubicBezTo>
                      <a:pt x="41620" y="23320"/>
                      <a:pt x="41573" y="23242"/>
                      <a:pt x="41511" y="23242"/>
                    </a:cubicBezTo>
                    <a:cubicBezTo>
                      <a:pt x="41449" y="23242"/>
                      <a:pt x="41386" y="23242"/>
                      <a:pt x="41340" y="23382"/>
                    </a:cubicBezTo>
                    <a:cubicBezTo>
                      <a:pt x="41293" y="23523"/>
                      <a:pt x="41340" y="23382"/>
                      <a:pt x="41231" y="23382"/>
                    </a:cubicBezTo>
                    <a:cubicBezTo>
                      <a:pt x="41121" y="23382"/>
                      <a:pt x="41075" y="23492"/>
                      <a:pt x="41028" y="23304"/>
                    </a:cubicBezTo>
                    <a:cubicBezTo>
                      <a:pt x="41028" y="23398"/>
                      <a:pt x="40669" y="23304"/>
                      <a:pt x="40591" y="23304"/>
                    </a:cubicBezTo>
                    <a:cubicBezTo>
                      <a:pt x="40513" y="23304"/>
                      <a:pt x="40451" y="23304"/>
                      <a:pt x="40342" y="23304"/>
                    </a:cubicBezTo>
                    <a:cubicBezTo>
                      <a:pt x="40093" y="22400"/>
                      <a:pt x="40061" y="23180"/>
                      <a:pt x="39625" y="23055"/>
                    </a:cubicBezTo>
                    <a:cubicBezTo>
                      <a:pt x="39531" y="23055"/>
                      <a:pt x="39251" y="22946"/>
                      <a:pt x="39282" y="22821"/>
                    </a:cubicBezTo>
                    <a:cubicBezTo>
                      <a:pt x="39313" y="22697"/>
                      <a:pt x="38877" y="22821"/>
                      <a:pt x="38846" y="22509"/>
                    </a:cubicBezTo>
                    <a:cubicBezTo>
                      <a:pt x="38846" y="22509"/>
                      <a:pt x="38736" y="22509"/>
                      <a:pt x="38846" y="22509"/>
                    </a:cubicBezTo>
                    <a:cubicBezTo>
                      <a:pt x="38690" y="22509"/>
                      <a:pt x="38627" y="21948"/>
                      <a:pt x="38456" y="22167"/>
                    </a:cubicBezTo>
                    <a:cubicBezTo>
                      <a:pt x="38456" y="22089"/>
                      <a:pt x="38316" y="22167"/>
                      <a:pt x="38362" y="22026"/>
                    </a:cubicBezTo>
                    <a:cubicBezTo>
                      <a:pt x="38409" y="21886"/>
                      <a:pt x="38362" y="22026"/>
                      <a:pt x="38362" y="22026"/>
                    </a:cubicBezTo>
                    <a:cubicBezTo>
                      <a:pt x="38362" y="22026"/>
                      <a:pt x="38362" y="22229"/>
                      <a:pt x="38362" y="22026"/>
                    </a:cubicBezTo>
                    <a:cubicBezTo>
                      <a:pt x="38362" y="21824"/>
                      <a:pt x="38362" y="22307"/>
                      <a:pt x="38206" y="22322"/>
                    </a:cubicBezTo>
                    <a:lnTo>
                      <a:pt x="38316" y="22322"/>
                    </a:lnTo>
                    <a:lnTo>
                      <a:pt x="38316" y="22322"/>
                    </a:lnTo>
                    <a:cubicBezTo>
                      <a:pt x="38316" y="22322"/>
                      <a:pt x="38316" y="22416"/>
                      <a:pt x="38316" y="22447"/>
                    </a:cubicBezTo>
                    <a:cubicBezTo>
                      <a:pt x="38316" y="22478"/>
                      <a:pt x="38316" y="22541"/>
                      <a:pt x="38316" y="22447"/>
                    </a:cubicBezTo>
                    <a:cubicBezTo>
                      <a:pt x="38351" y="22594"/>
                      <a:pt x="38447" y="22719"/>
                      <a:pt x="38581" y="22790"/>
                    </a:cubicBezTo>
                    <a:cubicBezTo>
                      <a:pt x="38581" y="22790"/>
                      <a:pt x="38861" y="23086"/>
                      <a:pt x="38814" y="23242"/>
                    </a:cubicBezTo>
                    <a:lnTo>
                      <a:pt x="38814" y="23242"/>
                    </a:lnTo>
                    <a:cubicBezTo>
                      <a:pt x="39017" y="23460"/>
                      <a:pt x="39048" y="23881"/>
                      <a:pt x="39064" y="23398"/>
                    </a:cubicBezTo>
                    <a:cubicBezTo>
                      <a:pt x="39064" y="23273"/>
                      <a:pt x="39064" y="23086"/>
                      <a:pt x="39173" y="23258"/>
                    </a:cubicBezTo>
                    <a:cubicBezTo>
                      <a:pt x="39144" y="23402"/>
                      <a:pt x="39144" y="23550"/>
                      <a:pt x="39173" y="23694"/>
                    </a:cubicBezTo>
                    <a:cubicBezTo>
                      <a:pt x="39173" y="23694"/>
                      <a:pt x="39173" y="23866"/>
                      <a:pt x="39173" y="23788"/>
                    </a:cubicBezTo>
                    <a:lnTo>
                      <a:pt x="39173" y="23928"/>
                    </a:lnTo>
                    <a:cubicBezTo>
                      <a:pt x="39360" y="23757"/>
                      <a:pt x="39609" y="23928"/>
                      <a:pt x="39718" y="23679"/>
                    </a:cubicBezTo>
                    <a:lnTo>
                      <a:pt x="39718" y="23679"/>
                    </a:lnTo>
                    <a:cubicBezTo>
                      <a:pt x="39718" y="23445"/>
                      <a:pt x="39952" y="23227"/>
                      <a:pt x="39983" y="22977"/>
                    </a:cubicBezTo>
                    <a:lnTo>
                      <a:pt x="39983" y="22977"/>
                    </a:lnTo>
                    <a:cubicBezTo>
                      <a:pt x="39983" y="22977"/>
                      <a:pt x="39983" y="22821"/>
                      <a:pt x="39983" y="22884"/>
                    </a:cubicBezTo>
                    <a:cubicBezTo>
                      <a:pt x="39983" y="22946"/>
                      <a:pt x="39983" y="23195"/>
                      <a:pt x="39983" y="23149"/>
                    </a:cubicBezTo>
                    <a:cubicBezTo>
                      <a:pt x="39983" y="23460"/>
                      <a:pt x="40155" y="23850"/>
                      <a:pt x="40513" y="23679"/>
                    </a:cubicBezTo>
                    <a:cubicBezTo>
                      <a:pt x="40790" y="23996"/>
                      <a:pt x="40790" y="24468"/>
                      <a:pt x="40513" y="24785"/>
                    </a:cubicBezTo>
                    <a:cubicBezTo>
                      <a:pt x="40513" y="24598"/>
                      <a:pt x="40373" y="25191"/>
                      <a:pt x="40513" y="25300"/>
                    </a:cubicBezTo>
                    <a:cubicBezTo>
                      <a:pt x="40139" y="25300"/>
                      <a:pt x="40389" y="25674"/>
                      <a:pt x="40030" y="25752"/>
                    </a:cubicBezTo>
                    <a:cubicBezTo>
                      <a:pt x="40030" y="25861"/>
                      <a:pt x="40030" y="25954"/>
                      <a:pt x="40030" y="26064"/>
                    </a:cubicBezTo>
                    <a:cubicBezTo>
                      <a:pt x="39792" y="26098"/>
                      <a:pt x="39579" y="26227"/>
                      <a:pt x="39438" y="26422"/>
                    </a:cubicBezTo>
                    <a:cubicBezTo>
                      <a:pt x="39438" y="26749"/>
                      <a:pt x="38955" y="26859"/>
                      <a:pt x="38736" y="27014"/>
                    </a:cubicBezTo>
                    <a:cubicBezTo>
                      <a:pt x="38518" y="27170"/>
                      <a:pt x="38565" y="27264"/>
                      <a:pt x="38440" y="27217"/>
                    </a:cubicBezTo>
                    <a:cubicBezTo>
                      <a:pt x="38341" y="27402"/>
                      <a:pt x="38130" y="27497"/>
                      <a:pt x="37926" y="27451"/>
                    </a:cubicBezTo>
                    <a:cubicBezTo>
                      <a:pt x="37797" y="27641"/>
                      <a:pt x="37592" y="27766"/>
                      <a:pt x="37365" y="27794"/>
                    </a:cubicBezTo>
                    <a:cubicBezTo>
                      <a:pt x="37240" y="27513"/>
                      <a:pt x="37365" y="27139"/>
                      <a:pt x="37115" y="26890"/>
                    </a:cubicBezTo>
                    <a:cubicBezTo>
                      <a:pt x="37349" y="26329"/>
                      <a:pt x="36538" y="25596"/>
                      <a:pt x="36164" y="25144"/>
                    </a:cubicBezTo>
                    <a:cubicBezTo>
                      <a:pt x="36164" y="24770"/>
                      <a:pt x="36071" y="24131"/>
                      <a:pt x="35650" y="24146"/>
                    </a:cubicBezTo>
                    <a:cubicBezTo>
                      <a:pt x="35494" y="23414"/>
                      <a:pt x="34637" y="23024"/>
                      <a:pt x="34793" y="22463"/>
                    </a:cubicBezTo>
                    <a:cubicBezTo>
                      <a:pt x="34684" y="22665"/>
                      <a:pt x="34793" y="22915"/>
                      <a:pt x="34668" y="23086"/>
                    </a:cubicBezTo>
                    <a:cubicBezTo>
                      <a:pt x="34438" y="22899"/>
                      <a:pt x="34238" y="22679"/>
                      <a:pt x="34076" y="22432"/>
                    </a:cubicBezTo>
                    <a:cubicBezTo>
                      <a:pt x="34341" y="23024"/>
                      <a:pt x="34761" y="23616"/>
                      <a:pt x="35104" y="24224"/>
                    </a:cubicBezTo>
                    <a:lnTo>
                      <a:pt x="35104" y="24224"/>
                    </a:lnTo>
                    <a:cubicBezTo>
                      <a:pt x="35138" y="24273"/>
                      <a:pt x="35180" y="24316"/>
                      <a:pt x="35229" y="24349"/>
                    </a:cubicBezTo>
                    <a:cubicBezTo>
                      <a:pt x="35229" y="24349"/>
                      <a:pt x="35136" y="24349"/>
                      <a:pt x="35120" y="24349"/>
                    </a:cubicBezTo>
                    <a:cubicBezTo>
                      <a:pt x="35120" y="24801"/>
                      <a:pt x="35603" y="24785"/>
                      <a:pt x="35681" y="25253"/>
                    </a:cubicBezTo>
                    <a:cubicBezTo>
                      <a:pt x="35556" y="25253"/>
                      <a:pt x="35775" y="25580"/>
                      <a:pt x="35681" y="25752"/>
                    </a:cubicBezTo>
                    <a:cubicBezTo>
                      <a:pt x="35588" y="25923"/>
                      <a:pt x="35977" y="26064"/>
                      <a:pt x="36040" y="26219"/>
                    </a:cubicBezTo>
                    <a:cubicBezTo>
                      <a:pt x="36102" y="26375"/>
                      <a:pt x="36196" y="26827"/>
                      <a:pt x="36320" y="26968"/>
                    </a:cubicBezTo>
                    <a:cubicBezTo>
                      <a:pt x="36445" y="27108"/>
                      <a:pt x="36429" y="27233"/>
                      <a:pt x="36320" y="27046"/>
                    </a:cubicBezTo>
                    <a:cubicBezTo>
                      <a:pt x="36211" y="26859"/>
                      <a:pt x="36320" y="27264"/>
                      <a:pt x="36476" y="27170"/>
                    </a:cubicBezTo>
                    <a:cubicBezTo>
                      <a:pt x="36819" y="27170"/>
                      <a:pt x="36944" y="27763"/>
                      <a:pt x="37146" y="27794"/>
                    </a:cubicBezTo>
                    <a:cubicBezTo>
                      <a:pt x="37349" y="27825"/>
                      <a:pt x="37146" y="27903"/>
                      <a:pt x="37240" y="27903"/>
                    </a:cubicBezTo>
                    <a:cubicBezTo>
                      <a:pt x="37242" y="28033"/>
                      <a:pt x="37150" y="28145"/>
                      <a:pt x="37022" y="28168"/>
                    </a:cubicBezTo>
                    <a:cubicBezTo>
                      <a:pt x="37240" y="28168"/>
                      <a:pt x="37287" y="28464"/>
                      <a:pt x="37505" y="28542"/>
                    </a:cubicBezTo>
                    <a:cubicBezTo>
                      <a:pt x="37918" y="28320"/>
                      <a:pt x="38358" y="28152"/>
                      <a:pt x="38814" y="28043"/>
                    </a:cubicBezTo>
                    <a:cubicBezTo>
                      <a:pt x="38894" y="27982"/>
                      <a:pt x="38962" y="27909"/>
                      <a:pt x="39017" y="27825"/>
                    </a:cubicBezTo>
                    <a:cubicBezTo>
                      <a:pt x="39173" y="27825"/>
                      <a:pt x="39017" y="28152"/>
                      <a:pt x="39017" y="28324"/>
                    </a:cubicBezTo>
                    <a:cubicBezTo>
                      <a:pt x="39017" y="28495"/>
                      <a:pt x="39017" y="28324"/>
                      <a:pt x="39017" y="28324"/>
                    </a:cubicBezTo>
                    <a:cubicBezTo>
                      <a:pt x="38736" y="30475"/>
                      <a:pt x="35541" y="31753"/>
                      <a:pt x="35323" y="33608"/>
                    </a:cubicBezTo>
                    <a:cubicBezTo>
                      <a:pt x="35323" y="33608"/>
                      <a:pt x="35136" y="33764"/>
                      <a:pt x="35214" y="33858"/>
                    </a:cubicBezTo>
                    <a:cubicBezTo>
                      <a:pt x="35291" y="33951"/>
                      <a:pt x="35026" y="34372"/>
                      <a:pt x="35214" y="34497"/>
                    </a:cubicBezTo>
                    <a:cubicBezTo>
                      <a:pt x="35058" y="34855"/>
                      <a:pt x="34933" y="35385"/>
                      <a:pt x="34808" y="35619"/>
                    </a:cubicBezTo>
                    <a:cubicBezTo>
                      <a:pt x="34684" y="35853"/>
                      <a:pt x="34621" y="35728"/>
                      <a:pt x="34808" y="35713"/>
                    </a:cubicBezTo>
                    <a:cubicBezTo>
                      <a:pt x="34543" y="36102"/>
                      <a:pt x="34044" y="36212"/>
                      <a:pt x="33686" y="36477"/>
                    </a:cubicBezTo>
                    <a:lnTo>
                      <a:pt x="33686" y="36477"/>
                    </a:lnTo>
                    <a:cubicBezTo>
                      <a:pt x="33489" y="36693"/>
                      <a:pt x="33235" y="36850"/>
                      <a:pt x="32953" y="36929"/>
                    </a:cubicBezTo>
                    <a:cubicBezTo>
                      <a:pt x="32979" y="36983"/>
                      <a:pt x="32979" y="37046"/>
                      <a:pt x="32953" y="37100"/>
                    </a:cubicBezTo>
                    <a:cubicBezTo>
                      <a:pt x="32953" y="37100"/>
                      <a:pt x="32953" y="37209"/>
                      <a:pt x="32953" y="37240"/>
                    </a:cubicBezTo>
                    <a:cubicBezTo>
                      <a:pt x="32953" y="37272"/>
                      <a:pt x="32953" y="37474"/>
                      <a:pt x="32953" y="37568"/>
                    </a:cubicBezTo>
                    <a:cubicBezTo>
                      <a:pt x="32953" y="37661"/>
                      <a:pt x="32953" y="37490"/>
                      <a:pt x="32953" y="37474"/>
                    </a:cubicBezTo>
                    <a:lnTo>
                      <a:pt x="32953" y="37474"/>
                    </a:lnTo>
                    <a:lnTo>
                      <a:pt x="32953" y="37474"/>
                    </a:lnTo>
                    <a:cubicBezTo>
                      <a:pt x="32953" y="37614"/>
                      <a:pt x="32782" y="37724"/>
                      <a:pt x="32719" y="37848"/>
                    </a:cubicBezTo>
                    <a:lnTo>
                      <a:pt x="32719" y="37848"/>
                    </a:lnTo>
                    <a:cubicBezTo>
                      <a:pt x="32548" y="38222"/>
                      <a:pt x="31878" y="38113"/>
                      <a:pt x="31769" y="38472"/>
                    </a:cubicBezTo>
                    <a:lnTo>
                      <a:pt x="31878" y="38472"/>
                    </a:lnTo>
                    <a:cubicBezTo>
                      <a:pt x="31839" y="38544"/>
                      <a:pt x="31786" y="38608"/>
                      <a:pt x="31722" y="38659"/>
                    </a:cubicBezTo>
                    <a:lnTo>
                      <a:pt x="31722" y="38659"/>
                    </a:lnTo>
                    <a:cubicBezTo>
                      <a:pt x="31003" y="39409"/>
                      <a:pt x="30091" y="39948"/>
                      <a:pt x="29087" y="40218"/>
                    </a:cubicBezTo>
                    <a:cubicBezTo>
                      <a:pt x="28667" y="40077"/>
                      <a:pt x="28246" y="40342"/>
                      <a:pt x="27825" y="40311"/>
                    </a:cubicBezTo>
                    <a:cubicBezTo>
                      <a:pt x="27825" y="40233"/>
                      <a:pt x="27825" y="40311"/>
                      <a:pt x="27825" y="40311"/>
                    </a:cubicBezTo>
                    <a:cubicBezTo>
                      <a:pt x="27825" y="40311"/>
                      <a:pt x="27731" y="40233"/>
                      <a:pt x="27825" y="40311"/>
                    </a:cubicBezTo>
                    <a:cubicBezTo>
                      <a:pt x="27918" y="40389"/>
                      <a:pt x="27949" y="40140"/>
                      <a:pt x="27825" y="40015"/>
                    </a:cubicBezTo>
                    <a:cubicBezTo>
                      <a:pt x="28121" y="39875"/>
                      <a:pt x="27825" y="39485"/>
                      <a:pt x="27825" y="39204"/>
                    </a:cubicBezTo>
                    <a:cubicBezTo>
                      <a:pt x="27342" y="38472"/>
                      <a:pt x="27622" y="37381"/>
                      <a:pt x="27077" y="36570"/>
                    </a:cubicBezTo>
                    <a:cubicBezTo>
                      <a:pt x="27077" y="35728"/>
                      <a:pt x="28324" y="35354"/>
                      <a:pt x="27762" y="34528"/>
                    </a:cubicBezTo>
                    <a:cubicBezTo>
                      <a:pt x="28012" y="34341"/>
                      <a:pt x="27762" y="33967"/>
                      <a:pt x="27653" y="33764"/>
                    </a:cubicBezTo>
                    <a:lnTo>
                      <a:pt x="27747" y="33764"/>
                    </a:lnTo>
                    <a:cubicBezTo>
                      <a:pt x="27747" y="33764"/>
                      <a:pt x="27529" y="33764"/>
                      <a:pt x="27638" y="33624"/>
                    </a:cubicBezTo>
                    <a:cubicBezTo>
                      <a:pt x="27451" y="33078"/>
                      <a:pt x="26827" y="32891"/>
                      <a:pt x="26702" y="32314"/>
                    </a:cubicBezTo>
                    <a:cubicBezTo>
                      <a:pt x="26843" y="32314"/>
                      <a:pt x="26874" y="32205"/>
                      <a:pt x="26889" y="32034"/>
                    </a:cubicBezTo>
                    <a:cubicBezTo>
                      <a:pt x="26905" y="31862"/>
                      <a:pt x="27014" y="32034"/>
                      <a:pt x="27061" y="32034"/>
                    </a:cubicBezTo>
                    <a:cubicBezTo>
                      <a:pt x="26990" y="32037"/>
                      <a:pt x="26926" y="31992"/>
                      <a:pt x="26905" y="31925"/>
                    </a:cubicBezTo>
                    <a:cubicBezTo>
                      <a:pt x="27014" y="31925"/>
                      <a:pt x="26999" y="31816"/>
                      <a:pt x="26905" y="31800"/>
                    </a:cubicBezTo>
                    <a:cubicBezTo>
                      <a:pt x="27132" y="31576"/>
                      <a:pt x="27200" y="31237"/>
                      <a:pt x="27077" y="30943"/>
                    </a:cubicBezTo>
                    <a:cubicBezTo>
                      <a:pt x="26936" y="31036"/>
                      <a:pt x="26874" y="30943"/>
                      <a:pt x="26874" y="30771"/>
                    </a:cubicBezTo>
                    <a:cubicBezTo>
                      <a:pt x="26826" y="30817"/>
                      <a:pt x="26751" y="30817"/>
                      <a:pt x="26702" y="30771"/>
                    </a:cubicBezTo>
                    <a:cubicBezTo>
                      <a:pt x="26562" y="30943"/>
                      <a:pt x="26110" y="30927"/>
                      <a:pt x="25861" y="30896"/>
                    </a:cubicBezTo>
                    <a:cubicBezTo>
                      <a:pt x="25518" y="29774"/>
                      <a:pt x="24302" y="30428"/>
                      <a:pt x="23538" y="30693"/>
                    </a:cubicBezTo>
                    <a:cubicBezTo>
                      <a:pt x="21979" y="30226"/>
                      <a:pt x="21745" y="31301"/>
                      <a:pt x="20420" y="29664"/>
                    </a:cubicBezTo>
                    <a:cubicBezTo>
                      <a:pt x="20265" y="29664"/>
                      <a:pt x="20296" y="29431"/>
                      <a:pt x="20171" y="29368"/>
                    </a:cubicBezTo>
                    <a:cubicBezTo>
                      <a:pt x="20046" y="29306"/>
                      <a:pt x="20171" y="29259"/>
                      <a:pt x="20171" y="29166"/>
                    </a:cubicBezTo>
                    <a:cubicBezTo>
                      <a:pt x="20171" y="29072"/>
                      <a:pt x="19859" y="28947"/>
                      <a:pt x="19953" y="28885"/>
                    </a:cubicBezTo>
                    <a:cubicBezTo>
                      <a:pt x="19610" y="28885"/>
                      <a:pt x="19797" y="28573"/>
                      <a:pt x="19594" y="28620"/>
                    </a:cubicBezTo>
                    <a:cubicBezTo>
                      <a:pt x="19392" y="28667"/>
                      <a:pt x="19594" y="28542"/>
                      <a:pt x="19454" y="28542"/>
                    </a:cubicBezTo>
                    <a:lnTo>
                      <a:pt x="19454" y="28542"/>
                    </a:lnTo>
                    <a:lnTo>
                      <a:pt x="19454" y="28542"/>
                    </a:lnTo>
                    <a:cubicBezTo>
                      <a:pt x="19454" y="28542"/>
                      <a:pt x="19454" y="28542"/>
                      <a:pt x="19454" y="28449"/>
                    </a:cubicBezTo>
                    <a:cubicBezTo>
                      <a:pt x="19454" y="28355"/>
                      <a:pt x="19625" y="28449"/>
                      <a:pt x="19641" y="28449"/>
                    </a:cubicBezTo>
                    <a:cubicBezTo>
                      <a:pt x="19657" y="28449"/>
                      <a:pt x="19127" y="28449"/>
                      <a:pt x="19282" y="28277"/>
                    </a:cubicBezTo>
                    <a:cubicBezTo>
                      <a:pt x="19158" y="28277"/>
                      <a:pt x="19127" y="28277"/>
                      <a:pt x="19095" y="28121"/>
                    </a:cubicBezTo>
                    <a:cubicBezTo>
                      <a:pt x="19064" y="27965"/>
                      <a:pt x="19205" y="28121"/>
                      <a:pt x="19251" y="28121"/>
                    </a:cubicBezTo>
                    <a:cubicBezTo>
                      <a:pt x="19298" y="28121"/>
                      <a:pt x="19127" y="28121"/>
                      <a:pt x="19080" y="28121"/>
                    </a:cubicBezTo>
                    <a:cubicBezTo>
                      <a:pt x="19033" y="28121"/>
                      <a:pt x="19080" y="27997"/>
                      <a:pt x="19080" y="27934"/>
                    </a:cubicBezTo>
                    <a:cubicBezTo>
                      <a:pt x="19080" y="27872"/>
                      <a:pt x="19220" y="28074"/>
                      <a:pt x="19329" y="27934"/>
                    </a:cubicBezTo>
                    <a:cubicBezTo>
                      <a:pt x="19438" y="27794"/>
                      <a:pt x="19080" y="27856"/>
                      <a:pt x="19189" y="27794"/>
                    </a:cubicBezTo>
                    <a:lnTo>
                      <a:pt x="19189" y="27794"/>
                    </a:lnTo>
                    <a:cubicBezTo>
                      <a:pt x="19189" y="27794"/>
                      <a:pt x="19049" y="27560"/>
                      <a:pt x="18986" y="27498"/>
                    </a:cubicBezTo>
                    <a:cubicBezTo>
                      <a:pt x="19389" y="27087"/>
                      <a:pt x="19533" y="26488"/>
                      <a:pt x="19360" y="25939"/>
                    </a:cubicBezTo>
                    <a:cubicBezTo>
                      <a:pt x="19485" y="25939"/>
                      <a:pt x="19360" y="25767"/>
                      <a:pt x="19454" y="25736"/>
                    </a:cubicBezTo>
                    <a:cubicBezTo>
                      <a:pt x="19547" y="25705"/>
                      <a:pt x="19298" y="25643"/>
                      <a:pt x="19282" y="25534"/>
                    </a:cubicBezTo>
                    <a:lnTo>
                      <a:pt x="19282" y="25612"/>
                    </a:lnTo>
                    <a:cubicBezTo>
                      <a:pt x="19265" y="25345"/>
                      <a:pt x="19382" y="25087"/>
                      <a:pt x="19594" y="24926"/>
                    </a:cubicBezTo>
                    <a:cubicBezTo>
                      <a:pt x="19922" y="23866"/>
                      <a:pt x="20966" y="23445"/>
                      <a:pt x="21714" y="22728"/>
                    </a:cubicBezTo>
                    <a:cubicBezTo>
                      <a:pt x="21722" y="22582"/>
                      <a:pt x="21722" y="22437"/>
                      <a:pt x="21714" y="22291"/>
                    </a:cubicBezTo>
                    <a:cubicBezTo>
                      <a:pt x="21714" y="22120"/>
                      <a:pt x="22042" y="22042"/>
                      <a:pt x="21901" y="21855"/>
                    </a:cubicBezTo>
                    <a:cubicBezTo>
                      <a:pt x="22394" y="21610"/>
                      <a:pt x="22814" y="21239"/>
                      <a:pt x="23117" y="20779"/>
                    </a:cubicBezTo>
                    <a:cubicBezTo>
                      <a:pt x="23117" y="21091"/>
                      <a:pt x="23600" y="21075"/>
                      <a:pt x="23772" y="20966"/>
                    </a:cubicBezTo>
                    <a:cubicBezTo>
                      <a:pt x="24068" y="21325"/>
                      <a:pt x="24707" y="20717"/>
                      <a:pt x="25034" y="20623"/>
                    </a:cubicBezTo>
                    <a:cubicBezTo>
                      <a:pt x="25362" y="20530"/>
                      <a:pt x="26110" y="20623"/>
                      <a:pt x="26375" y="20499"/>
                    </a:cubicBezTo>
                    <a:cubicBezTo>
                      <a:pt x="26640" y="20374"/>
                      <a:pt x="26578" y="20717"/>
                      <a:pt x="26656" y="20499"/>
                    </a:cubicBezTo>
                    <a:cubicBezTo>
                      <a:pt x="26905" y="20717"/>
                      <a:pt x="27170" y="20374"/>
                      <a:pt x="27373" y="20499"/>
                    </a:cubicBezTo>
                    <a:cubicBezTo>
                      <a:pt x="27373" y="20327"/>
                      <a:pt x="27497" y="20623"/>
                      <a:pt x="27575" y="20670"/>
                    </a:cubicBezTo>
                    <a:cubicBezTo>
                      <a:pt x="27903" y="20343"/>
                      <a:pt x="27669" y="20748"/>
                      <a:pt x="27575" y="20888"/>
                    </a:cubicBezTo>
                    <a:cubicBezTo>
                      <a:pt x="28152" y="21278"/>
                      <a:pt x="27186" y="21434"/>
                      <a:pt x="27575" y="21699"/>
                    </a:cubicBezTo>
                    <a:cubicBezTo>
                      <a:pt x="27575" y="21699"/>
                      <a:pt x="27575" y="21699"/>
                      <a:pt x="27684" y="21699"/>
                    </a:cubicBezTo>
                    <a:cubicBezTo>
                      <a:pt x="27794" y="21699"/>
                      <a:pt x="27684" y="21621"/>
                      <a:pt x="27684" y="21699"/>
                    </a:cubicBezTo>
                    <a:cubicBezTo>
                      <a:pt x="27840" y="22073"/>
                      <a:pt x="28417" y="21792"/>
                      <a:pt x="28698" y="21995"/>
                    </a:cubicBezTo>
                    <a:cubicBezTo>
                      <a:pt x="31628" y="24022"/>
                      <a:pt x="29352" y="21387"/>
                      <a:pt x="31285" y="21995"/>
                    </a:cubicBezTo>
                    <a:cubicBezTo>
                      <a:pt x="31613" y="22307"/>
                      <a:pt x="32345" y="22213"/>
                      <a:pt x="32844" y="22416"/>
                    </a:cubicBezTo>
                    <a:cubicBezTo>
                      <a:pt x="33343" y="22619"/>
                      <a:pt x="33327" y="22322"/>
                      <a:pt x="33655" y="22229"/>
                    </a:cubicBezTo>
                    <a:cubicBezTo>
                      <a:pt x="33436" y="22307"/>
                      <a:pt x="33655" y="22229"/>
                      <a:pt x="33748" y="22229"/>
                    </a:cubicBezTo>
                    <a:cubicBezTo>
                      <a:pt x="33842" y="22229"/>
                      <a:pt x="33748" y="22229"/>
                      <a:pt x="33748" y="22229"/>
                    </a:cubicBezTo>
                    <a:cubicBezTo>
                      <a:pt x="33748" y="22229"/>
                      <a:pt x="33951" y="22229"/>
                      <a:pt x="33998" y="22229"/>
                    </a:cubicBezTo>
                    <a:cubicBezTo>
                      <a:pt x="34044" y="22229"/>
                      <a:pt x="34091" y="22338"/>
                      <a:pt x="34091" y="22385"/>
                    </a:cubicBezTo>
                    <a:cubicBezTo>
                      <a:pt x="34091" y="22432"/>
                      <a:pt x="34091" y="22291"/>
                      <a:pt x="34091" y="22229"/>
                    </a:cubicBezTo>
                    <a:cubicBezTo>
                      <a:pt x="35151" y="22587"/>
                      <a:pt x="34793" y="20670"/>
                      <a:pt x="34855" y="20312"/>
                    </a:cubicBezTo>
                    <a:cubicBezTo>
                      <a:pt x="34684" y="20452"/>
                      <a:pt x="34387" y="20312"/>
                      <a:pt x="34341" y="20561"/>
                    </a:cubicBezTo>
                    <a:cubicBezTo>
                      <a:pt x="34029" y="20919"/>
                      <a:pt x="33374" y="20062"/>
                      <a:pt x="33374" y="20561"/>
                    </a:cubicBezTo>
                    <a:cubicBezTo>
                      <a:pt x="33234" y="20561"/>
                      <a:pt x="32875" y="20717"/>
                      <a:pt x="32922" y="20452"/>
                    </a:cubicBezTo>
                    <a:cubicBezTo>
                      <a:pt x="32922" y="20452"/>
                      <a:pt x="32922" y="20452"/>
                      <a:pt x="32797" y="20452"/>
                    </a:cubicBezTo>
                    <a:cubicBezTo>
                      <a:pt x="32673" y="20452"/>
                      <a:pt x="32626" y="20592"/>
                      <a:pt x="32610" y="20452"/>
                    </a:cubicBezTo>
                    <a:lnTo>
                      <a:pt x="32423" y="20452"/>
                    </a:lnTo>
                    <a:cubicBezTo>
                      <a:pt x="32423" y="20374"/>
                      <a:pt x="32626" y="20452"/>
                      <a:pt x="32626" y="20327"/>
                    </a:cubicBezTo>
                    <a:cubicBezTo>
                      <a:pt x="32626" y="20202"/>
                      <a:pt x="32267" y="20421"/>
                      <a:pt x="32454" y="20327"/>
                    </a:cubicBezTo>
                    <a:cubicBezTo>
                      <a:pt x="32236" y="20187"/>
                      <a:pt x="32454" y="20062"/>
                      <a:pt x="32127" y="19984"/>
                    </a:cubicBezTo>
                    <a:cubicBezTo>
                      <a:pt x="31800" y="19906"/>
                      <a:pt x="32127" y="19859"/>
                      <a:pt x="32127" y="19813"/>
                    </a:cubicBezTo>
                    <a:cubicBezTo>
                      <a:pt x="32127" y="19766"/>
                      <a:pt x="32127" y="19922"/>
                      <a:pt x="32283" y="19813"/>
                    </a:cubicBezTo>
                    <a:lnTo>
                      <a:pt x="32283" y="19813"/>
                    </a:lnTo>
                    <a:cubicBezTo>
                      <a:pt x="32283" y="19813"/>
                      <a:pt x="32408" y="19813"/>
                      <a:pt x="32376" y="19688"/>
                    </a:cubicBezTo>
                    <a:cubicBezTo>
                      <a:pt x="32345" y="19563"/>
                      <a:pt x="32221" y="19532"/>
                      <a:pt x="32376" y="19501"/>
                    </a:cubicBezTo>
                    <a:cubicBezTo>
                      <a:pt x="31940" y="19657"/>
                      <a:pt x="32158" y="19002"/>
                      <a:pt x="32470" y="19220"/>
                    </a:cubicBezTo>
                    <a:cubicBezTo>
                      <a:pt x="32470" y="19096"/>
                      <a:pt x="32735" y="19220"/>
                      <a:pt x="32875" y="19220"/>
                    </a:cubicBezTo>
                    <a:cubicBezTo>
                      <a:pt x="32595" y="19111"/>
                      <a:pt x="33000" y="19127"/>
                      <a:pt x="33031" y="19049"/>
                    </a:cubicBezTo>
                    <a:cubicBezTo>
                      <a:pt x="32376" y="18846"/>
                      <a:pt x="33374" y="18940"/>
                      <a:pt x="33421" y="18862"/>
                    </a:cubicBezTo>
                    <a:cubicBezTo>
                      <a:pt x="33546" y="18519"/>
                      <a:pt x="34013" y="18566"/>
                      <a:pt x="34294" y="18488"/>
                    </a:cubicBezTo>
                    <a:cubicBezTo>
                      <a:pt x="34294" y="18644"/>
                      <a:pt x="34450" y="18659"/>
                      <a:pt x="34543" y="18488"/>
                    </a:cubicBezTo>
                    <a:cubicBezTo>
                      <a:pt x="34637" y="18316"/>
                      <a:pt x="34668" y="18753"/>
                      <a:pt x="34746" y="18628"/>
                    </a:cubicBezTo>
                    <a:cubicBezTo>
                      <a:pt x="36991" y="19080"/>
                      <a:pt x="35385" y="17537"/>
                      <a:pt x="34356" y="17287"/>
                    </a:cubicBezTo>
                    <a:cubicBezTo>
                      <a:pt x="34356" y="17287"/>
                      <a:pt x="34356" y="17287"/>
                      <a:pt x="34356" y="17163"/>
                    </a:cubicBezTo>
                    <a:cubicBezTo>
                      <a:pt x="34356" y="17038"/>
                      <a:pt x="34543" y="17163"/>
                      <a:pt x="34465" y="17054"/>
                    </a:cubicBezTo>
                    <a:cubicBezTo>
                      <a:pt x="34387" y="16944"/>
                      <a:pt x="34668" y="16913"/>
                      <a:pt x="34465" y="16835"/>
                    </a:cubicBezTo>
                    <a:cubicBezTo>
                      <a:pt x="34263" y="16757"/>
                      <a:pt x="34372" y="16835"/>
                      <a:pt x="34356" y="16742"/>
                    </a:cubicBezTo>
                    <a:cubicBezTo>
                      <a:pt x="34341" y="16648"/>
                      <a:pt x="34512" y="16742"/>
                      <a:pt x="34512" y="16742"/>
                    </a:cubicBezTo>
                    <a:cubicBezTo>
                      <a:pt x="34512" y="16742"/>
                      <a:pt x="34637" y="16617"/>
                      <a:pt x="34606" y="16539"/>
                    </a:cubicBezTo>
                    <a:cubicBezTo>
                      <a:pt x="34574" y="16461"/>
                      <a:pt x="34169" y="16539"/>
                      <a:pt x="34076" y="16789"/>
                    </a:cubicBezTo>
                    <a:cubicBezTo>
                      <a:pt x="34076" y="16789"/>
                      <a:pt x="33982" y="16867"/>
                      <a:pt x="33904" y="16789"/>
                    </a:cubicBezTo>
                    <a:cubicBezTo>
                      <a:pt x="33826" y="16711"/>
                      <a:pt x="33811" y="16789"/>
                      <a:pt x="33764" y="16789"/>
                    </a:cubicBezTo>
                    <a:cubicBezTo>
                      <a:pt x="33717" y="16789"/>
                      <a:pt x="33764" y="17038"/>
                      <a:pt x="33764" y="16976"/>
                    </a:cubicBezTo>
                    <a:cubicBezTo>
                      <a:pt x="33764" y="16913"/>
                      <a:pt x="33764" y="16867"/>
                      <a:pt x="33764" y="16851"/>
                    </a:cubicBezTo>
                    <a:cubicBezTo>
                      <a:pt x="33764" y="16835"/>
                      <a:pt x="33546" y="16991"/>
                      <a:pt x="33468" y="17054"/>
                    </a:cubicBezTo>
                    <a:cubicBezTo>
                      <a:pt x="33390" y="17116"/>
                      <a:pt x="33733" y="17054"/>
                      <a:pt x="33701" y="17194"/>
                    </a:cubicBezTo>
                    <a:cubicBezTo>
                      <a:pt x="33670" y="17334"/>
                      <a:pt x="33701" y="17194"/>
                      <a:pt x="33701" y="17194"/>
                    </a:cubicBezTo>
                    <a:cubicBezTo>
                      <a:pt x="33701" y="17194"/>
                      <a:pt x="33701" y="17303"/>
                      <a:pt x="33873" y="17287"/>
                    </a:cubicBezTo>
                    <a:cubicBezTo>
                      <a:pt x="34044" y="17272"/>
                      <a:pt x="33592" y="17085"/>
                      <a:pt x="33655" y="16976"/>
                    </a:cubicBezTo>
                    <a:cubicBezTo>
                      <a:pt x="33717" y="16867"/>
                      <a:pt x="33826" y="17225"/>
                      <a:pt x="33935" y="17256"/>
                    </a:cubicBezTo>
                    <a:cubicBezTo>
                      <a:pt x="34044" y="17287"/>
                      <a:pt x="33935" y="17256"/>
                      <a:pt x="34044" y="17256"/>
                    </a:cubicBezTo>
                    <a:cubicBezTo>
                      <a:pt x="34154" y="17256"/>
                      <a:pt x="34138" y="17178"/>
                      <a:pt x="34200" y="17178"/>
                    </a:cubicBezTo>
                    <a:cubicBezTo>
                      <a:pt x="34263" y="17178"/>
                      <a:pt x="34200" y="17381"/>
                      <a:pt x="33998" y="17334"/>
                    </a:cubicBezTo>
                    <a:cubicBezTo>
                      <a:pt x="33795" y="17287"/>
                      <a:pt x="33452" y="17833"/>
                      <a:pt x="33499" y="17334"/>
                    </a:cubicBezTo>
                    <a:cubicBezTo>
                      <a:pt x="33374" y="17225"/>
                      <a:pt x="33094" y="17334"/>
                      <a:pt x="33359" y="17116"/>
                    </a:cubicBezTo>
                    <a:cubicBezTo>
                      <a:pt x="33624" y="16898"/>
                      <a:pt x="33234" y="16882"/>
                      <a:pt x="33125" y="17007"/>
                    </a:cubicBezTo>
                    <a:cubicBezTo>
                      <a:pt x="33016" y="17132"/>
                      <a:pt x="32953" y="17007"/>
                      <a:pt x="33016" y="16898"/>
                    </a:cubicBezTo>
                    <a:cubicBezTo>
                      <a:pt x="33078" y="16789"/>
                      <a:pt x="32844" y="16898"/>
                      <a:pt x="32813" y="16898"/>
                    </a:cubicBezTo>
                    <a:cubicBezTo>
                      <a:pt x="32782" y="16898"/>
                      <a:pt x="33016" y="16898"/>
                      <a:pt x="33078" y="16898"/>
                    </a:cubicBezTo>
                    <a:cubicBezTo>
                      <a:pt x="33030" y="16943"/>
                      <a:pt x="32955" y="16943"/>
                      <a:pt x="32906" y="16898"/>
                    </a:cubicBezTo>
                    <a:cubicBezTo>
                      <a:pt x="32906" y="17054"/>
                      <a:pt x="32782" y="16898"/>
                      <a:pt x="32751" y="17007"/>
                    </a:cubicBezTo>
                    <a:cubicBezTo>
                      <a:pt x="32719" y="17116"/>
                      <a:pt x="32751" y="17178"/>
                      <a:pt x="32595" y="17194"/>
                    </a:cubicBezTo>
                    <a:cubicBezTo>
                      <a:pt x="32439" y="17209"/>
                      <a:pt x="32595" y="17443"/>
                      <a:pt x="32486" y="17319"/>
                    </a:cubicBezTo>
                    <a:cubicBezTo>
                      <a:pt x="32595" y="17599"/>
                      <a:pt x="32486" y="17615"/>
                      <a:pt x="32314" y="17786"/>
                    </a:cubicBezTo>
                    <a:cubicBezTo>
                      <a:pt x="32143" y="17958"/>
                      <a:pt x="32314" y="18020"/>
                      <a:pt x="32314" y="18145"/>
                    </a:cubicBezTo>
                    <a:cubicBezTo>
                      <a:pt x="32314" y="18269"/>
                      <a:pt x="32127" y="18238"/>
                      <a:pt x="32189" y="18379"/>
                    </a:cubicBezTo>
                    <a:cubicBezTo>
                      <a:pt x="32252" y="18519"/>
                      <a:pt x="32314" y="18550"/>
                      <a:pt x="32314" y="18784"/>
                    </a:cubicBezTo>
                    <a:cubicBezTo>
                      <a:pt x="32314" y="19018"/>
                      <a:pt x="32719" y="18909"/>
                      <a:pt x="32579" y="19049"/>
                    </a:cubicBezTo>
                    <a:cubicBezTo>
                      <a:pt x="32439" y="19189"/>
                      <a:pt x="32158" y="19189"/>
                      <a:pt x="31956" y="19361"/>
                    </a:cubicBezTo>
                    <a:cubicBezTo>
                      <a:pt x="31956" y="19267"/>
                      <a:pt x="31956" y="19220"/>
                      <a:pt x="32049" y="19189"/>
                    </a:cubicBezTo>
                    <a:cubicBezTo>
                      <a:pt x="31862" y="19189"/>
                      <a:pt x="31628" y="18955"/>
                      <a:pt x="31519" y="19189"/>
                    </a:cubicBezTo>
                    <a:cubicBezTo>
                      <a:pt x="31363" y="19189"/>
                      <a:pt x="31410" y="19189"/>
                      <a:pt x="31301" y="19267"/>
                    </a:cubicBezTo>
                    <a:cubicBezTo>
                      <a:pt x="31192" y="19345"/>
                      <a:pt x="31301" y="19361"/>
                      <a:pt x="31410" y="19407"/>
                    </a:cubicBezTo>
                    <a:cubicBezTo>
                      <a:pt x="31519" y="19454"/>
                      <a:pt x="31239" y="19329"/>
                      <a:pt x="31254" y="19407"/>
                    </a:cubicBezTo>
                    <a:cubicBezTo>
                      <a:pt x="31270" y="19485"/>
                      <a:pt x="31363" y="19407"/>
                      <a:pt x="31254" y="19485"/>
                    </a:cubicBezTo>
                    <a:cubicBezTo>
                      <a:pt x="31145" y="19563"/>
                      <a:pt x="31005" y="19376"/>
                      <a:pt x="31254" y="19485"/>
                    </a:cubicBezTo>
                    <a:cubicBezTo>
                      <a:pt x="31129" y="19485"/>
                      <a:pt x="31083" y="19361"/>
                      <a:pt x="31005" y="19314"/>
                    </a:cubicBezTo>
                    <a:cubicBezTo>
                      <a:pt x="30927" y="19267"/>
                      <a:pt x="30786" y="19423"/>
                      <a:pt x="31005" y="19532"/>
                    </a:cubicBezTo>
                    <a:cubicBezTo>
                      <a:pt x="31223" y="19641"/>
                      <a:pt x="31348" y="19953"/>
                      <a:pt x="31005" y="19719"/>
                    </a:cubicBezTo>
                    <a:cubicBezTo>
                      <a:pt x="31005" y="19719"/>
                      <a:pt x="31005" y="19719"/>
                      <a:pt x="31005" y="19719"/>
                    </a:cubicBezTo>
                    <a:cubicBezTo>
                      <a:pt x="31005" y="19719"/>
                      <a:pt x="31005" y="19828"/>
                      <a:pt x="31005" y="19813"/>
                    </a:cubicBezTo>
                    <a:cubicBezTo>
                      <a:pt x="31176" y="19937"/>
                      <a:pt x="31472" y="19984"/>
                      <a:pt x="31457" y="20234"/>
                    </a:cubicBezTo>
                    <a:cubicBezTo>
                      <a:pt x="31348" y="20234"/>
                      <a:pt x="31285" y="20124"/>
                      <a:pt x="31161" y="20234"/>
                    </a:cubicBezTo>
                    <a:cubicBezTo>
                      <a:pt x="31036" y="20343"/>
                      <a:pt x="31441" y="20452"/>
                      <a:pt x="31270" y="20389"/>
                    </a:cubicBezTo>
                    <a:cubicBezTo>
                      <a:pt x="31098" y="20327"/>
                      <a:pt x="31270" y="20389"/>
                      <a:pt x="31270" y="20389"/>
                    </a:cubicBezTo>
                    <a:cubicBezTo>
                      <a:pt x="31270" y="20389"/>
                      <a:pt x="31270" y="20608"/>
                      <a:pt x="31270" y="20670"/>
                    </a:cubicBezTo>
                    <a:cubicBezTo>
                      <a:pt x="31270" y="20732"/>
                      <a:pt x="31051" y="20499"/>
                      <a:pt x="31083" y="20670"/>
                    </a:cubicBezTo>
                    <a:cubicBezTo>
                      <a:pt x="31083" y="20530"/>
                      <a:pt x="30989" y="20545"/>
                      <a:pt x="30927" y="20436"/>
                    </a:cubicBezTo>
                    <a:cubicBezTo>
                      <a:pt x="30864" y="20327"/>
                      <a:pt x="30927" y="20514"/>
                      <a:pt x="30927" y="20561"/>
                    </a:cubicBezTo>
                    <a:cubicBezTo>
                      <a:pt x="30845" y="20514"/>
                      <a:pt x="30806" y="20417"/>
                      <a:pt x="30833" y="20327"/>
                    </a:cubicBezTo>
                    <a:cubicBezTo>
                      <a:pt x="30724" y="20234"/>
                      <a:pt x="30553" y="20171"/>
                      <a:pt x="30724" y="20047"/>
                    </a:cubicBezTo>
                    <a:cubicBezTo>
                      <a:pt x="30896" y="19922"/>
                      <a:pt x="31036" y="20202"/>
                      <a:pt x="31176" y="20047"/>
                    </a:cubicBezTo>
                    <a:cubicBezTo>
                      <a:pt x="31051" y="20047"/>
                      <a:pt x="30911" y="19891"/>
                      <a:pt x="30818" y="20047"/>
                    </a:cubicBezTo>
                    <a:cubicBezTo>
                      <a:pt x="30724" y="20202"/>
                      <a:pt x="30709" y="19937"/>
                      <a:pt x="30662" y="20047"/>
                    </a:cubicBezTo>
                    <a:cubicBezTo>
                      <a:pt x="30444" y="19828"/>
                      <a:pt x="30288" y="19485"/>
                      <a:pt x="30007" y="19345"/>
                    </a:cubicBezTo>
                    <a:cubicBezTo>
                      <a:pt x="30007" y="19174"/>
                      <a:pt x="30007" y="18987"/>
                      <a:pt x="30007" y="18815"/>
                    </a:cubicBezTo>
                    <a:cubicBezTo>
                      <a:pt x="29820" y="18815"/>
                      <a:pt x="29711" y="18566"/>
                      <a:pt x="29571" y="18441"/>
                    </a:cubicBezTo>
                    <a:cubicBezTo>
                      <a:pt x="29430" y="18316"/>
                      <a:pt x="29337" y="18441"/>
                      <a:pt x="29290" y="18441"/>
                    </a:cubicBezTo>
                    <a:cubicBezTo>
                      <a:pt x="29243" y="18441"/>
                      <a:pt x="29290" y="18441"/>
                      <a:pt x="29399" y="18441"/>
                    </a:cubicBezTo>
                    <a:cubicBezTo>
                      <a:pt x="29508" y="18441"/>
                      <a:pt x="29134" y="18207"/>
                      <a:pt x="28978" y="18269"/>
                    </a:cubicBezTo>
                    <a:cubicBezTo>
                      <a:pt x="28822" y="18332"/>
                      <a:pt x="28511" y="18004"/>
                      <a:pt x="28807" y="18020"/>
                    </a:cubicBezTo>
                    <a:cubicBezTo>
                      <a:pt x="28448" y="17802"/>
                      <a:pt x="28620" y="17365"/>
                      <a:pt x="28292" y="17817"/>
                    </a:cubicBezTo>
                    <a:cubicBezTo>
                      <a:pt x="28292" y="17724"/>
                      <a:pt x="28168" y="17615"/>
                      <a:pt x="28292" y="17521"/>
                    </a:cubicBezTo>
                    <a:cubicBezTo>
                      <a:pt x="28417" y="17428"/>
                      <a:pt x="27981" y="17521"/>
                      <a:pt x="27903" y="17630"/>
                    </a:cubicBezTo>
                    <a:cubicBezTo>
                      <a:pt x="27903" y="18098"/>
                      <a:pt x="28448" y="18394"/>
                      <a:pt x="28729" y="18768"/>
                    </a:cubicBezTo>
                    <a:cubicBezTo>
                      <a:pt x="28869" y="18768"/>
                      <a:pt x="29243" y="18768"/>
                      <a:pt x="29025" y="18955"/>
                    </a:cubicBezTo>
                    <a:cubicBezTo>
                      <a:pt x="29243" y="19080"/>
                      <a:pt x="29929" y="19205"/>
                      <a:pt x="29773" y="19548"/>
                    </a:cubicBezTo>
                    <a:cubicBezTo>
                      <a:pt x="29633" y="19548"/>
                      <a:pt x="29773" y="19314"/>
                      <a:pt x="29524" y="19361"/>
                    </a:cubicBezTo>
                    <a:cubicBezTo>
                      <a:pt x="29274" y="19407"/>
                      <a:pt x="29274" y="19548"/>
                      <a:pt x="29321" y="19626"/>
                    </a:cubicBezTo>
                    <a:cubicBezTo>
                      <a:pt x="29649" y="19719"/>
                      <a:pt x="29321" y="19906"/>
                      <a:pt x="29321" y="20093"/>
                    </a:cubicBezTo>
                    <a:cubicBezTo>
                      <a:pt x="29321" y="20280"/>
                      <a:pt x="28900" y="20343"/>
                      <a:pt x="29119" y="20093"/>
                    </a:cubicBezTo>
                    <a:cubicBezTo>
                      <a:pt x="29219" y="19835"/>
                      <a:pt x="29104" y="19543"/>
                      <a:pt x="28854" y="19423"/>
                    </a:cubicBezTo>
                    <a:cubicBezTo>
                      <a:pt x="28713" y="19423"/>
                      <a:pt x="28854" y="19314"/>
                      <a:pt x="28729" y="19267"/>
                    </a:cubicBezTo>
                    <a:cubicBezTo>
                      <a:pt x="28603" y="19264"/>
                      <a:pt x="28490" y="19192"/>
                      <a:pt x="28433" y="19080"/>
                    </a:cubicBezTo>
                    <a:cubicBezTo>
                      <a:pt x="27513" y="19080"/>
                      <a:pt x="27357" y="17225"/>
                      <a:pt x="26391" y="18347"/>
                    </a:cubicBezTo>
                    <a:cubicBezTo>
                      <a:pt x="26391" y="18534"/>
                      <a:pt x="26079" y="18347"/>
                      <a:pt x="25985" y="18254"/>
                    </a:cubicBezTo>
                    <a:cubicBezTo>
                      <a:pt x="25019" y="18145"/>
                      <a:pt x="25985" y="18987"/>
                      <a:pt x="24910" y="19142"/>
                    </a:cubicBezTo>
                    <a:cubicBezTo>
                      <a:pt x="24988" y="19142"/>
                      <a:pt x="24910" y="19298"/>
                      <a:pt x="24910" y="19252"/>
                    </a:cubicBezTo>
                    <a:cubicBezTo>
                      <a:pt x="24271" y="19750"/>
                      <a:pt x="24910" y="19719"/>
                      <a:pt x="24676" y="19969"/>
                    </a:cubicBezTo>
                    <a:cubicBezTo>
                      <a:pt x="24458" y="19969"/>
                      <a:pt x="24567" y="20374"/>
                      <a:pt x="24364" y="20327"/>
                    </a:cubicBezTo>
                    <a:cubicBezTo>
                      <a:pt x="23974" y="20748"/>
                      <a:pt x="23522" y="20327"/>
                      <a:pt x="23070" y="20779"/>
                    </a:cubicBezTo>
                    <a:cubicBezTo>
                      <a:pt x="22774" y="20779"/>
                      <a:pt x="22821" y="20140"/>
                      <a:pt x="22416" y="20421"/>
                    </a:cubicBezTo>
                    <a:cubicBezTo>
                      <a:pt x="22416" y="20421"/>
                      <a:pt x="22229" y="20296"/>
                      <a:pt x="22151" y="20421"/>
                    </a:cubicBezTo>
                    <a:cubicBezTo>
                      <a:pt x="22167" y="20247"/>
                      <a:pt x="22198" y="20075"/>
                      <a:pt x="22244" y="19906"/>
                    </a:cubicBezTo>
                    <a:cubicBezTo>
                      <a:pt x="21948" y="19906"/>
                      <a:pt x="22244" y="19906"/>
                      <a:pt x="22244" y="19750"/>
                    </a:cubicBezTo>
                    <a:cubicBezTo>
                      <a:pt x="21870" y="19984"/>
                      <a:pt x="22338" y="19329"/>
                      <a:pt x="22353" y="19189"/>
                    </a:cubicBezTo>
                    <a:cubicBezTo>
                      <a:pt x="22369" y="19049"/>
                      <a:pt x="22353" y="18690"/>
                      <a:pt x="22447" y="18566"/>
                    </a:cubicBezTo>
                    <a:lnTo>
                      <a:pt x="22447" y="18566"/>
                    </a:lnTo>
                    <a:cubicBezTo>
                      <a:pt x="22447" y="18566"/>
                      <a:pt x="22447" y="18566"/>
                      <a:pt x="22447" y="18457"/>
                    </a:cubicBezTo>
                    <a:cubicBezTo>
                      <a:pt x="22447" y="18347"/>
                      <a:pt x="22447" y="18457"/>
                      <a:pt x="22447" y="18363"/>
                    </a:cubicBezTo>
                    <a:cubicBezTo>
                      <a:pt x="22447" y="18269"/>
                      <a:pt x="22634" y="18238"/>
                      <a:pt x="22712" y="18192"/>
                    </a:cubicBezTo>
                    <a:cubicBezTo>
                      <a:pt x="22790" y="18145"/>
                      <a:pt x="23055" y="18192"/>
                      <a:pt x="23133" y="18192"/>
                    </a:cubicBezTo>
                    <a:cubicBezTo>
                      <a:pt x="23460" y="18192"/>
                      <a:pt x="23819" y="18347"/>
                      <a:pt x="24146" y="18269"/>
                    </a:cubicBezTo>
                    <a:cubicBezTo>
                      <a:pt x="24723" y="18722"/>
                      <a:pt x="24364" y="17163"/>
                      <a:pt x="24754" y="17755"/>
                    </a:cubicBezTo>
                    <a:cubicBezTo>
                      <a:pt x="24754" y="17662"/>
                      <a:pt x="24660" y="17521"/>
                      <a:pt x="24551" y="17506"/>
                    </a:cubicBezTo>
                    <a:cubicBezTo>
                      <a:pt x="24707" y="17303"/>
                      <a:pt x="24411" y="17256"/>
                      <a:pt x="24333" y="17116"/>
                    </a:cubicBezTo>
                    <a:cubicBezTo>
                      <a:pt x="24255" y="16976"/>
                      <a:pt x="24333" y="16898"/>
                      <a:pt x="24458" y="16991"/>
                    </a:cubicBezTo>
                    <a:cubicBezTo>
                      <a:pt x="24364" y="16851"/>
                      <a:pt x="24255" y="17085"/>
                      <a:pt x="24255" y="16835"/>
                    </a:cubicBezTo>
                    <a:cubicBezTo>
                      <a:pt x="24146" y="16835"/>
                      <a:pt x="23959" y="16648"/>
                      <a:pt x="23803" y="16757"/>
                    </a:cubicBezTo>
                    <a:cubicBezTo>
                      <a:pt x="23647" y="16867"/>
                      <a:pt x="23803" y="16757"/>
                      <a:pt x="23803" y="16648"/>
                    </a:cubicBezTo>
                    <a:cubicBezTo>
                      <a:pt x="23803" y="16539"/>
                      <a:pt x="23897" y="16508"/>
                      <a:pt x="23803" y="16648"/>
                    </a:cubicBezTo>
                    <a:cubicBezTo>
                      <a:pt x="23709" y="16789"/>
                      <a:pt x="23803" y="16648"/>
                      <a:pt x="23803" y="16648"/>
                    </a:cubicBezTo>
                    <a:cubicBezTo>
                      <a:pt x="23460" y="16539"/>
                      <a:pt x="23990" y="16524"/>
                      <a:pt x="24099" y="16446"/>
                    </a:cubicBezTo>
                    <a:cubicBezTo>
                      <a:pt x="24224" y="16602"/>
                      <a:pt x="24317" y="16446"/>
                      <a:pt x="24520" y="16555"/>
                    </a:cubicBezTo>
                    <a:cubicBezTo>
                      <a:pt x="24493" y="16422"/>
                      <a:pt x="24457" y="16292"/>
                      <a:pt x="24411" y="16165"/>
                    </a:cubicBezTo>
                    <a:cubicBezTo>
                      <a:pt x="24411" y="16165"/>
                      <a:pt x="24551" y="16165"/>
                      <a:pt x="24598" y="16165"/>
                    </a:cubicBezTo>
                    <a:cubicBezTo>
                      <a:pt x="24645" y="16165"/>
                      <a:pt x="24863" y="16337"/>
                      <a:pt x="24957" y="16165"/>
                    </a:cubicBezTo>
                    <a:cubicBezTo>
                      <a:pt x="24738" y="15994"/>
                      <a:pt x="25206" y="16072"/>
                      <a:pt x="25206" y="15978"/>
                    </a:cubicBezTo>
                    <a:cubicBezTo>
                      <a:pt x="25206" y="15884"/>
                      <a:pt x="25284" y="15775"/>
                      <a:pt x="25315" y="15682"/>
                    </a:cubicBezTo>
                    <a:cubicBezTo>
                      <a:pt x="25346" y="15588"/>
                      <a:pt x="25596" y="15417"/>
                      <a:pt x="25814" y="15542"/>
                    </a:cubicBezTo>
                    <a:cubicBezTo>
                      <a:pt x="25658" y="15542"/>
                      <a:pt x="25611" y="15354"/>
                      <a:pt x="25814" y="15542"/>
                    </a:cubicBezTo>
                    <a:cubicBezTo>
                      <a:pt x="26017" y="15729"/>
                      <a:pt x="25705" y="15432"/>
                      <a:pt x="25907" y="15448"/>
                    </a:cubicBezTo>
                    <a:cubicBezTo>
                      <a:pt x="25580" y="15214"/>
                      <a:pt x="26250" y="14622"/>
                      <a:pt x="26578" y="14918"/>
                    </a:cubicBezTo>
                    <a:cubicBezTo>
                      <a:pt x="26344" y="14747"/>
                      <a:pt x="26671" y="14622"/>
                      <a:pt x="26734" y="14918"/>
                    </a:cubicBezTo>
                    <a:cubicBezTo>
                      <a:pt x="26734" y="14700"/>
                      <a:pt x="26734" y="14918"/>
                      <a:pt x="26858" y="14918"/>
                    </a:cubicBezTo>
                    <a:cubicBezTo>
                      <a:pt x="26718" y="14544"/>
                      <a:pt x="26999" y="14731"/>
                      <a:pt x="27186" y="14793"/>
                    </a:cubicBezTo>
                    <a:cubicBezTo>
                      <a:pt x="26671" y="14559"/>
                      <a:pt x="26812" y="14061"/>
                      <a:pt x="26671" y="13718"/>
                    </a:cubicBezTo>
                    <a:cubicBezTo>
                      <a:pt x="26889" y="13718"/>
                      <a:pt x="26796" y="13577"/>
                      <a:pt x="26921" y="13718"/>
                    </a:cubicBezTo>
                    <a:cubicBezTo>
                      <a:pt x="26921" y="13281"/>
                      <a:pt x="27077" y="13718"/>
                      <a:pt x="27248" y="13718"/>
                    </a:cubicBezTo>
                    <a:cubicBezTo>
                      <a:pt x="27248" y="13952"/>
                      <a:pt x="26796" y="14092"/>
                      <a:pt x="27154" y="14528"/>
                    </a:cubicBezTo>
                    <a:cubicBezTo>
                      <a:pt x="27154" y="14419"/>
                      <a:pt x="27529" y="14528"/>
                      <a:pt x="27279" y="14606"/>
                    </a:cubicBezTo>
                    <a:cubicBezTo>
                      <a:pt x="27762" y="14606"/>
                      <a:pt x="27575" y="14310"/>
                      <a:pt x="28027" y="14606"/>
                    </a:cubicBezTo>
                    <a:cubicBezTo>
                      <a:pt x="28246" y="14949"/>
                      <a:pt x="28729" y="13936"/>
                      <a:pt x="29134" y="14310"/>
                    </a:cubicBezTo>
                    <a:cubicBezTo>
                      <a:pt x="28885" y="14310"/>
                      <a:pt x="29134" y="14559"/>
                      <a:pt x="29337" y="14310"/>
                    </a:cubicBezTo>
                    <a:cubicBezTo>
                      <a:pt x="29312" y="14365"/>
                      <a:pt x="29267" y="14410"/>
                      <a:pt x="29212" y="14435"/>
                    </a:cubicBezTo>
                    <a:cubicBezTo>
                      <a:pt x="30927" y="14357"/>
                      <a:pt x="28729" y="13858"/>
                      <a:pt x="29680" y="13157"/>
                    </a:cubicBezTo>
                    <a:cubicBezTo>
                      <a:pt x="30023" y="13687"/>
                      <a:pt x="30132" y="13328"/>
                      <a:pt x="29976" y="12907"/>
                    </a:cubicBezTo>
                    <a:cubicBezTo>
                      <a:pt x="29976" y="13094"/>
                      <a:pt x="29711" y="12907"/>
                      <a:pt x="29804" y="12767"/>
                    </a:cubicBezTo>
                    <a:cubicBezTo>
                      <a:pt x="29524" y="12767"/>
                      <a:pt x="29804" y="12486"/>
                      <a:pt x="29804" y="12424"/>
                    </a:cubicBezTo>
                    <a:cubicBezTo>
                      <a:pt x="29804" y="12362"/>
                      <a:pt x="30023" y="12424"/>
                      <a:pt x="29929" y="12424"/>
                    </a:cubicBezTo>
                    <a:lnTo>
                      <a:pt x="30506" y="12517"/>
                    </a:lnTo>
                    <a:cubicBezTo>
                      <a:pt x="30334" y="12252"/>
                      <a:pt x="30506" y="12424"/>
                      <a:pt x="30631" y="12221"/>
                    </a:cubicBezTo>
                    <a:cubicBezTo>
                      <a:pt x="30755" y="12019"/>
                      <a:pt x="30225" y="12128"/>
                      <a:pt x="30444" y="11972"/>
                    </a:cubicBezTo>
                    <a:cubicBezTo>
                      <a:pt x="30444" y="11972"/>
                      <a:pt x="30334" y="12065"/>
                      <a:pt x="30319" y="11972"/>
                    </a:cubicBezTo>
                    <a:cubicBezTo>
                      <a:pt x="30319" y="12112"/>
                      <a:pt x="30038" y="12128"/>
                      <a:pt x="29976" y="12081"/>
                    </a:cubicBezTo>
                    <a:cubicBezTo>
                      <a:pt x="29914" y="12034"/>
                      <a:pt x="29976" y="12081"/>
                      <a:pt x="29976" y="12081"/>
                    </a:cubicBezTo>
                    <a:cubicBezTo>
                      <a:pt x="29976" y="12081"/>
                      <a:pt x="29976" y="12299"/>
                      <a:pt x="29976" y="12081"/>
                    </a:cubicBezTo>
                    <a:cubicBezTo>
                      <a:pt x="29976" y="12206"/>
                      <a:pt x="29586" y="12221"/>
                      <a:pt x="29555" y="12362"/>
                    </a:cubicBezTo>
                    <a:cubicBezTo>
                      <a:pt x="29555" y="12081"/>
                      <a:pt x="29415" y="12174"/>
                      <a:pt x="29197" y="12034"/>
                    </a:cubicBezTo>
                    <a:cubicBezTo>
                      <a:pt x="28978" y="11894"/>
                      <a:pt x="28760" y="11021"/>
                      <a:pt x="28963" y="10943"/>
                    </a:cubicBezTo>
                    <a:cubicBezTo>
                      <a:pt x="29165" y="10865"/>
                      <a:pt x="28963" y="10865"/>
                      <a:pt x="29056" y="10943"/>
                    </a:cubicBezTo>
                    <a:cubicBezTo>
                      <a:pt x="29150" y="11021"/>
                      <a:pt x="29056" y="10818"/>
                      <a:pt x="29056" y="10725"/>
                    </a:cubicBezTo>
                    <a:cubicBezTo>
                      <a:pt x="29056" y="10631"/>
                      <a:pt x="29259" y="10304"/>
                      <a:pt x="29321" y="10397"/>
                    </a:cubicBezTo>
                    <a:cubicBezTo>
                      <a:pt x="29134" y="9992"/>
                      <a:pt x="28776" y="10117"/>
                      <a:pt x="28589" y="10148"/>
                    </a:cubicBezTo>
                    <a:cubicBezTo>
                      <a:pt x="28698" y="10304"/>
                      <a:pt x="28589" y="10507"/>
                      <a:pt x="28729" y="10631"/>
                    </a:cubicBezTo>
                    <a:cubicBezTo>
                      <a:pt x="28616" y="10941"/>
                      <a:pt x="28422" y="11216"/>
                      <a:pt x="28168" y="11426"/>
                    </a:cubicBezTo>
                    <a:cubicBezTo>
                      <a:pt x="28277" y="11504"/>
                      <a:pt x="28168" y="11660"/>
                      <a:pt x="28292" y="11769"/>
                    </a:cubicBezTo>
                    <a:cubicBezTo>
                      <a:pt x="28027" y="11909"/>
                      <a:pt x="29212" y="12704"/>
                      <a:pt x="28479" y="12517"/>
                    </a:cubicBezTo>
                    <a:cubicBezTo>
                      <a:pt x="28479" y="12517"/>
                      <a:pt x="28043" y="12517"/>
                      <a:pt x="28324" y="12627"/>
                    </a:cubicBezTo>
                    <a:cubicBezTo>
                      <a:pt x="28604" y="12736"/>
                      <a:pt x="28869" y="12814"/>
                      <a:pt x="28573" y="12751"/>
                    </a:cubicBezTo>
                    <a:cubicBezTo>
                      <a:pt x="28573" y="12751"/>
                      <a:pt x="28573" y="12938"/>
                      <a:pt x="28464" y="12876"/>
                    </a:cubicBezTo>
                    <a:cubicBezTo>
                      <a:pt x="28355" y="12814"/>
                      <a:pt x="28557" y="13001"/>
                      <a:pt x="28464" y="13016"/>
                    </a:cubicBezTo>
                    <a:cubicBezTo>
                      <a:pt x="28573" y="13016"/>
                      <a:pt x="28604" y="13250"/>
                      <a:pt x="28464" y="13172"/>
                    </a:cubicBezTo>
                    <a:cubicBezTo>
                      <a:pt x="28589" y="13422"/>
                      <a:pt x="28604" y="14076"/>
                      <a:pt x="28214" y="13827"/>
                    </a:cubicBezTo>
                    <a:cubicBezTo>
                      <a:pt x="27965" y="14793"/>
                      <a:pt x="27279" y="12845"/>
                      <a:pt x="27373" y="12751"/>
                    </a:cubicBezTo>
                    <a:cubicBezTo>
                      <a:pt x="27217" y="12658"/>
                      <a:pt x="27170" y="12564"/>
                      <a:pt x="27170" y="12533"/>
                    </a:cubicBezTo>
                    <a:cubicBezTo>
                      <a:pt x="27188" y="12620"/>
                      <a:pt x="27188" y="12711"/>
                      <a:pt x="27170" y="12798"/>
                    </a:cubicBezTo>
                    <a:cubicBezTo>
                      <a:pt x="27170" y="12798"/>
                      <a:pt x="27170" y="12798"/>
                      <a:pt x="26983" y="12673"/>
                    </a:cubicBezTo>
                    <a:cubicBezTo>
                      <a:pt x="26983" y="12814"/>
                      <a:pt x="26983" y="13032"/>
                      <a:pt x="26858" y="12969"/>
                    </a:cubicBezTo>
                    <a:cubicBezTo>
                      <a:pt x="26983" y="13125"/>
                      <a:pt x="26578" y="13234"/>
                      <a:pt x="26484" y="13094"/>
                    </a:cubicBezTo>
                    <a:cubicBezTo>
                      <a:pt x="26391" y="13203"/>
                      <a:pt x="26001" y="12751"/>
                      <a:pt x="26484" y="12798"/>
                    </a:cubicBezTo>
                    <a:cubicBezTo>
                      <a:pt x="26282" y="12798"/>
                      <a:pt x="26484" y="12704"/>
                      <a:pt x="26328" y="12595"/>
                    </a:cubicBezTo>
                    <a:cubicBezTo>
                      <a:pt x="26328" y="12876"/>
                      <a:pt x="26110" y="12424"/>
                      <a:pt x="26328" y="12595"/>
                    </a:cubicBezTo>
                    <a:cubicBezTo>
                      <a:pt x="26547" y="12767"/>
                      <a:pt x="26328" y="12595"/>
                      <a:pt x="26469" y="12502"/>
                    </a:cubicBezTo>
                    <a:cubicBezTo>
                      <a:pt x="26282" y="12502"/>
                      <a:pt x="26469" y="12206"/>
                      <a:pt x="26469" y="12393"/>
                    </a:cubicBezTo>
                    <a:cubicBezTo>
                      <a:pt x="26426" y="12350"/>
                      <a:pt x="26425" y="12281"/>
                      <a:pt x="26467" y="12238"/>
                    </a:cubicBezTo>
                    <a:cubicBezTo>
                      <a:pt x="26467" y="12238"/>
                      <a:pt x="26468" y="12237"/>
                      <a:pt x="26469" y="12237"/>
                    </a:cubicBezTo>
                    <a:cubicBezTo>
                      <a:pt x="26266" y="12315"/>
                      <a:pt x="26157" y="12455"/>
                      <a:pt x="26266" y="12237"/>
                    </a:cubicBezTo>
                    <a:cubicBezTo>
                      <a:pt x="26126" y="12237"/>
                      <a:pt x="26079" y="12315"/>
                      <a:pt x="26266" y="12143"/>
                    </a:cubicBezTo>
                    <a:cubicBezTo>
                      <a:pt x="25954" y="12019"/>
                      <a:pt x="26812" y="12237"/>
                      <a:pt x="26640" y="11941"/>
                    </a:cubicBezTo>
                    <a:cubicBezTo>
                      <a:pt x="26640" y="12097"/>
                      <a:pt x="25939" y="12065"/>
                      <a:pt x="26313" y="11941"/>
                    </a:cubicBezTo>
                    <a:cubicBezTo>
                      <a:pt x="26001" y="11941"/>
                      <a:pt x="26313" y="11832"/>
                      <a:pt x="26484" y="11816"/>
                    </a:cubicBezTo>
                    <a:cubicBezTo>
                      <a:pt x="26157" y="11816"/>
                      <a:pt x="26094" y="11644"/>
                      <a:pt x="26359" y="11722"/>
                    </a:cubicBezTo>
                    <a:cubicBezTo>
                      <a:pt x="26282" y="11722"/>
                      <a:pt x="26359" y="11598"/>
                      <a:pt x="26484" y="11722"/>
                    </a:cubicBezTo>
                    <a:lnTo>
                      <a:pt x="26484" y="11613"/>
                    </a:lnTo>
                    <a:cubicBezTo>
                      <a:pt x="26484" y="11613"/>
                      <a:pt x="26484" y="11613"/>
                      <a:pt x="26718" y="11613"/>
                    </a:cubicBezTo>
                    <a:cubicBezTo>
                      <a:pt x="26422" y="11613"/>
                      <a:pt x="26593" y="11426"/>
                      <a:pt x="26843" y="11613"/>
                    </a:cubicBezTo>
                    <a:cubicBezTo>
                      <a:pt x="26515" y="11348"/>
                      <a:pt x="26843" y="11613"/>
                      <a:pt x="26843" y="11504"/>
                    </a:cubicBezTo>
                    <a:cubicBezTo>
                      <a:pt x="26843" y="11395"/>
                      <a:pt x="27154" y="11083"/>
                      <a:pt x="27014" y="11504"/>
                    </a:cubicBezTo>
                    <a:cubicBezTo>
                      <a:pt x="27232" y="11379"/>
                      <a:pt x="27201" y="11379"/>
                      <a:pt x="27279" y="11161"/>
                    </a:cubicBezTo>
                    <a:cubicBezTo>
                      <a:pt x="27357" y="10943"/>
                      <a:pt x="27030" y="11629"/>
                      <a:pt x="27045" y="11270"/>
                    </a:cubicBezTo>
                    <a:cubicBezTo>
                      <a:pt x="26921" y="11364"/>
                      <a:pt x="27045" y="11037"/>
                      <a:pt x="27045" y="11068"/>
                    </a:cubicBezTo>
                    <a:cubicBezTo>
                      <a:pt x="27045" y="11099"/>
                      <a:pt x="27217" y="10896"/>
                      <a:pt x="27357" y="10678"/>
                    </a:cubicBezTo>
                    <a:cubicBezTo>
                      <a:pt x="27217" y="10787"/>
                      <a:pt x="27279" y="10460"/>
                      <a:pt x="27357" y="10538"/>
                    </a:cubicBezTo>
                    <a:cubicBezTo>
                      <a:pt x="27435" y="10616"/>
                      <a:pt x="27357" y="10382"/>
                      <a:pt x="27357" y="10460"/>
                    </a:cubicBezTo>
                    <a:cubicBezTo>
                      <a:pt x="27264" y="10273"/>
                      <a:pt x="27357" y="10382"/>
                      <a:pt x="27357" y="10288"/>
                    </a:cubicBezTo>
                    <a:cubicBezTo>
                      <a:pt x="27170" y="10288"/>
                      <a:pt x="27357" y="10195"/>
                      <a:pt x="27248" y="10117"/>
                    </a:cubicBezTo>
                    <a:cubicBezTo>
                      <a:pt x="27139" y="10039"/>
                      <a:pt x="27248" y="9821"/>
                      <a:pt x="27529" y="9961"/>
                    </a:cubicBezTo>
                    <a:cubicBezTo>
                      <a:pt x="27388" y="9883"/>
                      <a:pt x="27326" y="9743"/>
                      <a:pt x="27529" y="9836"/>
                    </a:cubicBezTo>
                    <a:cubicBezTo>
                      <a:pt x="27731" y="9930"/>
                      <a:pt x="27373" y="9711"/>
                      <a:pt x="27529" y="9696"/>
                    </a:cubicBezTo>
                    <a:cubicBezTo>
                      <a:pt x="27264" y="9696"/>
                      <a:pt x="27529" y="9696"/>
                      <a:pt x="27529" y="9509"/>
                    </a:cubicBezTo>
                    <a:cubicBezTo>
                      <a:pt x="27700" y="9509"/>
                      <a:pt x="27669" y="9509"/>
                      <a:pt x="27684" y="9509"/>
                    </a:cubicBezTo>
                    <a:cubicBezTo>
                      <a:pt x="28059" y="9587"/>
                      <a:pt x="27419" y="9369"/>
                      <a:pt x="27684" y="9369"/>
                    </a:cubicBezTo>
                    <a:cubicBezTo>
                      <a:pt x="27684" y="9369"/>
                      <a:pt x="27684" y="9275"/>
                      <a:pt x="27684" y="9275"/>
                    </a:cubicBezTo>
                    <a:cubicBezTo>
                      <a:pt x="27684" y="9275"/>
                      <a:pt x="27684" y="8994"/>
                      <a:pt x="27778" y="9182"/>
                    </a:cubicBezTo>
                    <a:cubicBezTo>
                      <a:pt x="27872" y="9369"/>
                      <a:pt x="27778" y="9182"/>
                      <a:pt x="27778" y="9182"/>
                    </a:cubicBezTo>
                    <a:cubicBezTo>
                      <a:pt x="27575" y="9057"/>
                      <a:pt x="27778" y="9088"/>
                      <a:pt x="27778" y="9182"/>
                    </a:cubicBezTo>
                    <a:cubicBezTo>
                      <a:pt x="27778" y="9275"/>
                      <a:pt x="27778" y="8870"/>
                      <a:pt x="27778" y="9182"/>
                    </a:cubicBezTo>
                    <a:cubicBezTo>
                      <a:pt x="27778" y="8776"/>
                      <a:pt x="27778" y="9291"/>
                      <a:pt x="27949" y="9182"/>
                    </a:cubicBezTo>
                    <a:cubicBezTo>
                      <a:pt x="27778" y="8870"/>
                      <a:pt x="28152" y="9182"/>
                      <a:pt x="27949" y="8839"/>
                    </a:cubicBezTo>
                    <a:cubicBezTo>
                      <a:pt x="28043" y="8839"/>
                      <a:pt x="28168" y="8994"/>
                      <a:pt x="28246" y="8979"/>
                    </a:cubicBezTo>
                    <a:cubicBezTo>
                      <a:pt x="28324" y="8963"/>
                      <a:pt x="28246" y="8714"/>
                      <a:pt x="28246" y="8729"/>
                    </a:cubicBezTo>
                    <a:cubicBezTo>
                      <a:pt x="28246" y="8745"/>
                      <a:pt x="28105" y="8589"/>
                      <a:pt x="28246" y="8729"/>
                    </a:cubicBezTo>
                    <a:cubicBezTo>
                      <a:pt x="28386" y="8870"/>
                      <a:pt x="28246" y="8620"/>
                      <a:pt x="28246" y="8729"/>
                    </a:cubicBezTo>
                    <a:cubicBezTo>
                      <a:pt x="28355" y="8574"/>
                      <a:pt x="28386" y="9462"/>
                      <a:pt x="28370" y="8729"/>
                    </a:cubicBezTo>
                    <a:cubicBezTo>
                      <a:pt x="28620" y="9197"/>
                      <a:pt x="28370" y="8636"/>
                      <a:pt x="28542" y="8620"/>
                    </a:cubicBezTo>
                    <a:cubicBezTo>
                      <a:pt x="28713" y="8605"/>
                      <a:pt x="28542" y="8761"/>
                      <a:pt x="28635" y="8932"/>
                    </a:cubicBezTo>
                    <a:cubicBezTo>
                      <a:pt x="28729" y="9104"/>
                      <a:pt x="28713" y="8932"/>
                      <a:pt x="28744" y="8932"/>
                    </a:cubicBezTo>
                    <a:cubicBezTo>
                      <a:pt x="28589" y="8620"/>
                      <a:pt x="28916" y="8792"/>
                      <a:pt x="28900" y="8932"/>
                    </a:cubicBezTo>
                    <a:cubicBezTo>
                      <a:pt x="29197" y="8932"/>
                      <a:pt x="29087" y="9197"/>
                      <a:pt x="28807" y="9104"/>
                    </a:cubicBezTo>
                    <a:cubicBezTo>
                      <a:pt x="28900" y="9104"/>
                      <a:pt x="28994" y="9104"/>
                      <a:pt x="29041" y="9275"/>
                    </a:cubicBezTo>
                    <a:cubicBezTo>
                      <a:pt x="29087" y="9446"/>
                      <a:pt x="29150" y="9150"/>
                      <a:pt x="29290" y="9275"/>
                    </a:cubicBezTo>
                    <a:cubicBezTo>
                      <a:pt x="29290" y="9166"/>
                      <a:pt x="29290" y="9182"/>
                      <a:pt x="29290" y="9119"/>
                    </a:cubicBezTo>
                    <a:cubicBezTo>
                      <a:pt x="29290" y="9057"/>
                      <a:pt x="29633" y="9353"/>
                      <a:pt x="29384" y="9119"/>
                    </a:cubicBezTo>
                    <a:cubicBezTo>
                      <a:pt x="29384" y="9291"/>
                      <a:pt x="29555" y="9119"/>
                      <a:pt x="29571" y="9275"/>
                    </a:cubicBezTo>
                    <a:cubicBezTo>
                      <a:pt x="29586" y="9431"/>
                      <a:pt x="30147" y="9275"/>
                      <a:pt x="30568" y="9556"/>
                    </a:cubicBezTo>
                    <a:cubicBezTo>
                      <a:pt x="30459" y="9431"/>
                      <a:pt x="30896" y="9743"/>
                      <a:pt x="30677" y="9556"/>
                    </a:cubicBezTo>
                    <a:cubicBezTo>
                      <a:pt x="31488" y="9836"/>
                      <a:pt x="31410" y="10756"/>
                      <a:pt x="30490" y="10304"/>
                    </a:cubicBezTo>
                    <a:cubicBezTo>
                      <a:pt x="30381" y="10304"/>
                      <a:pt x="30381" y="10304"/>
                      <a:pt x="30334" y="10304"/>
                    </a:cubicBezTo>
                    <a:cubicBezTo>
                      <a:pt x="30288" y="10304"/>
                      <a:pt x="29867" y="10070"/>
                      <a:pt x="30007" y="10304"/>
                    </a:cubicBezTo>
                    <a:cubicBezTo>
                      <a:pt x="30147" y="10538"/>
                      <a:pt x="30366" y="10429"/>
                      <a:pt x="30272" y="10584"/>
                    </a:cubicBezTo>
                    <a:cubicBezTo>
                      <a:pt x="30521" y="10584"/>
                      <a:pt x="31613" y="12050"/>
                      <a:pt x="31379" y="11192"/>
                    </a:cubicBezTo>
                    <a:cubicBezTo>
                      <a:pt x="31207" y="11348"/>
                      <a:pt x="30958" y="10943"/>
                      <a:pt x="31083" y="10896"/>
                    </a:cubicBezTo>
                    <a:cubicBezTo>
                      <a:pt x="32392" y="11722"/>
                      <a:pt x="30833" y="10117"/>
                      <a:pt x="31737" y="10413"/>
                    </a:cubicBezTo>
                    <a:cubicBezTo>
                      <a:pt x="31737" y="10288"/>
                      <a:pt x="31846" y="10413"/>
                      <a:pt x="31893" y="10413"/>
                    </a:cubicBezTo>
                    <a:cubicBezTo>
                      <a:pt x="31668" y="10019"/>
                      <a:pt x="31372" y="9671"/>
                      <a:pt x="31020" y="9384"/>
                    </a:cubicBezTo>
                    <a:cubicBezTo>
                      <a:pt x="31301" y="9384"/>
                      <a:pt x="31737" y="9478"/>
                      <a:pt x="31581" y="9758"/>
                    </a:cubicBezTo>
                    <a:cubicBezTo>
                      <a:pt x="31940" y="10304"/>
                      <a:pt x="32080" y="9758"/>
                      <a:pt x="31893" y="9556"/>
                    </a:cubicBezTo>
                    <a:cubicBezTo>
                      <a:pt x="32049" y="9556"/>
                      <a:pt x="31893" y="9026"/>
                      <a:pt x="32127" y="9337"/>
                    </a:cubicBezTo>
                    <a:cubicBezTo>
                      <a:pt x="32127" y="9244"/>
                      <a:pt x="31924" y="9057"/>
                      <a:pt x="32127" y="9213"/>
                    </a:cubicBezTo>
                    <a:cubicBezTo>
                      <a:pt x="31971" y="8807"/>
                      <a:pt x="32236" y="9213"/>
                      <a:pt x="32423" y="9353"/>
                    </a:cubicBezTo>
                    <a:cubicBezTo>
                      <a:pt x="32423" y="9259"/>
                      <a:pt x="32423" y="9228"/>
                      <a:pt x="32423" y="9353"/>
                    </a:cubicBezTo>
                    <a:cubicBezTo>
                      <a:pt x="32221" y="9119"/>
                      <a:pt x="32564" y="9197"/>
                      <a:pt x="32517" y="8932"/>
                    </a:cubicBezTo>
                    <a:cubicBezTo>
                      <a:pt x="32626" y="9072"/>
                      <a:pt x="32953" y="9322"/>
                      <a:pt x="32688" y="9026"/>
                    </a:cubicBezTo>
                    <a:cubicBezTo>
                      <a:pt x="32844" y="9026"/>
                      <a:pt x="32595" y="8885"/>
                      <a:pt x="32782" y="9026"/>
                    </a:cubicBezTo>
                    <a:cubicBezTo>
                      <a:pt x="32702" y="8968"/>
                      <a:pt x="32619" y="8916"/>
                      <a:pt x="32532" y="8870"/>
                    </a:cubicBezTo>
                    <a:lnTo>
                      <a:pt x="32532" y="8870"/>
                    </a:lnTo>
                    <a:cubicBezTo>
                      <a:pt x="31815" y="8309"/>
                      <a:pt x="33203" y="8729"/>
                      <a:pt x="33561" y="8979"/>
                    </a:cubicBezTo>
                    <a:cubicBezTo>
                      <a:pt x="33390" y="8729"/>
                      <a:pt x="33140" y="8683"/>
                      <a:pt x="32906" y="8496"/>
                    </a:cubicBezTo>
                    <a:lnTo>
                      <a:pt x="32906" y="8496"/>
                    </a:lnTo>
                    <a:cubicBezTo>
                      <a:pt x="32906" y="8496"/>
                      <a:pt x="32906" y="8496"/>
                      <a:pt x="32797" y="8496"/>
                    </a:cubicBezTo>
                    <a:lnTo>
                      <a:pt x="32797" y="8496"/>
                    </a:lnTo>
                    <a:lnTo>
                      <a:pt x="32564" y="8309"/>
                    </a:lnTo>
                    <a:cubicBezTo>
                      <a:pt x="32688" y="8309"/>
                      <a:pt x="32330" y="8153"/>
                      <a:pt x="32423" y="8153"/>
                    </a:cubicBezTo>
                    <a:cubicBezTo>
                      <a:pt x="32221" y="8059"/>
                      <a:pt x="31176" y="7186"/>
                      <a:pt x="31394" y="7155"/>
                    </a:cubicBezTo>
                    <a:cubicBezTo>
                      <a:pt x="32158" y="7436"/>
                      <a:pt x="32953" y="8246"/>
                      <a:pt x="33701" y="8714"/>
                    </a:cubicBezTo>
                    <a:lnTo>
                      <a:pt x="33701" y="8714"/>
                    </a:lnTo>
                    <a:cubicBezTo>
                      <a:pt x="33931" y="8894"/>
                      <a:pt x="34135" y="9103"/>
                      <a:pt x="34309" y="9337"/>
                    </a:cubicBezTo>
                    <a:lnTo>
                      <a:pt x="34309" y="9337"/>
                    </a:lnTo>
                    <a:cubicBezTo>
                      <a:pt x="34481" y="9446"/>
                      <a:pt x="34465" y="9602"/>
                      <a:pt x="34309" y="9337"/>
                    </a:cubicBezTo>
                    <a:cubicBezTo>
                      <a:pt x="34309" y="9337"/>
                      <a:pt x="34013" y="9337"/>
                      <a:pt x="34216" y="9462"/>
                    </a:cubicBezTo>
                    <a:cubicBezTo>
                      <a:pt x="35338" y="9711"/>
                      <a:pt x="33811" y="8729"/>
                      <a:pt x="33670" y="8418"/>
                    </a:cubicBezTo>
                    <a:cubicBezTo>
                      <a:pt x="33670" y="8418"/>
                      <a:pt x="33670" y="8418"/>
                      <a:pt x="33670" y="8418"/>
                    </a:cubicBezTo>
                    <a:cubicBezTo>
                      <a:pt x="32928" y="8092"/>
                      <a:pt x="32240" y="7655"/>
                      <a:pt x="31628" y="7124"/>
                    </a:cubicBezTo>
                    <a:cubicBezTo>
                      <a:pt x="31971" y="7280"/>
                      <a:pt x="32283" y="7623"/>
                      <a:pt x="32610" y="7669"/>
                    </a:cubicBezTo>
                    <a:cubicBezTo>
                      <a:pt x="32486" y="7498"/>
                      <a:pt x="32860" y="7779"/>
                      <a:pt x="32766" y="7669"/>
                    </a:cubicBezTo>
                    <a:cubicBezTo>
                      <a:pt x="32514" y="7656"/>
                      <a:pt x="32275" y="7551"/>
                      <a:pt x="32096" y="7373"/>
                    </a:cubicBezTo>
                    <a:cubicBezTo>
                      <a:pt x="32423" y="7514"/>
                      <a:pt x="32096" y="7373"/>
                      <a:pt x="32096" y="7295"/>
                    </a:cubicBezTo>
                    <a:lnTo>
                      <a:pt x="32096" y="7295"/>
                    </a:lnTo>
                    <a:cubicBezTo>
                      <a:pt x="31659" y="6765"/>
                      <a:pt x="33655" y="8059"/>
                      <a:pt x="33000" y="7560"/>
                    </a:cubicBezTo>
                    <a:cubicBezTo>
                      <a:pt x="33249" y="7742"/>
                      <a:pt x="33522" y="7889"/>
                      <a:pt x="33811" y="7997"/>
                    </a:cubicBezTo>
                    <a:cubicBezTo>
                      <a:pt x="33530" y="7810"/>
                      <a:pt x="33811" y="7888"/>
                      <a:pt x="33966" y="7997"/>
                    </a:cubicBezTo>
                    <a:cubicBezTo>
                      <a:pt x="33873" y="7903"/>
                      <a:pt x="33608" y="7794"/>
                      <a:pt x="33670" y="7903"/>
                    </a:cubicBezTo>
                    <a:cubicBezTo>
                      <a:pt x="33187" y="7685"/>
                      <a:pt x="32688" y="7311"/>
                      <a:pt x="32111" y="7077"/>
                    </a:cubicBezTo>
                    <a:cubicBezTo>
                      <a:pt x="31956" y="7077"/>
                      <a:pt x="31223" y="6719"/>
                      <a:pt x="31332" y="6563"/>
                    </a:cubicBezTo>
                    <a:cubicBezTo>
                      <a:pt x="31114" y="6282"/>
                      <a:pt x="31488" y="6656"/>
                      <a:pt x="31628" y="6641"/>
                    </a:cubicBezTo>
                    <a:cubicBezTo>
                      <a:pt x="31426" y="6641"/>
                      <a:pt x="31301" y="6391"/>
                      <a:pt x="31098" y="6360"/>
                    </a:cubicBezTo>
                    <a:cubicBezTo>
                      <a:pt x="30896" y="6329"/>
                      <a:pt x="30911" y="6360"/>
                      <a:pt x="30880" y="6282"/>
                    </a:cubicBezTo>
                    <a:cubicBezTo>
                      <a:pt x="30849" y="6204"/>
                      <a:pt x="30974" y="6282"/>
                      <a:pt x="30880" y="6282"/>
                    </a:cubicBezTo>
                    <a:cubicBezTo>
                      <a:pt x="30786" y="6282"/>
                      <a:pt x="30709" y="6204"/>
                      <a:pt x="30740" y="6282"/>
                    </a:cubicBezTo>
                    <a:cubicBezTo>
                      <a:pt x="30771" y="6360"/>
                      <a:pt x="30568" y="6173"/>
                      <a:pt x="30740" y="6282"/>
                    </a:cubicBezTo>
                    <a:lnTo>
                      <a:pt x="30506" y="6142"/>
                    </a:lnTo>
                    <a:cubicBezTo>
                      <a:pt x="30506" y="6142"/>
                      <a:pt x="30506" y="6142"/>
                      <a:pt x="30506" y="6142"/>
                    </a:cubicBezTo>
                    <a:lnTo>
                      <a:pt x="30101" y="5861"/>
                    </a:lnTo>
                    <a:lnTo>
                      <a:pt x="30101" y="5861"/>
                    </a:lnTo>
                    <a:cubicBezTo>
                      <a:pt x="30026" y="5804"/>
                      <a:pt x="29948" y="5752"/>
                      <a:pt x="29867" y="5705"/>
                    </a:cubicBezTo>
                    <a:lnTo>
                      <a:pt x="29867" y="5705"/>
                    </a:lnTo>
                    <a:lnTo>
                      <a:pt x="29867" y="5705"/>
                    </a:lnTo>
                    <a:lnTo>
                      <a:pt x="29867" y="5705"/>
                    </a:lnTo>
                    <a:lnTo>
                      <a:pt x="29664" y="5612"/>
                    </a:lnTo>
                    <a:lnTo>
                      <a:pt x="29664" y="5612"/>
                    </a:lnTo>
                    <a:cubicBezTo>
                      <a:pt x="29664" y="5612"/>
                      <a:pt x="29508" y="5612"/>
                      <a:pt x="29664" y="5612"/>
                    </a:cubicBezTo>
                    <a:lnTo>
                      <a:pt x="29664" y="5612"/>
                    </a:lnTo>
                    <a:lnTo>
                      <a:pt x="29664" y="5612"/>
                    </a:lnTo>
                    <a:lnTo>
                      <a:pt x="29914" y="5705"/>
                    </a:lnTo>
                    <a:lnTo>
                      <a:pt x="29711" y="5612"/>
                    </a:lnTo>
                    <a:lnTo>
                      <a:pt x="29851" y="5612"/>
                    </a:lnTo>
                    <a:lnTo>
                      <a:pt x="29773" y="5612"/>
                    </a:lnTo>
                    <a:cubicBezTo>
                      <a:pt x="29732" y="5603"/>
                      <a:pt x="29690" y="5603"/>
                      <a:pt x="29649" y="5612"/>
                    </a:cubicBezTo>
                    <a:lnTo>
                      <a:pt x="29649" y="5612"/>
                    </a:lnTo>
                    <a:cubicBezTo>
                      <a:pt x="29607" y="5620"/>
                      <a:pt x="29565" y="5620"/>
                      <a:pt x="29524" y="5612"/>
                    </a:cubicBezTo>
                    <a:lnTo>
                      <a:pt x="29836" y="5721"/>
                    </a:lnTo>
                    <a:cubicBezTo>
                      <a:pt x="29722" y="5665"/>
                      <a:pt x="29601" y="5623"/>
                      <a:pt x="29477" y="5596"/>
                    </a:cubicBezTo>
                    <a:lnTo>
                      <a:pt x="29477" y="5596"/>
                    </a:lnTo>
                    <a:cubicBezTo>
                      <a:pt x="29477" y="5596"/>
                      <a:pt x="29306" y="5596"/>
                      <a:pt x="29352" y="5596"/>
                    </a:cubicBezTo>
                    <a:cubicBezTo>
                      <a:pt x="29399" y="5596"/>
                      <a:pt x="29352" y="5596"/>
                      <a:pt x="29352" y="5596"/>
                    </a:cubicBezTo>
                    <a:lnTo>
                      <a:pt x="29352" y="5596"/>
                    </a:lnTo>
                    <a:lnTo>
                      <a:pt x="29228" y="5596"/>
                    </a:lnTo>
                    <a:lnTo>
                      <a:pt x="29228" y="5596"/>
                    </a:lnTo>
                    <a:lnTo>
                      <a:pt x="28807" y="5471"/>
                    </a:lnTo>
                    <a:lnTo>
                      <a:pt x="28807" y="5471"/>
                    </a:lnTo>
                    <a:cubicBezTo>
                      <a:pt x="28651" y="5471"/>
                      <a:pt x="27918" y="5191"/>
                      <a:pt x="28090" y="5222"/>
                    </a:cubicBezTo>
                    <a:lnTo>
                      <a:pt x="28090" y="5222"/>
                    </a:lnTo>
                    <a:lnTo>
                      <a:pt x="28183" y="5222"/>
                    </a:lnTo>
                    <a:lnTo>
                      <a:pt x="28183" y="5222"/>
                    </a:lnTo>
                    <a:cubicBezTo>
                      <a:pt x="28355" y="5222"/>
                      <a:pt x="28511" y="5316"/>
                      <a:pt x="28682" y="5362"/>
                    </a:cubicBezTo>
                    <a:lnTo>
                      <a:pt x="28511" y="5362"/>
                    </a:lnTo>
                    <a:lnTo>
                      <a:pt x="28667" y="5362"/>
                    </a:lnTo>
                    <a:lnTo>
                      <a:pt x="28573" y="5362"/>
                    </a:lnTo>
                    <a:cubicBezTo>
                      <a:pt x="28667" y="5362"/>
                      <a:pt x="28464" y="5362"/>
                      <a:pt x="28573" y="5362"/>
                    </a:cubicBezTo>
                    <a:lnTo>
                      <a:pt x="28573" y="5362"/>
                    </a:lnTo>
                    <a:cubicBezTo>
                      <a:pt x="28854" y="5440"/>
                      <a:pt x="29477" y="5627"/>
                      <a:pt x="28869" y="5362"/>
                    </a:cubicBezTo>
                    <a:lnTo>
                      <a:pt x="28869" y="5362"/>
                    </a:lnTo>
                    <a:lnTo>
                      <a:pt x="28776" y="5362"/>
                    </a:lnTo>
                    <a:lnTo>
                      <a:pt x="28776" y="5362"/>
                    </a:lnTo>
                    <a:lnTo>
                      <a:pt x="28776" y="5362"/>
                    </a:lnTo>
                    <a:lnTo>
                      <a:pt x="28776" y="5362"/>
                    </a:lnTo>
                    <a:lnTo>
                      <a:pt x="28776" y="5362"/>
                    </a:lnTo>
                    <a:lnTo>
                      <a:pt x="29306" y="5487"/>
                    </a:lnTo>
                    <a:lnTo>
                      <a:pt x="29087" y="5487"/>
                    </a:lnTo>
                    <a:lnTo>
                      <a:pt x="29384" y="5487"/>
                    </a:lnTo>
                    <a:lnTo>
                      <a:pt x="29617" y="5487"/>
                    </a:lnTo>
                    <a:lnTo>
                      <a:pt x="29617" y="5487"/>
                    </a:lnTo>
                    <a:cubicBezTo>
                      <a:pt x="29415" y="5487"/>
                      <a:pt x="29617" y="5487"/>
                      <a:pt x="29742" y="5487"/>
                    </a:cubicBezTo>
                    <a:lnTo>
                      <a:pt x="29742" y="5487"/>
                    </a:lnTo>
                    <a:lnTo>
                      <a:pt x="29742" y="5487"/>
                    </a:lnTo>
                    <a:cubicBezTo>
                      <a:pt x="30128" y="5587"/>
                      <a:pt x="30504" y="5722"/>
                      <a:pt x="30864" y="5892"/>
                    </a:cubicBezTo>
                    <a:cubicBezTo>
                      <a:pt x="30864" y="5892"/>
                      <a:pt x="30864" y="5892"/>
                      <a:pt x="30864" y="5892"/>
                    </a:cubicBezTo>
                    <a:cubicBezTo>
                      <a:pt x="30864" y="5892"/>
                      <a:pt x="31270" y="6048"/>
                      <a:pt x="31441" y="6142"/>
                    </a:cubicBezTo>
                    <a:lnTo>
                      <a:pt x="31441" y="6142"/>
                    </a:lnTo>
                    <a:lnTo>
                      <a:pt x="32189" y="6500"/>
                    </a:lnTo>
                    <a:cubicBezTo>
                      <a:pt x="31956" y="6376"/>
                      <a:pt x="31722" y="6235"/>
                      <a:pt x="31457" y="6111"/>
                    </a:cubicBezTo>
                    <a:lnTo>
                      <a:pt x="31457" y="6111"/>
                    </a:lnTo>
                    <a:lnTo>
                      <a:pt x="31176" y="5986"/>
                    </a:lnTo>
                    <a:lnTo>
                      <a:pt x="31301" y="5986"/>
                    </a:lnTo>
                    <a:cubicBezTo>
                      <a:pt x="31301" y="5986"/>
                      <a:pt x="30896" y="5846"/>
                      <a:pt x="31083" y="5892"/>
                    </a:cubicBezTo>
                    <a:lnTo>
                      <a:pt x="30958" y="5892"/>
                    </a:lnTo>
                    <a:lnTo>
                      <a:pt x="31239" y="5986"/>
                    </a:lnTo>
                    <a:cubicBezTo>
                      <a:pt x="31152" y="5934"/>
                      <a:pt x="31057" y="5897"/>
                      <a:pt x="30958" y="5877"/>
                    </a:cubicBezTo>
                    <a:cubicBezTo>
                      <a:pt x="31116" y="5914"/>
                      <a:pt x="31273" y="5961"/>
                      <a:pt x="31426" y="6017"/>
                    </a:cubicBezTo>
                    <a:lnTo>
                      <a:pt x="31285" y="6017"/>
                    </a:lnTo>
                    <a:lnTo>
                      <a:pt x="31285" y="6017"/>
                    </a:lnTo>
                    <a:lnTo>
                      <a:pt x="30584" y="4380"/>
                    </a:lnTo>
                    <a:cubicBezTo>
                      <a:pt x="38732" y="7070"/>
                      <a:pt x="44371" y="14514"/>
                      <a:pt x="44753" y="23086"/>
                    </a:cubicBezTo>
                    <a:cubicBezTo>
                      <a:pt x="44742" y="23396"/>
                      <a:pt x="44700" y="23704"/>
                      <a:pt x="44629" y="24006"/>
                    </a:cubicBezTo>
                    <a:cubicBezTo>
                      <a:pt x="44691" y="23912"/>
                      <a:pt x="44613" y="24084"/>
                      <a:pt x="44613" y="241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 name="Google Shape;179;p23"/>
              <p:cNvSpPr/>
              <p:nvPr/>
            </p:nvSpPr>
            <p:spPr>
              <a:xfrm rot="-5400000">
                <a:off x="10654635" y="7242900"/>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 name="Google Shape;180;p23"/>
              <p:cNvSpPr/>
              <p:nvPr/>
            </p:nvSpPr>
            <p:spPr>
              <a:xfrm rot="-5400000">
                <a:off x="10647776" y="7212394"/>
                <a:ext cx="41027" cy="46516"/>
              </a:xfrm>
              <a:custGeom>
                <a:avLst/>
                <a:gdLst/>
                <a:ahLst/>
                <a:cxnLst/>
                <a:rect l="l" t="t" r="r" b="b"/>
                <a:pathLst>
                  <a:path w="41027" h="46516" extrusionOk="0">
                    <a:moveTo>
                      <a:pt x="36554" y="3664"/>
                    </a:moveTo>
                    <a:cubicBezTo>
                      <a:pt x="39537" y="6127"/>
                      <a:pt x="41028" y="10206"/>
                      <a:pt x="41028" y="15901"/>
                    </a:cubicBezTo>
                    <a:lnTo>
                      <a:pt x="41028" y="46517"/>
                    </a:lnTo>
                    <a:lnTo>
                      <a:pt x="28854" y="46517"/>
                    </a:lnTo>
                    <a:lnTo>
                      <a:pt x="28854" y="18863"/>
                    </a:lnTo>
                    <a:cubicBezTo>
                      <a:pt x="28943" y="16981"/>
                      <a:pt x="28618" y="15103"/>
                      <a:pt x="27903" y="13360"/>
                    </a:cubicBezTo>
                    <a:cubicBezTo>
                      <a:pt x="26734" y="11038"/>
                      <a:pt x="24536" y="9869"/>
                      <a:pt x="21278" y="9869"/>
                    </a:cubicBezTo>
                    <a:cubicBezTo>
                      <a:pt x="17705" y="9597"/>
                      <a:pt x="14368" y="11672"/>
                      <a:pt x="13032" y="14997"/>
                    </a:cubicBezTo>
                    <a:cubicBezTo>
                      <a:pt x="12195" y="17206"/>
                      <a:pt x="11803" y="19558"/>
                      <a:pt x="11878" y="21918"/>
                    </a:cubicBezTo>
                    <a:lnTo>
                      <a:pt x="11878" y="46517"/>
                    </a:lnTo>
                    <a:lnTo>
                      <a:pt x="0" y="46517"/>
                    </a:lnTo>
                    <a:lnTo>
                      <a:pt x="0" y="1155"/>
                    </a:lnTo>
                    <a:lnTo>
                      <a:pt x="11504" y="1155"/>
                    </a:lnTo>
                    <a:lnTo>
                      <a:pt x="11504" y="7811"/>
                    </a:lnTo>
                    <a:cubicBezTo>
                      <a:pt x="12650" y="5897"/>
                      <a:pt x="14110" y="4190"/>
                      <a:pt x="15822" y="2760"/>
                    </a:cubicBezTo>
                    <a:cubicBezTo>
                      <a:pt x="18522" y="851"/>
                      <a:pt x="21777" y="-114"/>
                      <a:pt x="25081" y="17"/>
                    </a:cubicBezTo>
                    <a:cubicBezTo>
                      <a:pt x="29217" y="-165"/>
                      <a:pt x="33283" y="1128"/>
                      <a:pt x="36554"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 name="Google Shape;181;p23"/>
              <p:cNvSpPr/>
              <p:nvPr/>
            </p:nvSpPr>
            <p:spPr>
              <a:xfrm rot="-5400000">
                <a:off x="10647372" y="7164586"/>
                <a:ext cx="26265" cy="62088"/>
              </a:xfrm>
              <a:custGeom>
                <a:avLst/>
                <a:gdLst/>
                <a:ahLst/>
                <a:cxnLst/>
                <a:rect l="l" t="t" r="r" b="b"/>
                <a:pathLst>
                  <a:path w="26265" h="62088" extrusionOk="0">
                    <a:moveTo>
                      <a:pt x="23476" y="0"/>
                    </a:moveTo>
                    <a:lnTo>
                      <a:pt x="25970" y="187"/>
                    </a:lnTo>
                    <a:lnTo>
                      <a:pt x="25970" y="9930"/>
                    </a:lnTo>
                    <a:cubicBezTo>
                      <a:pt x="24857" y="9809"/>
                      <a:pt x="23738" y="9746"/>
                      <a:pt x="22618" y="9743"/>
                    </a:cubicBezTo>
                    <a:cubicBezTo>
                      <a:pt x="21432" y="9564"/>
                      <a:pt x="20229" y="9943"/>
                      <a:pt x="19360" y="10771"/>
                    </a:cubicBezTo>
                    <a:cubicBezTo>
                      <a:pt x="18789" y="11459"/>
                      <a:pt x="18475" y="12325"/>
                      <a:pt x="18472" y="13219"/>
                    </a:cubicBezTo>
                    <a:lnTo>
                      <a:pt x="18472" y="17054"/>
                    </a:lnTo>
                    <a:lnTo>
                      <a:pt x="26266" y="17054"/>
                    </a:lnTo>
                    <a:lnTo>
                      <a:pt x="26266" y="25440"/>
                    </a:lnTo>
                    <a:lnTo>
                      <a:pt x="18472" y="25440"/>
                    </a:lnTo>
                    <a:lnTo>
                      <a:pt x="18472" y="62088"/>
                    </a:lnTo>
                    <a:lnTo>
                      <a:pt x="6672" y="62088"/>
                    </a:lnTo>
                    <a:lnTo>
                      <a:pt x="6672" y="25440"/>
                    </a:lnTo>
                    <a:lnTo>
                      <a:pt x="0" y="25440"/>
                    </a:lnTo>
                    <a:lnTo>
                      <a:pt x="0" y="17054"/>
                    </a:lnTo>
                    <a:lnTo>
                      <a:pt x="6500" y="17054"/>
                    </a:lnTo>
                    <a:lnTo>
                      <a:pt x="6500" y="14139"/>
                    </a:lnTo>
                    <a:cubicBezTo>
                      <a:pt x="6500" y="9275"/>
                      <a:pt x="7321" y="5924"/>
                      <a:pt x="8963" y="4084"/>
                    </a:cubicBezTo>
                    <a:cubicBezTo>
                      <a:pt x="10693" y="1356"/>
                      <a:pt x="14840" y="0"/>
                      <a:pt x="21434" y="0"/>
                    </a:cubicBezTo>
                    <a:cubicBezTo>
                      <a:pt x="22182" y="0"/>
                      <a:pt x="22868" y="0"/>
                      <a:pt x="2347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2" name="Google Shape;182;p23"/>
              <p:cNvSpPr/>
              <p:nvPr/>
            </p:nvSpPr>
            <p:spPr>
              <a:xfrm rot="-5400000">
                <a:off x="10646133" y="6877843"/>
                <a:ext cx="44501" cy="46328"/>
              </a:xfrm>
              <a:custGeom>
                <a:avLst/>
                <a:gdLst/>
                <a:ahLst/>
                <a:cxnLst/>
                <a:rect l="l" t="t" r="r" b="b"/>
                <a:pathLst>
                  <a:path w="44501" h="46328" extrusionOk="0">
                    <a:moveTo>
                      <a:pt x="38977" y="39516"/>
                    </a:moveTo>
                    <a:cubicBezTo>
                      <a:pt x="35309" y="44047"/>
                      <a:pt x="29733" y="46318"/>
                      <a:pt x="22251" y="46328"/>
                    </a:cubicBezTo>
                    <a:cubicBezTo>
                      <a:pt x="14769" y="46339"/>
                      <a:pt x="9188" y="44068"/>
                      <a:pt x="5510" y="39516"/>
                    </a:cubicBezTo>
                    <a:cubicBezTo>
                      <a:pt x="1815" y="34897"/>
                      <a:pt x="-132" y="29124"/>
                      <a:pt x="7" y="23211"/>
                    </a:cubicBezTo>
                    <a:cubicBezTo>
                      <a:pt x="-118" y="17296"/>
                      <a:pt x="1829" y="11523"/>
                      <a:pt x="5510" y="6890"/>
                    </a:cubicBezTo>
                    <a:cubicBezTo>
                      <a:pt x="9188" y="2286"/>
                      <a:pt x="14769" y="-10"/>
                      <a:pt x="22251" y="0"/>
                    </a:cubicBezTo>
                    <a:cubicBezTo>
                      <a:pt x="29733" y="10"/>
                      <a:pt x="35309" y="2307"/>
                      <a:pt x="38977" y="6890"/>
                    </a:cubicBezTo>
                    <a:cubicBezTo>
                      <a:pt x="42662" y="11521"/>
                      <a:pt x="44614" y="17294"/>
                      <a:pt x="44495" y="23211"/>
                    </a:cubicBezTo>
                    <a:cubicBezTo>
                      <a:pt x="44629" y="29126"/>
                      <a:pt x="42675" y="34898"/>
                      <a:pt x="38977" y="39516"/>
                    </a:cubicBezTo>
                    <a:close/>
                    <a:moveTo>
                      <a:pt x="29874" y="33281"/>
                    </a:moveTo>
                    <a:cubicBezTo>
                      <a:pt x="31833" y="30303"/>
                      <a:pt x="32775" y="26769"/>
                      <a:pt x="32555" y="23211"/>
                    </a:cubicBezTo>
                    <a:cubicBezTo>
                      <a:pt x="32782" y="19652"/>
                      <a:pt x="31841" y="16116"/>
                      <a:pt x="29874" y="13141"/>
                    </a:cubicBezTo>
                    <a:cubicBezTo>
                      <a:pt x="26221" y="8901"/>
                      <a:pt x="19824" y="8424"/>
                      <a:pt x="15584" y="12076"/>
                    </a:cubicBezTo>
                    <a:cubicBezTo>
                      <a:pt x="15204" y="12404"/>
                      <a:pt x="14847" y="12760"/>
                      <a:pt x="14519" y="13141"/>
                    </a:cubicBezTo>
                    <a:cubicBezTo>
                      <a:pt x="12548" y="16114"/>
                      <a:pt x="11600" y="19650"/>
                      <a:pt x="11823" y="23211"/>
                    </a:cubicBezTo>
                    <a:cubicBezTo>
                      <a:pt x="11600" y="26782"/>
                      <a:pt x="12546" y="30328"/>
                      <a:pt x="14519" y="33312"/>
                    </a:cubicBezTo>
                    <a:cubicBezTo>
                      <a:pt x="18145" y="37552"/>
                      <a:pt x="24521" y="38050"/>
                      <a:pt x="28761" y="34425"/>
                    </a:cubicBezTo>
                    <a:cubicBezTo>
                      <a:pt x="29160" y="34083"/>
                      <a:pt x="29532" y="33711"/>
                      <a:pt x="29874" y="333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3" name="Google Shape;183;p23"/>
              <p:cNvSpPr/>
              <p:nvPr/>
            </p:nvSpPr>
            <p:spPr>
              <a:xfrm rot="-5400000">
                <a:off x="10635737" y="7067825"/>
                <a:ext cx="65151" cy="46470"/>
              </a:xfrm>
              <a:custGeom>
                <a:avLst/>
                <a:gdLst/>
                <a:ahLst/>
                <a:cxnLst/>
                <a:rect l="l" t="t" r="r" b="b"/>
                <a:pathLst>
                  <a:path w="65151" h="46470" extrusionOk="0">
                    <a:moveTo>
                      <a:pt x="56850" y="1186"/>
                    </a:moveTo>
                    <a:cubicBezTo>
                      <a:pt x="58932" y="2071"/>
                      <a:pt x="60753" y="3478"/>
                      <a:pt x="62134" y="5271"/>
                    </a:cubicBezTo>
                    <a:cubicBezTo>
                      <a:pt x="63468" y="6974"/>
                      <a:pt x="64359" y="8983"/>
                      <a:pt x="64722" y="11116"/>
                    </a:cubicBezTo>
                    <a:cubicBezTo>
                      <a:pt x="65051" y="13335"/>
                      <a:pt x="65191" y="15577"/>
                      <a:pt x="65143" y="17819"/>
                    </a:cubicBezTo>
                    <a:lnTo>
                      <a:pt x="65143" y="46470"/>
                    </a:lnTo>
                    <a:lnTo>
                      <a:pt x="52953" y="46470"/>
                    </a:lnTo>
                    <a:lnTo>
                      <a:pt x="52953" y="17523"/>
                    </a:lnTo>
                    <a:cubicBezTo>
                      <a:pt x="53012" y="16064"/>
                      <a:pt x="52728" y="14612"/>
                      <a:pt x="52127" y="13283"/>
                    </a:cubicBezTo>
                    <a:cubicBezTo>
                      <a:pt x="50992" y="11152"/>
                      <a:pt x="48682" y="9920"/>
                      <a:pt x="46281" y="10165"/>
                    </a:cubicBezTo>
                    <a:cubicBezTo>
                      <a:pt x="43382" y="9944"/>
                      <a:pt x="40660" y="11583"/>
                      <a:pt x="39500" y="14249"/>
                    </a:cubicBezTo>
                    <a:cubicBezTo>
                      <a:pt x="38811" y="15902"/>
                      <a:pt x="38482" y="17682"/>
                      <a:pt x="38534" y="19471"/>
                    </a:cubicBezTo>
                    <a:lnTo>
                      <a:pt x="38534" y="46470"/>
                    </a:lnTo>
                    <a:lnTo>
                      <a:pt x="26562" y="46470"/>
                    </a:lnTo>
                    <a:lnTo>
                      <a:pt x="26562" y="19409"/>
                    </a:lnTo>
                    <a:cubicBezTo>
                      <a:pt x="26671" y="17415"/>
                      <a:pt x="26391" y="15419"/>
                      <a:pt x="25736" y="13532"/>
                    </a:cubicBezTo>
                    <a:cubicBezTo>
                      <a:pt x="24678" y="11295"/>
                      <a:pt x="22321" y="9970"/>
                      <a:pt x="19859" y="10228"/>
                    </a:cubicBezTo>
                    <a:cubicBezTo>
                      <a:pt x="16461" y="10228"/>
                      <a:pt x="14180" y="11329"/>
                      <a:pt x="13016" y="13532"/>
                    </a:cubicBezTo>
                    <a:cubicBezTo>
                      <a:pt x="12276" y="15295"/>
                      <a:pt x="11945" y="17204"/>
                      <a:pt x="12050" y="19113"/>
                    </a:cubicBezTo>
                    <a:lnTo>
                      <a:pt x="12050" y="46470"/>
                    </a:lnTo>
                    <a:lnTo>
                      <a:pt x="0" y="46470"/>
                    </a:lnTo>
                    <a:lnTo>
                      <a:pt x="0" y="1108"/>
                    </a:lnTo>
                    <a:lnTo>
                      <a:pt x="11551" y="1108"/>
                    </a:lnTo>
                    <a:lnTo>
                      <a:pt x="11551" y="7765"/>
                    </a:lnTo>
                    <a:cubicBezTo>
                      <a:pt x="12642" y="5853"/>
                      <a:pt x="14056" y="4144"/>
                      <a:pt x="15728" y="2714"/>
                    </a:cubicBezTo>
                    <a:cubicBezTo>
                      <a:pt x="20982" y="-698"/>
                      <a:pt x="27714" y="-843"/>
                      <a:pt x="33109" y="2340"/>
                    </a:cubicBezTo>
                    <a:cubicBezTo>
                      <a:pt x="34832" y="3792"/>
                      <a:pt x="36157" y="5659"/>
                      <a:pt x="36959" y="7765"/>
                    </a:cubicBezTo>
                    <a:cubicBezTo>
                      <a:pt x="38303" y="5303"/>
                      <a:pt x="40306" y="3263"/>
                      <a:pt x="42743" y="1872"/>
                    </a:cubicBezTo>
                    <a:cubicBezTo>
                      <a:pt x="45282" y="604"/>
                      <a:pt x="48088" y="-38"/>
                      <a:pt x="50926" y="2"/>
                    </a:cubicBezTo>
                    <a:cubicBezTo>
                      <a:pt x="52959" y="13"/>
                      <a:pt x="54970" y="415"/>
                      <a:pt x="56850" y="11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4" name="Google Shape;184;p23"/>
              <p:cNvSpPr/>
              <p:nvPr/>
            </p:nvSpPr>
            <p:spPr>
              <a:xfrm rot="-5400000">
                <a:off x="10654635" y="7010498"/>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5" name="Google Shape;185;p23"/>
              <p:cNvSpPr/>
              <p:nvPr/>
            </p:nvSpPr>
            <p:spPr>
              <a:xfrm rot="-5400000">
                <a:off x="10647776" y="6979991"/>
                <a:ext cx="41027" cy="46516"/>
              </a:xfrm>
              <a:custGeom>
                <a:avLst/>
                <a:gdLst/>
                <a:ahLst/>
                <a:cxnLst/>
                <a:rect l="l" t="t" r="r" b="b"/>
                <a:pathLst>
                  <a:path w="41027" h="46516" extrusionOk="0">
                    <a:moveTo>
                      <a:pt x="36570" y="3664"/>
                    </a:moveTo>
                    <a:cubicBezTo>
                      <a:pt x="39531" y="6127"/>
                      <a:pt x="41028" y="10211"/>
                      <a:pt x="41028" y="15901"/>
                    </a:cubicBezTo>
                    <a:lnTo>
                      <a:pt x="41028" y="46517"/>
                    </a:lnTo>
                    <a:lnTo>
                      <a:pt x="28854" y="46517"/>
                    </a:lnTo>
                    <a:lnTo>
                      <a:pt x="28854" y="18863"/>
                    </a:lnTo>
                    <a:cubicBezTo>
                      <a:pt x="28950" y="16981"/>
                      <a:pt x="28626" y="15101"/>
                      <a:pt x="27903" y="13360"/>
                    </a:cubicBezTo>
                    <a:cubicBezTo>
                      <a:pt x="26734" y="11038"/>
                      <a:pt x="24536" y="9869"/>
                      <a:pt x="21278" y="9869"/>
                    </a:cubicBezTo>
                    <a:cubicBezTo>
                      <a:pt x="17707" y="9588"/>
                      <a:pt x="14369" y="11668"/>
                      <a:pt x="13047" y="14997"/>
                    </a:cubicBezTo>
                    <a:cubicBezTo>
                      <a:pt x="12196" y="17202"/>
                      <a:pt x="11799" y="19556"/>
                      <a:pt x="11878" y="21918"/>
                    </a:cubicBezTo>
                    <a:lnTo>
                      <a:pt x="11878" y="46517"/>
                    </a:lnTo>
                    <a:lnTo>
                      <a:pt x="0" y="46517"/>
                    </a:lnTo>
                    <a:lnTo>
                      <a:pt x="0" y="1155"/>
                    </a:lnTo>
                    <a:lnTo>
                      <a:pt x="11504" y="1155"/>
                    </a:lnTo>
                    <a:lnTo>
                      <a:pt x="11504" y="7811"/>
                    </a:lnTo>
                    <a:cubicBezTo>
                      <a:pt x="12656" y="5901"/>
                      <a:pt x="14115" y="4195"/>
                      <a:pt x="15822" y="2760"/>
                    </a:cubicBezTo>
                    <a:cubicBezTo>
                      <a:pt x="18522" y="851"/>
                      <a:pt x="21777" y="-114"/>
                      <a:pt x="25081" y="17"/>
                    </a:cubicBezTo>
                    <a:cubicBezTo>
                      <a:pt x="29221" y="-164"/>
                      <a:pt x="33292" y="1128"/>
                      <a:pt x="36570"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 name="Google Shape;186;p23"/>
              <p:cNvSpPr/>
              <p:nvPr/>
            </p:nvSpPr>
            <p:spPr>
              <a:xfrm rot="-5400000">
                <a:off x="10646435" y="6930030"/>
                <a:ext cx="43636" cy="46747"/>
              </a:xfrm>
              <a:custGeom>
                <a:avLst/>
                <a:gdLst/>
                <a:ahLst/>
                <a:cxnLst/>
                <a:rect l="l" t="t" r="r" b="b"/>
                <a:pathLst>
                  <a:path w="43636" h="46747" extrusionOk="0">
                    <a:moveTo>
                      <a:pt x="32111" y="2070"/>
                    </a:moveTo>
                    <a:cubicBezTo>
                      <a:pt x="35215" y="3467"/>
                      <a:pt x="37854" y="5723"/>
                      <a:pt x="39718" y="8570"/>
                    </a:cubicBezTo>
                    <a:cubicBezTo>
                      <a:pt x="41567" y="11297"/>
                      <a:pt x="42768" y="14411"/>
                      <a:pt x="43226" y="17674"/>
                    </a:cubicBezTo>
                    <a:cubicBezTo>
                      <a:pt x="43580" y="20569"/>
                      <a:pt x="43706" y="23488"/>
                      <a:pt x="43600" y="26403"/>
                    </a:cubicBezTo>
                    <a:lnTo>
                      <a:pt x="11535" y="26403"/>
                    </a:lnTo>
                    <a:cubicBezTo>
                      <a:pt x="11707" y="30815"/>
                      <a:pt x="13250" y="33917"/>
                      <a:pt x="16134" y="35756"/>
                    </a:cubicBezTo>
                    <a:cubicBezTo>
                      <a:pt x="18045" y="36908"/>
                      <a:pt x="20247" y="37487"/>
                      <a:pt x="22478" y="37424"/>
                    </a:cubicBezTo>
                    <a:cubicBezTo>
                      <a:pt x="24782" y="37530"/>
                      <a:pt x="27047" y="36812"/>
                      <a:pt x="28869" y="35398"/>
                    </a:cubicBezTo>
                    <a:cubicBezTo>
                      <a:pt x="29850" y="34559"/>
                      <a:pt x="30651" y="33530"/>
                      <a:pt x="31223" y="32374"/>
                    </a:cubicBezTo>
                    <a:lnTo>
                      <a:pt x="43023" y="32374"/>
                    </a:lnTo>
                    <a:cubicBezTo>
                      <a:pt x="42488" y="35413"/>
                      <a:pt x="40992" y="38200"/>
                      <a:pt x="38752" y="40324"/>
                    </a:cubicBezTo>
                    <a:cubicBezTo>
                      <a:pt x="34808" y="44611"/>
                      <a:pt x="29306" y="46746"/>
                      <a:pt x="22197" y="46746"/>
                    </a:cubicBezTo>
                    <a:cubicBezTo>
                      <a:pt x="16558" y="46814"/>
                      <a:pt x="11074" y="44900"/>
                      <a:pt x="6703" y="41337"/>
                    </a:cubicBezTo>
                    <a:cubicBezTo>
                      <a:pt x="2234" y="37721"/>
                      <a:pt x="0" y="31849"/>
                      <a:pt x="0" y="23722"/>
                    </a:cubicBezTo>
                    <a:cubicBezTo>
                      <a:pt x="0" y="16105"/>
                      <a:pt x="2022" y="10259"/>
                      <a:pt x="6064" y="6185"/>
                    </a:cubicBezTo>
                    <a:cubicBezTo>
                      <a:pt x="10212" y="2046"/>
                      <a:pt x="15889" y="-189"/>
                      <a:pt x="21745" y="13"/>
                    </a:cubicBezTo>
                    <a:cubicBezTo>
                      <a:pt x="25307" y="-48"/>
                      <a:pt x="28843" y="654"/>
                      <a:pt x="32111" y="2070"/>
                    </a:cubicBezTo>
                    <a:close/>
                    <a:moveTo>
                      <a:pt x="14965" y="12000"/>
                    </a:moveTo>
                    <a:cubicBezTo>
                      <a:pt x="13208" y="13893"/>
                      <a:pt x="12115" y="16306"/>
                      <a:pt x="11847" y="18874"/>
                    </a:cubicBezTo>
                    <a:lnTo>
                      <a:pt x="31659" y="18874"/>
                    </a:lnTo>
                    <a:cubicBezTo>
                      <a:pt x="31622" y="16226"/>
                      <a:pt x="30493" y="13711"/>
                      <a:pt x="28542" y="11922"/>
                    </a:cubicBezTo>
                    <a:cubicBezTo>
                      <a:pt x="26648" y="10316"/>
                      <a:pt x="24229" y="9462"/>
                      <a:pt x="21745" y="9521"/>
                    </a:cubicBezTo>
                    <a:cubicBezTo>
                      <a:pt x="19240" y="9381"/>
                      <a:pt x="16788" y="10278"/>
                      <a:pt x="14965" y="120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87" name="Google Shape;187;p23"/>
            <p:cNvSpPr txBox="1"/>
            <p:nvPr/>
          </p:nvSpPr>
          <p:spPr>
            <a:xfrm rot="-5400000">
              <a:off x="9874832" y="6107266"/>
              <a:ext cx="1384995" cy="97271"/>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IN" sz="702" b="0" i="0" u="none" strike="noStrike" cap="none">
                  <a:solidFill>
                    <a:schemeClr val="lt2"/>
                  </a:solidFill>
                  <a:latin typeface="Calibri"/>
                  <a:ea typeface="Calibri"/>
                  <a:cs typeface="Calibri"/>
                  <a:sym typeface="Calibri"/>
                </a:rPr>
                <a:t>Copyright © 2022. All rights reserved.</a:t>
              </a:r>
              <a:endParaRPr/>
            </a:p>
          </p:txBody>
        </p:sp>
      </p:gr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Custom Layout">
  <p:cSld name="Custom Layout">
    <p:spTree>
      <p:nvGrpSpPr>
        <p:cNvPr id="1" name="Shape 188"/>
        <p:cNvGrpSpPr/>
        <p:nvPr/>
      </p:nvGrpSpPr>
      <p:grpSpPr>
        <a:xfrm>
          <a:off x="0" y="0"/>
          <a:ext cx="0" cy="0"/>
          <a:chOff x="0" y="0"/>
          <a:chExt cx="0" cy="0"/>
        </a:xfrm>
      </p:grpSpPr>
      <p:sp>
        <p:nvSpPr>
          <p:cNvPr id="189" name="Google Shape;189;p24"/>
          <p:cNvSpPr/>
          <p:nvPr/>
        </p:nvSpPr>
        <p:spPr>
          <a:xfrm>
            <a:off x="3" y="0"/>
            <a:ext cx="10691813" cy="7559675"/>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190" name="Google Shape;190;p24"/>
          <p:cNvSpPr txBox="1">
            <a:spLocks noGrp="1"/>
          </p:cNvSpPr>
          <p:nvPr>
            <p:ph type="ftr" idx="11"/>
          </p:nvPr>
        </p:nvSpPr>
        <p:spPr>
          <a:xfrm>
            <a:off x="483081" y="7135906"/>
            <a:ext cx="428002"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1" name="Google Shape;191;p24"/>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grpSp>
        <p:nvGrpSpPr>
          <p:cNvPr id="192" name="Google Shape;192;p24"/>
          <p:cNvGrpSpPr/>
          <p:nvPr/>
        </p:nvGrpSpPr>
        <p:grpSpPr>
          <a:xfrm>
            <a:off x="10518694" y="5440544"/>
            <a:ext cx="97271" cy="1816408"/>
            <a:chOff x="10518694" y="5463404"/>
            <a:chExt cx="97271" cy="1816408"/>
          </a:xfrm>
        </p:grpSpPr>
        <p:grpSp>
          <p:nvGrpSpPr>
            <p:cNvPr id="193" name="Google Shape;193;p24"/>
            <p:cNvGrpSpPr/>
            <p:nvPr/>
          </p:nvGrpSpPr>
          <p:grpSpPr>
            <a:xfrm>
              <a:off x="10530628" y="6878757"/>
              <a:ext cx="62166" cy="401056"/>
              <a:chOff x="10629461" y="6878757"/>
              <a:chExt cx="62166" cy="401056"/>
            </a:xfrm>
          </p:grpSpPr>
          <p:sp>
            <p:nvSpPr>
              <p:cNvPr id="194" name="Google Shape;194;p24"/>
              <p:cNvSpPr/>
              <p:nvPr/>
            </p:nvSpPr>
            <p:spPr>
              <a:xfrm rot="-5400000">
                <a:off x="10688095" y="7163862"/>
                <a:ext cx="15" cy="1558"/>
              </a:xfrm>
              <a:custGeom>
                <a:avLst/>
                <a:gdLst/>
                <a:ahLst/>
                <a:cxnLst/>
                <a:rect l="l" t="t" r="r" b="b"/>
                <a:pathLst>
                  <a:path w="15" h="1558" extrusionOk="0">
                    <a:moveTo>
                      <a:pt x="0" y="0"/>
                    </a:moveTo>
                    <a:lnTo>
                      <a:pt x="16" y="0"/>
                    </a:lnTo>
                    <a:lnTo>
                      <a:pt x="16" y="0"/>
                    </a:lnTo>
                    <a:lnTo>
                      <a:pt x="0" y="0"/>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5" name="Google Shape;195;p24"/>
              <p:cNvSpPr/>
              <p:nvPr/>
            </p:nvSpPr>
            <p:spPr>
              <a:xfrm rot="-5400000">
                <a:off x="10652401" y="7145302"/>
                <a:ext cx="411" cy="246"/>
              </a:xfrm>
              <a:custGeom>
                <a:avLst/>
                <a:gdLst/>
                <a:ahLst/>
                <a:cxnLst/>
                <a:rect l="l" t="t" r="r" b="b"/>
                <a:pathLst>
                  <a:path w="411" h="246" extrusionOk="0">
                    <a:moveTo>
                      <a:pt x="0" y="0"/>
                    </a:moveTo>
                    <a:cubicBezTo>
                      <a:pt x="234" y="156"/>
                      <a:pt x="452" y="312"/>
                      <a:pt x="405" y="218"/>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 name="Google Shape;196;p24"/>
              <p:cNvSpPr/>
              <p:nvPr/>
            </p:nvSpPr>
            <p:spPr>
              <a:xfrm rot="-5400000">
                <a:off x="10652556" y="7165151"/>
                <a:ext cx="13" cy="69"/>
              </a:xfrm>
              <a:custGeom>
                <a:avLst/>
                <a:gdLst/>
                <a:ahLst/>
                <a:cxnLst/>
                <a:rect l="l" t="t" r="r" b="b"/>
                <a:pathLst>
                  <a:path w="13" h="69" extrusionOk="0">
                    <a:moveTo>
                      <a:pt x="14" y="35"/>
                    </a:moveTo>
                    <a:cubicBezTo>
                      <a:pt x="14" y="35"/>
                      <a:pt x="14" y="-43"/>
                      <a:pt x="14" y="35"/>
                    </a:cubicBezTo>
                    <a:cubicBezTo>
                      <a:pt x="14" y="113"/>
                      <a:pt x="-17" y="35"/>
                      <a:pt x="14" y="35"/>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7" name="Google Shape;197;p24"/>
              <p:cNvSpPr/>
              <p:nvPr/>
            </p:nvSpPr>
            <p:spPr>
              <a:xfrm rot="-5400000">
                <a:off x="10650495" y="7161416"/>
                <a:ext cx="237" cy="93"/>
              </a:xfrm>
              <a:custGeom>
                <a:avLst/>
                <a:gdLst/>
                <a:ahLst/>
                <a:cxnLst/>
                <a:rect l="l" t="t" r="r" b="b"/>
                <a:pathLst>
                  <a:path w="237" h="93" extrusionOk="0">
                    <a:moveTo>
                      <a:pt x="238" y="0"/>
                    </a:moveTo>
                    <a:lnTo>
                      <a:pt x="50" y="94"/>
                    </a:lnTo>
                    <a:cubicBezTo>
                      <a:pt x="160" y="94"/>
                      <a:pt x="-105" y="94"/>
                      <a:pt x="50" y="9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8" name="Google Shape;198;p24"/>
              <p:cNvSpPr/>
              <p:nvPr/>
            </p:nvSpPr>
            <p:spPr>
              <a:xfrm rot="-5400000">
                <a:off x="10645049" y="7132879"/>
                <a:ext cx="46577" cy="46577"/>
              </a:xfrm>
              <a:custGeom>
                <a:avLst/>
                <a:gdLst/>
                <a:ahLst/>
                <a:cxnLst/>
                <a:rect l="l" t="t" r="r" b="b"/>
                <a:pathLst>
                  <a:path w="46577" h="46577" extrusionOk="0">
                    <a:moveTo>
                      <a:pt x="23289" y="0"/>
                    </a:moveTo>
                    <a:cubicBezTo>
                      <a:pt x="10427" y="0"/>
                      <a:pt x="0" y="10427"/>
                      <a:pt x="0" y="23289"/>
                    </a:cubicBezTo>
                    <a:cubicBezTo>
                      <a:pt x="0" y="36151"/>
                      <a:pt x="10427" y="46578"/>
                      <a:pt x="23289" y="46578"/>
                    </a:cubicBezTo>
                    <a:cubicBezTo>
                      <a:pt x="36151" y="46578"/>
                      <a:pt x="46577" y="36151"/>
                      <a:pt x="46577" y="23289"/>
                    </a:cubicBezTo>
                    <a:cubicBezTo>
                      <a:pt x="46577" y="23273"/>
                      <a:pt x="46577" y="23258"/>
                      <a:pt x="46577" y="23242"/>
                    </a:cubicBezTo>
                    <a:cubicBezTo>
                      <a:pt x="46569" y="10397"/>
                      <a:pt x="36149" y="-9"/>
                      <a:pt x="23304" y="0"/>
                    </a:cubicBezTo>
                    <a:cubicBezTo>
                      <a:pt x="23299" y="0"/>
                      <a:pt x="23294" y="0"/>
                      <a:pt x="23289" y="0"/>
                    </a:cubicBezTo>
                    <a:close/>
                    <a:moveTo>
                      <a:pt x="24473" y="14201"/>
                    </a:moveTo>
                    <a:cubicBezTo>
                      <a:pt x="24380" y="14201"/>
                      <a:pt x="24473" y="14326"/>
                      <a:pt x="24473" y="14372"/>
                    </a:cubicBezTo>
                    <a:cubicBezTo>
                      <a:pt x="24407" y="14358"/>
                      <a:pt x="24337" y="14358"/>
                      <a:pt x="24271" y="14372"/>
                    </a:cubicBezTo>
                    <a:cubicBezTo>
                      <a:pt x="24411" y="14372"/>
                      <a:pt x="24629" y="14559"/>
                      <a:pt x="24442" y="14669"/>
                    </a:cubicBezTo>
                    <a:cubicBezTo>
                      <a:pt x="24255" y="14778"/>
                      <a:pt x="24520" y="14669"/>
                      <a:pt x="24536" y="14669"/>
                    </a:cubicBezTo>
                    <a:cubicBezTo>
                      <a:pt x="24660" y="14388"/>
                      <a:pt x="25034" y="14778"/>
                      <a:pt x="24769" y="14965"/>
                    </a:cubicBezTo>
                    <a:lnTo>
                      <a:pt x="24769" y="14965"/>
                    </a:lnTo>
                    <a:cubicBezTo>
                      <a:pt x="24769" y="14965"/>
                      <a:pt x="24769" y="14965"/>
                      <a:pt x="24769" y="14965"/>
                    </a:cubicBezTo>
                    <a:lnTo>
                      <a:pt x="24769" y="14965"/>
                    </a:lnTo>
                    <a:cubicBezTo>
                      <a:pt x="24769" y="14965"/>
                      <a:pt x="24676" y="14965"/>
                      <a:pt x="24645" y="14965"/>
                    </a:cubicBezTo>
                    <a:cubicBezTo>
                      <a:pt x="24614" y="14965"/>
                      <a:pt x="24645" y="14965"/>
                      <a:pt x="24645" y="15058"/>
                    </a:cubicBezTo>
                    <a:cubicBezTo>
                      <a:pt x="24645" y="15152"/>
                      <a:pt x="24754" y="15058"/>
                      <a:pt x="24645" y="15058"/>
                    </a:cubicBezTo>
                    <a:cubicBezTo>
                      <a:pt x="24536" y="15058"/>
                      <a:pt x="24769" y="15058"/>
                      <a:pt x="24847" y="15058"/>
                    </a:cubicBezTo>
                    <a:cubicBezTo>
                      <a:pt x="24925" y="15058"/>
                      <a:pt x="24754" y="15167"/>
                      <a:pt x="24754" y="15245"/>
                    </a:cubicBezTo>
                    <a:cubicBezTo>
                      <a:pt x="24754" y="15323"/>
                      <a:pt x="24317" y="15370"/>
                      <a:pt x="24271" y="15245"/>
                    </a:cubicBezTo>
                    <a:cubicBezTo>
                      <a:pt x="24224" y="15121"/>
                      <a:pt x="23865" y="15245"/>
                      <a:pt x="23663" y="15339"/>
                    </a:cubicBezTo>
                    <a:cubicBezTo>
                      <a:pt x="23460" y="15432"/>
                      <a:pt x="23663" y="15542"/>
                      <a:pt x="23476" y="15417"/>
                    </a:cubicBezTo>
                    <a:cubicBezTo>
                      <a:pt x="23289" y="15292"/>
                      <a:pt x="23242" y="15417"/>
                      <a:pt x="23195" y="15557"/>
                    </a:cubicBezTo>
                    <a:cubicBezTo>
                      <a:pt x="23148" y="15697"/>
                      <a:pt x="23195" y="15557"/>
                      <a:pt x="23055" y="15557"/>
                    </a:cubicBezTo>
                    <a:cubicBezTo>
                      <a:pt x="23189" y="15454"/>
                      <a:pt x="23315" y="15339"/>
                      <a:pt x="23429" y="15214"/>
                    </a:cubicBezTo>
                    <a:cubicBezTo>
                      <a:pt x="23429" y="15058"/>
                      <a:pt x="23647" y="15214"/>
                      <a:pt x="23772" y="15214"/>
                    </a:cubicBezTo>
                    <a:cubicBezTo>
                      <a:pt x="23897" y="15214"/>
                      <a:pt x="23865" y="15074"/>
                      <a:pt x="23912" y="15012"/>
                    </a:cubicBezTo>
                    <a:cubicBezTo>
                      <a:pt x="23959" y="14949"/>
                      <a:pt x="23678" y="15214"/>
                      <a:pt x="23600" y="15089"/>
                    </a:cubicBezTo>
                    <a:cubicBezTo>
                      <a:pt x="23522" y="14965"/>
                      <a:pt x="23367" y="15089"/>
                      <a:pt x="23507" y="15089"/>
                    </a:cubicBezTo>
                    <a:cubicBezTo>
                      <a:pt x="23647" y="15089"/>
                      <a:pt x="23382" y="15089"/>
                      <a:pt x="23289" y="15089"/>
                    </a:cubicBezTo>
                    <a:lnTo>
                      <a:pt x="23289" y="15089"/>
                    </a:lnTo>
                    <a:cubicBezTo>
                      <a:pt x="23289" y="15089"/>
                      <a:pt x="23289" y="15089"/>
                      <a:pt x="23289" y="15089"/>
                    </a:cubicBezTo>
                    <a:cubicBezTo>
                      <a:pt x="23522" y="15012"/>
                      <a:pt x="23632" y="14949"/>
                      <a:pt x="23600" y="14715"/>
                    </a:cubicBezTo>
                    <a:lnTo>
                      <a:pt x="23444" y="14715"/>
                    </a:lnTo>
                    <a:cubicBezTo>
                      <a:pt x="23554" y="14606"/>
                      <a:pt x="23709" y="14466"/>
                      <a:pt x="23865" y="14575"/>
                    </a:cubicBezTo>
                    <a:cubicBezTo>
                      <a:pt x="23741" y="14419"/>
                      <a:pt x="23865" y="14575"/>
                      <a:pt x="23865" y="14575"/>
                    </a:cubicBezTo>
                    <a:cubicBezTo>
                      <a:pt x="23865" y="14575"/>
                      <a:pt x="23772" y="14372"/>
                      <a:pt x="23865" y="14326"/>
                    </a:cubicBezTo>
                    <a:cubicBezTo>
                      <a:pt x="23959" y="14279"/>
                      <a:pt x="23865" y="14201"/>
                      <a:pt x="23772" y="14326"/>
                    </a:cubicBezTo>
                    <a:lnTo>
                      <a:pt x="23772" y="14326"/>
                    </a:lnTo>
                    <a:cubicBezTo>
                      <a:pt x="23647" y="14326"/>
                      <a:pt x="23772" y="14045"/>
                      <a:pt x="23772" y="14061"/>
                    </a:cubicBezTo>
                    <a:cubicBezTo>
                      <a:pt x="23616" y="14061"/>
                      <a:pt x="23585" y="14170"/>
                      <a:pt x="23444" y="14061"/>
                    </a:cubicBezTo>
                    <a:cubicBezTo>
                      <a:pt x="23304" y="13952"/>
                      <a:pt x="23444" y="14061"/>
                      <a:pt x="23444" y="14154"/>
                    </a:cubicBezTo>
                    <a:cubicBezTo>
                      <a:pt x="23444" y="14248"/>
                      <a:pt x="23289" y="14029"/>
                      <a:pt x="23335" y="14154"/>
                    </a:cubicBezTo>
                    <a:cubicBezTo>
                      <a:pt x="23382" y="14279"/>
                      <a:pt x="23335" y="14061"/>
                      <a:pt x="23335" y="14029"/>
                    </a:cubicBezTo>
                    <a:lnTo>
                      <a:pt x="23335" y="14029"/>
                    </a:lnTo>
                    <a:cubicBezTo>
                      <a:pt x="23335" y="14029"/>
                      <a:pt x="23335" y="13874"/>
                      <a:pt x="23429" y="13827"/>
                    </a:cubicBezTo>
                    <a:cubicBezTo>
                      <a:pt x="23522" y="13780"/>
                      <a:pt x="23335" y="13640"/>
                      <a:pt x="23429" y="13671"/>
                    </a:cubicBezTo>
                    <a:cubicBezTo>
                      <a:pt x="23522" y="13702"/>
                      <a:pt x="23429" y="13671"/>
                      <a:pt x="23429" y="13577"/>
                    </a:cubicBezTo>
                    <a:cubicBezTo>
                      <a:pt x="23429" y="13484"/>
                      <a:pt x="23429" y="13655"/>
                      <a:pt x="23429" y="13687"/>
                    </a:cubicBezTo>
                    <a:lnTo>
                      <a:pt x="23429" y="13687"/>
                    </a:lnTo>
                    <a:cubicBezTo>
                      <a:pt x="23429" y="13687"/>
                      <a:pt x="23429" y="13687"/>
                      <a:pt x="23429" y="13687"/>
                    </a:cubicBezTo>
                    <a:cubicBezTo>
                      <a:pt x="23429" y="13687"/>
                      <a:pt x="23429" y="13687"/>
                      <a:pt x="23429" y="13687"/>
                    </a:cubicBezTo>
                    <a:cubicBezTo>
                      <a:pt x="23425" y="13770"/>
                      <a:pt x="23425" y="13853"/>
                      <a:pt x="23429" y="13936"/>
                    </a:cubicBezTo>
                    <a:cubicBezTo>
                      <a:pt x="23335" y="13936"/>
                      <a:pt x="23429" y="13811"/>
                      <a:pt x="23429" y="13764"/>
                    </a:cubicBezTo>
                    <a:cubicBezTo>
                      <a:pt x="23429" y="13718"/>
                      <a:pt x="23429" y="13484"/>
                      <a:pt x="23522" y="13453"/>
                    </a:cubicBezTo>
                    <a:cubicBezTo>
                      <a:pt x="23616" y="13422"/>
                      <a:pt x="23522" y="13453"/>
                      <a:pt x="23522" y="13453"/>
                    </a:cubicBezTo>
                    <a:cubicBezTo>
                      <a:pt x="23522" y="13453"/>
                      <a:pt x="23413" y="13593"/>
                      <a:pt x="23351" y="13453"/>
                    </a:cubicBezTo>
                    <a:cubicBezTo>
                      <a:pt x="23289" y="13312"/>
                      <a:pt x="23351" y="13453"/>
                      <a:pt x="23351" y="13453"/>
                    </a:cubicBezTo>
                    <a:cubicBezTo>
                      <a:pt x="23351" y="13453"/>
                      <a:pt x="23351" y="13328"/>
                      <a:pt x="23476" y="13375"/>
                    </a:cubicBezTo>
                    <a:cubicBezTo>
                      <a:pt x="23600" y="13422"/>
                      <a:pt x="23476" y="13375"/>
                      <a:pt x="23476" y="13375"/>
                    </a:cubicBezTo>
                    <a:cubicBezTo>
                      <a:pt x="23476" y="13375"/>
                      <a:pt x="23476" y="13375"/>
                      <a:pt x="23476" y="13375"/>
                    </a:cubicBezTo>
                    <a:cubicBezTo>
                      <a:pt x="23476" y="13375"/>
                      <a:pt x="23476" y="13375"/>
                      <a:pt x="23476" y="13375"/>
                    </a:cubicBezTo>
                    <a:cubicBezTo>
                      <a:pt x="23476" y="13375"/>
                      <a:pt x="23476" y="13375"/>
                      <a:pt x="23476" y="13375"/>
                    </a:cubicBezTo>
                    <a:lnTo>
                      <a:pt x="23476" y="13375"/>
                    </a:lnTo>
                    <a:lnTo>
                      <a:pt x="23476" y="13297"/>
                    </a:lnTo>
                    <a:cubicBezTo>
                      <a:pt x="23476" y="13297"/>
                      <a:pt x="23476" y="13297"/>
                      <a:pt x="23476" y="13297"/>
                    </a:cubicBezTo>
                    <a:cubicBezTo>
                      <a:pt x="23476" y="13297"/>
                      <a:pt x="23476" y="13219"/>
                      <a:pt x="23476" y="13172"/>
                    </a:cubicBezTo>
                    <a:lnTo>
                      <a:pt x="23476" y="13172"/>
                    </a:lnTo>
                    <a:cubicBezTo>
                      <a:pt x="23476" y="13172"/>
                      <a:pt x="23476" y="13172"/>
                      <a:pt x="23476" y="13172"/>
                    </a:cubicBezTo>
                    <a:cubicBezTo>
                      <a:pt x="23476" y="13172"/>
                      <a:pt x="23476" y="13172"/>
                      <a:pt x="23569" y="13172"/>
                    </a:cubicBezTo>
                    <a:cubicBezTo>
                      <a:pt x="23574" y="13146"/>
                      <a:pt x="23574" y="13120"/>
                      <a:pt x="23569" y="13094"/>
                    </a:cubicBezTo>
                    <a:cubicBezTo>
                      <a:pt x="23569" y="13094"/>
                      <a:pt x="23678" y="12782"/>
                      <a:pt x="23709" y="12969"/>
                    </a:cubicBezTo>
                    <a:cubicBezTo>
                      <a:pt x="23741" y="13157"/>
                      <a:pt x="23709" y="12969"/>
                      <a:pt x="23709" y="12969"/>
                    </a:cubicBezTo>
                    <a:cubicBezTo>
                      <a:pt x="24084" y="12829"/>
                      <a:pt x="23990" y="12969"/>
                      <a:pt x="23709" y="13188"/>
                    </a:cubicBezTo>
                    <a:lnTo>
                      <a:pt x="23709" y="13188"/>
                    </a:lnTo>
                    <a:cubicBezTo>
                      <a:pt x="23507" y="13375"/>
                      <a:pt x="23928" y="13188"/>
                      <a:pt x="24037" y="13188"/>
                    </a:cubicBezTo>
                    <a:cubicBezTo>
                      <a:pt x="24146" y="13188"/>
                      <a:pt x="24037" y="13640"/>
                      <a:pt x="23834" y="13609"/>
                    </a:cubicBezTo>
                    <a:cubicBezTo>
                      <a:pt x="23632" y="13577"/>
                      <a:pt x="23834" y="13609"/>
                      <a:pt x="23834" y="13609"/>
                    </a:cubicBezTo>
                    <a:cubicBezTo>
                      <a:pt x="23834" y="13609"/>
                      <a:pt x="23694" y="13733"/>
                      <a:pt x="23600" y="13609"/>
                    </a:cubicBezTo>
                    <a:cubicBezTo>
                      <a:pt x="23654" y="13665"/>
                      <a:pt x="23743" y="13666"/>
                      <a:pt x="23799" y="13613"/>
                    </a:cubicBezTo>
                    <a:cubicBezTo>
                      <a:pt x="23800" y="13612"/>
                      <a:pt x="23802" y="13610"/>
                      <a:pt x="23803" y="13609"/>
                    </a:cubicBezTo>
                    <a:cubicBezTo>
                      <a:pt x="24037" y="13702"/>
                      <a:pt x="24052" y="13952"/>
                      <a:pt x="24130" y="14139"/>
                    </a:cubicBezTo>
                    <a:cubicBezTo>
                      <a:pt x="24208" y="14326"/>
                      <a:pt x="24349" y="14107"/>
                      <a:pt x="24473" y="14170"/>
                    </a:cubicBezTo>
                    <a:close/>
                    <a:moveTo>
                      <a:pt x="16461" y="43086"/>
                    </a:moveTo>
                    <a:lnTo>
                      <a:pt x="16461" y="43086"/>
                    </a:lnTo>
                    <a:lnTo>
                      <a:pt x="16461" y="43086"/>
                    </a:lnTo>
                    <a:lnTo>
                      <a:pt x="16461" y="43086"/>
                    </a:lnTo>
                    <a:lnTo>
                      <a:pt x="16539" y="43086"/>
                    </a:lnTo>
                    <a:lnTo>
                      <a:pt x="16539" y="43086"/>
                    </a:lnTo>
                    <a:lnTo>
                      <a:pt x="16321" y="42961"/>
                    </a:lnTo>
                    <a:lnTo>
                      <a:pt x="16321" y="42961"/>
                    </a:lnTo>
                    <a:lnTo>
                      <a:pt x="16321" y="42961"/>
                    </a:lnTo>
                    <a:lnTo>
                      <a:pt x="16399" y="42961"/>
                    </a:lnTo>
                    <a:lnTo>
                      <a:pt x="16399" y="42961"/>
                    </a:lnTo>
                    <a:lnTo>
                      <a:pt x="16399" y="42961"/>
                    </a:lnTo>
                    <a:lnTo>
                      <a:pt x="16149" y="42852"/>
                    </a:lnTo>
                    <a:lnTo>
                      <a:pt x="16149" y="42852"/>
                    </a:lnTo>
                    <a:cubicBezTo>
                      <a:pt x="16149" y="42852"/>
                      <a:pt x="16149" y="42852"/>
                      <a:pt x="16149" y="42852"/>
                    </a:cubicBezTo>
                    <a:cubicBezTo>
                      <a:pt x="16120" y="42838"/>
                      <a:pt x="16085" y="42838"/>
                      <a:pt x="16056" y="42852"/>
                    </a:cubicBezTo>
                    <a:lnTo>
                      <a:pt x="16056" y="42852"/>
                    </a:lnTo>
                    <a:lnTo>
                      <a:pt x="16056" y="42852"/>
                    </a:lnTo>
                    <a:lnTo>
                      <a:pt x="16056" y="42852"/>
                    </a:lnTo>
                    <a:lnTo>
                      <a:pt x="16212" y="42852"/>
                    </a:lnTo>
                    <a:lnTo>
                      <a:pt x="16025" y="42852"/>
                    </a:lnTo>
                    <a:lnTo>
                      <a:pt x="16025" y="42852"/>
                    </a:lnTo>
                    <a:lnTo>
                      <a:pt x="15806" y="42759"/>
                    </a:lnTo>
                    <a:lnTo>
                      <a:pt x="15806" y="42759"/>
                    </a:lnTo>
                    <a:lnTo>
                      <a:pt x="15806" y="42759"/>
                    </a:lnTo>
                    <a:lnTo>
                      <a:pt x="15682" y="42759"/>
                    </a:lnTo>
                    <a:lnTo>
                      <a:pt x="15853" y="42852"/>
                    </a:lnTo>
                    <a:lnTo>
                      <a:pt x="15604" y="42727"/>
                    </a:lnTo>
                    <a:lnTo>
                      <a:pt x="15604" y="42727"/>
                    </a:lnTo>
                    <a:lnTo>
                      <a:pt x="15760" y="42727"/>
                    </a:lnTo>
                    <a:lnTo>
                      <a:pt x="15635" y="42727"/>
                    </a:lnTo>
                    <a:lnTo>
                      <a:pt x="15760" y="42727"/>
                    </a:lnTo>
                    <a:lnTo>
                      <a:pt x="15526" y="42618"/>
                    </a:lnTo>
                    <a:lnTo>
                      <a:pt x="15526" y="42618"/>
                    </a:lnTo>
                    <a:lnTo>
                      <a:pt x="15432" y="42618"/>
                    </a:lnTo>
                    <a:lnTo>
                      <a:pt x="15432" y="42618"/>
                    </a:lnTo>
                    <a:lnTo>
                      <a:pt x="15230" y="42525"/>
                    </a:lnTo>
                    <a:lnTo>
                      <a:pt x="15230" y="42525"/>
                    </a:lnTo>
                    <a:lnTo>
                      <a:pt x="15152" y="42525"/>
                    </a:lnTo>
                    <a:lnTo>
                      <a:pt x="15152" y="42525"/>
                    </a:lnTo>
                    <a:cubicBezTo>
                      <a:pt x="15026" y="42475"/>
                      <a:pt x="14906" y="42412"/>
                      <a:pt x="14793" y="42338"/>
                    </a:cubicBezTo>
                    <a:lnTo>
                      <a:pt x="14793" y="42338"/>
                    </a:lnTo>
                    <a:lnTo>
                      <a:pt x="14637" y="42244"/>
                    </a:lnTo>
                    <a:lnTo>
                      <a:pt x="14778" y="42338"/>
                    </a:lnTo>
                    <a:lnTo>
                      <a:pt x="14466" y="42166"/>
                    </a:lnTo>
                    <a:lnTo>
                      <a:pt x="14466" y="42166"/>
                    </a:lnTo>
                    <a:lnTo>
                      <a:pt x="14372" y="42166"/>
                    </a:lnTo>
                    <a:lnTo>
                      <a:pt x="14372" y="42166"/>
                    </a:lnTo>
                    <a:lnTo>
                      <a:pt x="14216" y="42073"/>
                    </a:lnTo>
                    <a:lnTo>
                      <a:pt x="14216" y="42073"/>
                    </a:lnTo>
                    <a:lnTo>
                      <a:pt x="14216" y="42073"/>
                    </a:lnTo>
                    <a:lnTo>
                      <a:pt x="14216" y="42073"/>
                    </a:lnTo>
                    <a:lnTo>
                      <a:pt x="14076" y="41995"/>
                    </a:lnTo>
                    <a:lnTo>
                      <a:pt x="14076" y="41995"/>
                    </a:lnTo>
                    <a:lnTo>
                      <a:pt x="13920" y="41886"/>
                    </a:lnTo>
                    <a:lnTo>
                      <a:pt x="13920" y="41886"/>
                    </a:lnTo>
                    <a:lnTo>
                      <a:pt x="13795" y="41886"/>
                    </a:lnTo>
                    <a:lnTo>
                      <a:pt x="13795" y="41886"/>
                    </a:lnTo>
                    <a:cubicBezTo>
                      <a:pt x="13760" y="41896"/>
                      <a:pt x="13722" y="41896"/>
                      <a:pt x="13686" y="41886"/>
                    </a:cubicBezTo>
                    <a:lnTo>
                      <a:pt x="13686" y="41886"/>
                    </a:lnTo>
                    <a:lnTo>
                      <a:pt x="13811" y="41964"/>
                    </a:lnTo>
                    <a:lnTo>
                      <a:pt x="13686" y="41886"/>
                    </a:lnTo>
                    <a:lnTo>
                      <a:pt x="13686" y="41886"/>
                    </a:lnTo>
                    <a:lnTo>
                      <a:pt x="13577" y="41886"/>
                    </a:lnTo>
                    <a:lnTo>
                      <a:pt x="13577" y="41886"/>
                    </a:lnTo>
                    <a:lnTo>
                      <a:pt x="13453" y="41808"/>
                    </a:lnTo>
                    <a:cubicBezTo>
                      <a:pt x="13513" y="41833"/>
                      <a:pt x="13570" y="41864"/>
                      <a:pt x="13624" y="41901"/>
                    </a:cubicBezTo>
                    <a:cubicBezTo>
                      <a:pt x="13624" y="41901"/>
                      <a:pt x="13749" y="41995"/>
                      <a:pt x="13780" y="41995"/>
                    </a:cubicBezTo>
                    <a:lnTo>
                      <a:pt x="13359" y="41699"/>
                    </a:lnTo>
                    <a:lnTo>
                      <a:pt x="13359" y="41699"/>
                    </a:lnTo>
                    <a:cubicBezTo>
                      <a:pt x="13110" y="41496"/>
                      <a:pt x="12829" y="41324"/>
                      <a:pt x="12595" y="41122"/>
                    </a:cubicBezTo>
                    <a:lnTo>
                      <a:pt x="12689" y="41122"/>
                    </a:lnTo>
                    <a:lnTo>
                      <a:pt x="12548" y="41013"/>
                    </a:lnTo>
                    <a:lnTo>
                      <a:pt x="12548" y="41013"/>
                    </a:lnTo>
                    <a:cubicBezTo>
                      <a:pt x="12548" y="41013"/>
                      <a:pt x="12548" y="41013"/>
                      <a:pt x="12455" y="41013"/>
                    </a:cubicBezTo>
                    <a:lnTo>
                      <a:pt x="12455" y="41013"/>
                    </a:lnTo>
                    <a:lnTo>
                      <a:pt x="12455" y="41013"/>
                    </a:lnTo>
                    <a:lnTo>
                      <a:pt x="12455" y="41013"/>
                    </a:lnTo>
                    <a:cubicBezTo>
                      <a:pt x="12251" y="40890"/>
                      <a:pt x="12063" y="40743"/>
                      <a:pt x="11894" y="40576"/>
                    </a:cubicBezTo>
                    <a:lnTo>
                      <a:pt x="11894" y="40576"/>
                    </a:lnTo>
                    <a:cubicBezTo>
                      <a:pt x="11675" y="40342"/>
                      <a:pt x="11410" y="40171"/>
                      <a:pt x="11177" y="39953"/>
                    </a:cubicBezTo>
                    <a:cubicBezTo>
                      <a:pt x="11177" y="39953"/>
                      <a:pt x="11177" y="39953"/>
                      <a:pt x="11177" y="39953"/>
                    </a:cubicBezTo>
                    <a:cubicBezTo>
                      <a:pt x="10229" y="38961"/>
                      <a:pt x="9393" y="37869"/>
                      <a:pt x="8683" y="36695"/>
                    </a:cubicBezTo>
                    <a:lnTo>
                      <a:pt x="8683" y="36695"/>
                    </a:lnTo>
                    <a:cubicBezTo>
                      <a:pt x="8363" y="35817"/>
                      <a:pt x="7887" y="35004"/>
                      <a:pt x="7280" y="34294"/>
                    </a:cubicBezTo>
                    <a:lnTo>
                      <a:pt x="7280" y="34294"/>
                    </a:lnTo>
                    <a:cubicBezTo>
                      <a:pt x="6307" y="33179"/>
                      <a:pt x="5626" y="31840"/>
                      <a:pt x="5300" y="30397"/>
                    </a:cubicBezTo>
                    <a:cubicBezTo>
                      <a:pt x="5300" y="30397"/>
                      <a:pt x="5300" y="30397"/>
                      <a:pt x="5300" y="30475"/>
                    </a:cubicBezTo>
                    <a:cubicBezTo>
                      <a:pt x="5309" y="30444"/>
                      <a:pt x="5309" y="30412"/>
                      <a:pt x="5300" y="30382"/>
                    </a:cubicBezTo>
                    <a:cubicBezTo>
                      <a:pt x="5300" y="30382"/>
                      <a:pt x="5300" y="30475"/>
                      <a:pt x="5300" y="30506"/>
                    </a:cubicBezTo>
                    <a:cubicBezTo>
                      <a:pt x="5082" y="30132"/>
                      <a:pt x="5160" y="25830"/>
                      <a:pt x="4739" y="27498"/>
                    </a:cubicBezTo>
                    <a:cubicBezTo>
                      <a:pt x="4739" y="27498"/>
                      <a:pt x="4739" y="27311"/>
                      <a:pt x="4739" y="27264"/>
                    </a:cubicBezTo>
                    <a:cubicBezTo>
                      <a:pt x="4739" y="27217"/>
                      <a:pt x="4739" y="27264"/>
                      <a:pt x="4739" y="27342"/>
                    </a:cubicBezTo>
                    <a:cubicBezTo>
                      <a:pt x="4739" y="27420"/>
                      <a:pt x="4739" y="27124"/>
                      <a:pt x="4598" y="27030"/>
                    </a:cubicBezTo>
                    <a:cubicBezTo>
                      <a:pt x="4458" y="26937"/>
                      <a:pt x="4598" y="27030"/>
                      <a:pt x="4598" y="27030"/>
                    </a:cubicBezTo>
                    <a:lnTo>
                      <a:pt x="4598" y="27030"/>
                    </a:lnTo>
                    <a:cubicBezTo>
                      <a:pt x="4598" y="27030"/>
                      <a:pt x="4598" y="26874"/>
                      <a:pt x="4598" y="26812"/>
                    </a:cubicBezTo>
                    <a:cubicBezTo>
                      <a:pt x="4598" y="26749"/>
                      <a:pt x="4598" y="26921"/>
                      <a:pt x="4598" y="26968"/>
                    </a:cubicBezTo>
                    <a:cubicBezTo>
                      <a:pt x="4598" y="26734"/>
                      <a:pt x="4489" y="26469"/>
                      <a:pt x="4396" y="26235"/>
                    </a:cubicBezTo>
                    <a:cubicBezTo>
                      <a:pt x="4396" y="26313"/>
                      <a:pt x="4396" y="26391"/>
                      <a:pt x="4396" y="26484"/>
                    </a:cubicBezTo>
                    <a:cubicBezTo>
                      <a:pt x="4256" y="26095"/>
                      <a:pt x="4240" y="25674"/>
                      <a:pt x="4131" y="25269"/>
                    </a:cubicBezTo>
                    <a:cubicBezTo>
                      <a:pt x="4131" y="25347"/>
                      <a:pt x="4131" y="25269"/>
                      <a:pt x="4131" y="25175"/>
                    </a:cubicBezTo>
                    <a:cubicBezTo>
                      <a:pt x="4131" y="25082"/>
                      <a:pt x="4131" y="25175"/>
                      <a:pt x="4131" y="25175"/>
                    </a:cubicBezTo>
                    <a:cubicBezTo>
                      <a:pt x="4131" y="25175"/>
                      <a:pt x="4131" y="25175"/>
                      <a:pt x="4131" y="25175"/>
                    </a:cubicBezTo>
                    <a:cubicBezTo>
                      <a:pt x="4131" y="25175"/>
                      <a:pt x="4131" y="25175"/>
                      <a:pt x="4131" y="25175"/>
                    </a:cubicBezTo>
                    <a:cubicBezTo>
                      <a:pt x="3941" y="24764"/>
                      <a:pt x="3835" y="24318"/>
                      <a:pt x="3819" y="23866"/>
                    </a:cubicBezTo>
                    <a:cubicBezTo>
                      <a:pt x="3828" y="23928"/>
                      <a:pt x="3828" y="23991"/>
                      <a:pt x="3819" y="24053"/>
                    </a:cubicBezTo>
                    <a:cubicBezTo>
                      <a:pt x="3828" y="23991"/>
                      <a:pt x="3828" y="23928"/>
                      <a:pt x="3819" y="23866"/>
                    </a:cubicBezTo>
                    <a:lnTo>
                      <a:pt x="3819" y="23866"/>
                    </a:lnTo>
                    <a:cubicBezTo>
                      <a:pt x="3819" y="23866"/>
                      <a:pt x="3819" y="23866"/>
                      <a:pt x="3819" y="23866"/>
                    </a:cubicBezTo>
                    <a:lnTo>
                      <a:pt x="3819" y="23866"/>
                    </a:lnTo>
                    <a:lnTo>
                      <a:pt x="3819" y="23866"/>
                    </a:lnTo>
                    <a:cubicBezTo>
                      <a:pt x="3819" y="23866"/>
                      <a:pt x="3819" y="23866"/>
                      <a:pt x="3819" y="23959"/>
                    </a:cubicBezTo>
                    <a:cubicBezTo>
                      <a:pt x="3819" y="24053"/>
                      <a:pt x="3819" y="23959"/>
                      <a:pt x="3819" y="23959"/>
                    </a:cubicBezTo>
                    <a:lnTo>
                      <a:pt x="3819" y="23959"/>
                    </a:lnTo>
                    <a:lnTo>
                      <a:pt x="3819" y="23959"/>
                    </a:lnTo>
                    <a:cubicBezTo>
                      <a:pt x="3819" y="23881"/>
                      <a:pt x="3819" y="23772"/>
                      <a:pt x="3819" y="23679"/>
                    </a:cubicBezTo>
                    <a:lnTo>
                      <a:pt x="3819" y="23679"/>
                    </a:lnTo>
                    <a:cubicBezTo>
                      <a:pt x="3811" y="23627"/>
                      <a:pt x="3811" y="23574"/>
                      <a:pt x="3819" y="23523"/>
                    </a:cubicBezTo>
                    <a:lnTo>
                      <a:pt x="3819" y="23523"/>
                    </a:lnTo>
                    <a:cubicBezTo>
                      <a:pt x="3803" y="23305"/>
                      <a:pt x="3803" y="23086"/>
                      <a:pt x="3819" y="22868"/>
                    </a:cubicBezTo>
                    <a:lnTo>
                      <a:pt x="3819" y="22868"/>
                    </a:lnTo>
                    <a:cubicBezTo>
                      <a:pt x="3819" y="22868"/>
                      <a:pt x="3819" y="22790"/>
                      <a:pt x="3819" y="22759"/>
                    </a:cubicBezTo>
                    <a:lnTo>
                      <a:pt x="3819" y="22759"/>
                    </a:lnTo>
                    <a:cubicBezTo>
                      <a:pt x="4323" y="14291"/>
                      <a:pt x="9917" y="6976"/>
                      <a:pt x="17957" y="4271"/>
                    </a:cubicBezTo>
                    <a:lnTo>
                      <a:pt x="17957" y="4271"/>
                    </a:lnTo>
                    <a:lnTo>
                      <a:pt x="18145" y="4271"/>
                    </a:lnTo>
                    <a:lnTo>
                      <a:pt x="18145" y="4271"/>
                    </a:lnTo>
                    <a:lnTo>
                      <a:pt x="18347" y="4271"/>
                    </a:lnTo>
                    <a:lnTo>
                      <a:pt x="18207" y="4271"/>
                    </a:lnTo>
                    <a:lnTo>
                      <a:pt x="18456" y="4271"/>
                    </a:lnTo>
                    <a:lnTo>
                      <a:pt x="18363" y="4271"/>
                    </a:lnTo>
                    <a:lnTo>
                      <a:pt x="18363" y="4271"/>
                    </a:lnTo>
                    <a:lnTo>
                      <a:pt x="18534" y="4271"/>
                    </a:lnTo>
                    <a:lnTo>
                      <a:pt x="18534" y="4271"/>
                    </a:lnTo>
                    <a:lnTo>
                      <a:pt x="19703" y="4006"/>
                    </a:lnTo>
                    <a:lnTo>
                      <a:pt x="19703" y="4006"/>
                    </a:lnTo>
                    <a:lnTo>
                      <a:pt x="20000" y="4006"/>
                    </a:lnTo>
                    <a:lnTo>
                      <a:pt x="19797" y="4006"/>
                    </a:lnTo>
                    <a:lnTo>
                      <a:pt x="19797" y="4006"/>
                    </a:lnTo>
                    <a:lnTo>
                      <a:pt x="20342" y="4006"/>
                    </a:lnTo>
                    <a:lnTo>
                      <a:pt x="20342" y="4006"/>
                    </a:lnTo>
                    <a:lnTo>
                      <a:pt x="20062" y="4006"/>
                    </a:lnTo>
                    <a:lnTo>
                      <a:pt x="20327" y="4006"/>
                    </a:lnTo>
                    <a:lnTo>
                      <a:pt x="20327" y="4006"/>
                    </a:lnTo>
                    <a:lnTo>
                      <a:pt x="20592" y="4006"/>
                    </a:lnTo>
                    <a:lnTo>
                      <a:pt x="20498" y="4006"/>
                    </a:lnTo>
                    <a:lnTo>
                      <a:pt x="20405" y="4006"/>
                    </a:lnTo>
                    <a:lnTo>
                      <a:pt x="20623" y="4006"/>
                    </a:lnTo>
                    <a:lnTo>
                      <a:pt x="20280" y="4006"/>
                    </a:lnTo>
                    <a:lnTo>
                      <a:pt x="20187" y="4006"/>
                    </a:lnTo>
                    <a:lnTo>
                      <a:pt x="20015" y="4006"/>
                    </a:lnTo>
                    <a:lnTo>
                      <a:pt x="20342" y="4006"/>
                    </a:lnTo>
                    <a:lnTo>
                      <a:pt x="19984" y="4006"/>
                    </a:lnTo>
                    <a:lnTo>
                      <a:pt x="19984" y="4006"/>
                    </a:lnTo>
                    <a:lnTo>
                      <a:pt x="19610" y="4006"/>
                    </a:lnTo>
                    <a:lnTo>
                      <a:pt x="19610" y="4006"/>
                    </a:lnTo>
                    <a:lnTo>
                      <a:pt x="19251" y="4084"/>
                    </a:lnTo>
                    <a:lnTo>
                      <a:pt x="19407" y="4084"/>
                    </a:lnTo>
                    <a:lnTo>
                      <a:pt x="19407" y="4084"/>
                    </a:lnTo>
                    <a:cubicBezTo>
                      <a:pt x="19286" y="4123"/>
                      <a:pt x="19160" y="4150"/>
                      <a:pt x="19033" y="4162"/>
                    </a:cubicBezTo>
                    <a:lnTo>
                      <a:pt x="19189" y="4162"/>
                    </a:lnTo>
                    <a:lnTo>
                      <a:pt x="19017" y="4162"/>
                    </a:lnTo>
                    <a:lnTo>
                      <a:pt x="19017" y="4162"/>
                    </a:lnTo>
                    <a:lnTo>
                      <a:pt x="18908" y="4162"/>
                    </a:lnTo>
                    <a:lnTo>
                      <a:pt x="18908" y="4162"/>
                    </a:lnTo>
                    <a:lnTo>
                      <a:pt x="18908" y="4162"/>
                    </a:lnTo>
                    <a:cubicBezTo>
                      <a:pt x="18908" y="4162"/>
                      <a:pt x="18908" y="4162"/>
                      <a:pt x="18908" y="4162"/>
                    </a:cubicBezTo>
                    <a:lnTo>
                      <a:pt x="18908" y="4162"/>
                    </a:lnTo>
                    <a:lnTo>
                      <a:pt x="18752" y="4162"/>
                    </a:lnTo>
                    <a:lnTo>
                      <a:pt x="18752" y="4162"/>
                    </a:lnTo>
                    <a:lnTo>
                      <a:pt x="18752" y="4162"/>
                    </a:lnTo>
                    <a:lnTo>
                      <a:pt x="18752" y="4162"/>
                    </a:lnTo>
                    <a:lnTo>
                      <a:pt x="18659" y="4162"/>
                    </a:lnTo>
                    <a:lnTo>
                      <a:pt x="18659" y="4162"/>
                    </a:lnTo>
                    <a:lnTo>
                      <a:pt x="18254" y="4271"/>
                    </a:lnTo>
                    <a:lnTo>
                      <a:pt x="18254" y="4271"/>
                    </a:lnTo>
                    <a:lnTo>
                      <a:pt x="17957" y="4380"/>
                    </a:lnTo>
                    <a:lnTo>
                      <a:pt x="17957" y="4380"/>
                    </a:lnTo>
                    <a:lnTo>
                      <a:pt x="17599" y="4489"/>
                    </a:lnTo>
                    <a:lnTo>
                      <a:pt x="17599" y="4489"/>
                    </a:lnTo>
                    <a:lnTo>
                      <a:pt x="17334" y="4676"/>
                    </a:lnTo>
                    <a:lnTo>
                      <a:pt x="17334" y="4676"/>
                    </a:lnTo>
                    <a:lnTo>
                      <a:pt x="17240" y="4676"/>
                    </a:lnTo>
                    <a:lnTo>
                      <a:pt x="17240" y="4676"/>
                    </a:lnTo>
                    <a:lnTo>
                      <a:pt x="16726" y="4864"/>
                    </a:lnTo>
                    <a:lnTo>
                      <a:pt x="16851" y="4864"/>
                    </a:lnTo>
                    <a:lnTo>
                      <a:pt x="16851" y="4864"/>
                    </a:lnTo>
                    <a:cubicBezTo>
                      <a:pt x="17028" y="4797"/>
                      <a:pt x="17211" y="4745"/>
                      <a:pt x="17396" y="4708"/>
                    </a:cubicBezTo>
                    <a:lnTo>
                      <a:pt x="17396" y="4708"/>
                    </a:lnTo>
                    <a:lnTo>
                      <a:pt x="17552" y="4708"/>
                    </a:lnTo>
                    <a:lnTo>
                      <a:pt x="17661" y="4708"/>
                    </a:lnTo>
                    <a:lnTo>
                      <a:pt x="17412" y="4708"/>
                    </a:lnTo>
                    <a:lnTo>
                      <a:pt x="17412" y="4708"/>
                    </a:lnTo>
                    <a:lnTo>
                      <a:pt x="17272" y="4708"/>
                    </a:lnTo>
                    <a:lnTo>
                      <a:pt x="17272" y="4708"/>
                    </a:lnTo>
                    <a:lnTo>
                      <a:pt x="17162" y="4708"/>
                    </a:lnTo>
                    <a:lnTo>
                      <a:pt x="17162" y="4708"/>
                    </a:lnTo>
                    <a:lnTo>
                      <a:pt x="17007" y="4708"/>
                    </a:lnTo>
                    <a:lnTo>
                      <a:pt x="17007" y="4708"/>
                    </a:lnTo>
                    <a:lnTo>
                      <a:pt x="17147" y="4708"/>
                    </a:lnTo>
                    <a:lnTo>
                      <a:pt x="17147" y="4708"/>
                    </a:lnTo>
                    <a:lnTo>
                      <a:pt x="17287" y="4708"/>
                    </a:lnTo>
                    <a:lnTo>
                      <a:pt x="17287" y="4708"/>
                    </a:lnTo>
                    <a:lnTo>
                      <a:pt x="17116" y="4708"/>
                    </a:lnTo>
                    <a:cubicBezTo>
                      <a:pt x="17240" y="4708"/>
                      <a:pt x="17599" y="4599"/>
                      <a:pt x="17272" y="4708"/>
                    </a:cubicBezTo>
                    <a:lnTo>
                      <a:pt x="17412" y="4708"/>
                    </a:lnTo>
                    <a:lnTo>
                      <a:pt x="17505" y="4708"/>
                    </a:lnTo>
                    <a:lnTo>
                      <a:pt x="17833" y="4614"/>
                    </a:lnTo>
                    <a:cubicBezTo>
                      <a:pt x="17472" y="4715"/>
                      <a:pt x="17118" y="4840"/>
                      <a:pt x="16773" y="4988"/>
                    </a:cubicBezTo>
                    <a:lnTo>
                      <a:pt x="16929" y="4988"/>
                    </a:lnTo>
                    <a:lnTo>
                      <a:pt x="16929" y="4988"/>
                    </a:lnTo>
                    <a:cubicBezTo>
                      <a:pt x="16929" y="4988"/>
                      <a:pt x="17116" y="4988"/>
                      <a:pt x="17007" y="4988"/>
                    </a:cubicBezTo>
                    <a:lnTo>
                      <a:pt x="17147" y="4988"/>
                    </a:lnTo>
                    <a:lnTo>
                      <a:pt x="17147" y="4988"/>
                    </a:lnTo>
                    <a:lnTo>
                      <a:pt x="17272" y="4988"/>
                    </a:lnTo>
                    <a:cubicBezTo>
                      <a:pt x="17178" y="4988"/>
                      <a:pt x="17069" y="4988"/>
                      <a:pt x="16991" y="5097"/>
                    </a:cubicBezTo>
                    <a:lnTo>
                      <a:pt x="16991" y="5097"/>
                    </a:lnTo>
                    <a:lnTo>
                      <a:pt x="16866" y="5097"/>
                    </a:lnTo>
                    <a:lnTo>
                      <a:pt x="16866" y="5097"/>
                    </a:lnTo>
                    <a:lnTo>
                      <a:pt x="16710" y="5097"/>
                    </a:lnTo>
                    <a:cubicBezTo>
                      <a:pt x="16793" y="5104"/>
                      <a:pt x="16877" y="5104"/>
                      <a:pt x="16960" y="5097"/>
                    </a:cubicBezTo>
                    <a:cubicBezTo>
                      <a:pt x="16695" y="5238"/>
                      <a:pt x="16367" y="5362"/>
                      <a:pt x="16103" y="5534"/>
                    </a:cubicBezTo>
                    <a:lnTo>
                      <a:pt x="16103" y="5534"/>
                    </a:lnTo>
                    <a:lnTo>
                      <a:pt x="15931" y="5627"/>
                    </a:lnTo>
                    <a:lnTo>
                      <a:pt x="16103" y="5627"/>
                    </a:lnTo>
                    <a:lnTo>
                      <a:pt x="16103" y="5627"/>
                    </a:lnTo>
                    <a:cubicBezTo>
                      <a:pt x="16103" y="5627"/>
                      <a:pt x="16103" y="5627"/>
                      <a:pt x="16103" y="5627"/>
                    </a:cubicBezTo>
                    <a:cubicBezTo>
                      <a:pt x="15934" y="5726"/>
                      <a:pt x="15756" y="5810"/>
                      <a:pt x="15573" y="5877"/>
                    </a:cubicBezTo>
                    <a:cubicBezTo>
                      <a:pt x="15573" y="5877"/>
                      <a:pt x="15573" y="5877"/>
                      <a:pt x="15573" y="5877"/>
                    </a:cubicBezTo>
                    <a:cubicBezTo>
                      <a:pt x="15573" y="5877"/>
                      <a:pt x="15479" y="5877"/>
                      <a:pt x="15463" y="5877"/>
                    </a:cubicBezTo>
                    <a:lnTo>
                      <a:pt x="15463" y="5877"/>
                    </a:lnTo>
                    <a:cubicBezTo>
                      <a:pt x="15406" y="5898"/>
                      <a:pt x="15353" y="5930"/>
                      <a:pt x="15308" y="5970"/>
                    </a:cubicBezTo>
                    <a:lnTo>
                      <a:pt x="15308" y="5970"/>
                    </a:lnTo>
                    <a:cubicBezTo>
                      <a:pt x="15308" y="5970"/>
                      <a:pt x="15089" y="6126"/>
                      <a:pt x="15183" y="6095"/>
                    </a:cubicBezTo>
                    <a:lnTo>
                      <a:pt x="15183" y="6095"/>
                    </a:lnTo>
                    <a:lnTo>
                      <a:pt x="15183" y="6095"/>
                    </a:lnTo>
                    <a:lnTo>
                      <a:pt x="15183" y="6095"/>
                    </a:lnTo>
                    <a:cubicBezTo>
                      <a:pt x="15183" y="6095"/>
                      <a:pt x="15183" y="6095"/>
                      <a:pt x="15183" y="6095"/>
                    </a:cubicBezTo>
                    <a:lnTo>
                      <a:pt x="15323" y="6095"/>
                    </a:lnTo>
                    <a:lnTo>
                      <a:pt x="15089" y="6220"/>
                    </a:lnTo>
                    <a:lnTo>
                      <a:pt x="15089" y="6220"/>
                    </a:lnTo>
                    <a:cubicBezTo>
                      <a:pt x="15089" y="6220"/>
                      <a:pt x="14933" y="6220"/>
                      <a:pt x="14871" y="6344"/>
                    </a:cubicBezTo>
                    <a:cubicBezTo>
                      <a:pt x="14809" y="6469"/>
                      <a:pt x="14980" y="6344"/>
                      <a:pt x="15027" y="6344"/>
                    </a:cubicBezTo>
                    <a:cubicBezTo>
                      <a:pt x="14873" y="6412"/>
                      <a:pt x="14727" y="6496"/>
                      <a:pt x="14590" y="6594"/>
                    </a:cubicBezTo>
                    <a:lnTo>
                      <a:pt x="14590" y="6594"/>
                    </a:lnTo>
                    <a:lnTo>
                      <a:pt x="14590" y="6594"/>
                    </a:lnTo>
                    <a:cubicBezTo>
                      <a:pt x="14808" y="6458"/>
                      <a:pt x="15037" y="6343"/>
                      <a:pt x="15276" y="6251"/>
                    </a:cubicBezTo>
                    <a:lnTo>
                      <a:pt x="15276" y="6251"/>
                    </a:lnTo>
                    <a:cubicBezTo>
                      <a:pt x="15276" y="6251"/>
                      <a:pt x="15276" y="6251"/>
                      <a:pt x="15276" y="6251"/>
                    </a:cubicBezTo>
                    <a:lnTo>
                      <a:pt x="15276" y="6251"/>
                    </a:lnTo>
                    <a:lnTo>
                      <a:pt x="15370" y="6251"/>
                    </a:lnTo>
                    <a:lnTo>
                      <a:pt x="15276" y="6251"/>
                    </a:lnTo>
                    <a:cubicBezTo>
                      <a:pt x="15276" y="6251"/>
                      <a:pt x="15417" y="6157"/>
                      <a:pt x="15479" y="6157"/>
                    </a:cubicBezTo>
                    <a:lnTo>
                      <a:pt x="15479" y="6157"/>
                    </a:lnTo>
                    <a:cubicBezTo>
                      <a:pt x="15479" y="6157"/>
                      <a:pt x="15713" y="6064"/>
                      <a:pt x="15573" y="6157"/>
                    </a:cubicBezTo>
                    <a:lnTo>
                      <a:pt x="15463" y="6157"/>
                    </a:lnTo>
                    <a:cubicBezTo>
                      <a:pt x="15494" y="6149"/>
                      <a:pt x="15526" y="6149"/>
                      <a:pt x="15557" y="6157"/>
                    </a:cubicBezTo>
                    <a:lnTo>
                      <a:pt x="15448" y="6157"/>
                    </a:lnTo>
                    <a:lnTo>
                      <a:pt x="15448" y="6157"/>
                    </a:lnTo>
                    <a:cubicBezTo>
                      <a:pt x="15448" y="6157"/>
                      <a:pt x="15448" y="6157"/>
                      <a:pt x="15323" y="6157"/>
                    </a:cubicBezTo>
                    <a:cubicBezTo>
                      <a:pt x="15198" y="6157"/>
                      <a:pt x="15495" y="6157"/>
                      <a:pt x="15432" y="6157"/>
                    </a:cubicBezTo>
                    <a:cubicBezTo>
                      <a:pt x="15522" y="6121"/>
                      <a:pt x="15623" y="6121"/>
                      <a:pt x="15713" y="6157"/>
                    </a:cubicBezTo>
                    <a:lnTo>
                      <a:pt x="15713" y="6157"/>
                    </a:lnTo>
                    <a:cubicBezTo>
                      <a:pt x="15541" y="6282"/>
                      <a:pt x="15339" y="6376"/>
                      <a:pt x="15152" y="6485"/>
                    </a:cubicBezTo>
                    <a:lnTo>
                      <a:pt x="15152" y="6485"/>
                    </a:lnTo>
                    <a:lnTo>
                      <a:pt x="15152" y="6485"/>
                    </a:lnTo>
                    <a:lnTo>
                      <a:pt x="15152" y="6485"/>
                    </a:lnTo>
                    <a:cubicBezTo>
                      <a:pt x="15152" y="6485"/>
                      <a:pt x="15152" y="6485"/>
                      <a:pt x="15152" y="6485"/>
                    </a:cubicBezTo>
                    <a:lnTo>
                      <a:pt x="15152" y="6485"/>
                    </a:lnTo>
                    <a:lnTo>
                      <a:pt x="15152" y="6485"/>
                    </a:lnTo>
                    <a:lnTo>
                      <a:pt x="14933" y="6625"/>
                    </a:lnTo>
                    <a:lnTo>
                      <a:pt x="14933" y="6625"/>
                    </a:lnTo>
                    <a:cubicBezTo>
                      <a:pt x="14933" y="6625"/>
                      <a:pt x="14933" y="6625"/>
                      <a:pt x="14933" y="6703"/>
                    </a:cubicBezTo>
                    <a:lnTo>
                      <a:pt x="15074" y="6703"/>
                    </a:lnTo>
                    <a:lnTo>
                      <a:pt x="15074" y="6703"/>
                    </a:lnTo>
                    <a:lnTo>
                      <a:pt x="15074" y="6796"/>
                    </a:lnTo>
                    <a:cubicBezTo>
                      <a:pt x="15074" y="6796"/>
                      <a:pt x="15074" y="6796"/>
                      <a:pt x="15074" y="6796"/>
                    </a:cubicBezTo>
                    <a:lnTo>
                      <a:pt x="15074" y="6796"/>
                    </a:lnTo>
                    <a:cubicBezTo>
                      <a:pt x="15385" y="6594"/>
                      <a:pt x="15167" y="6796"/>
                      <a:pt x="15074" y="6890"/>
                    </a:cubicBezTo>
                    <a:cubicBezTo>
                      <a:pt x="15183" y="6890"/>
                      <a:pt x="15276" y="6703"/>
                      <a:pt x="15401" y="6656"/>
                    </a:cubicBezTo>
                    <a:lnTo>
                      <a:pt x="15401" y="6656"/>
                    </a:lnTo>
                    <a:cubicBezTo>
                      <a:pt x="15401" y="6656"/>
                      <a:pt x="15682" y="6485"/>
                      <a:pt x="15526" y="6656"/>
                    </a:cubicBezTo>
                    <a:lnTo>
                      <a:pt x="15650" y="6656"/>
                    </a:lnTo>
                    <a:lnTo>
                      <a:pt x="15557" y="6656"/>
                    </a:lnTo>
                    <a:cubicBezTo>
                      <a:pt x="15557" y="6656"/>
                      <a:pt x="15557" y="6656"/>
                      <a:pt x="15557" y="6656"/>
                    </a:cubicBezTo>
                    <a:cubicBezTo>
                      <a:pt x="15557" y="6656"/>
                      <a:pt x="15448" y="6656"/>
                      <a:pt x="15417" y="6750"/>
                    </a:cubicBezTo>
                    <a:lnTo>
                      <a:pt x="15417" y="6750"/>
                    </a:lnTo>
                    <a:cubicBezTo>
                      <a:pt x="15417" y="6750"/>
                      <a:pt x="15323" y="6750"/>
                      <a:pt x="15308" y="6750"/>
                    </a:cubicBezTo>
                    <a:cubicBezTo>
                      <a:pt x="15619" y="6641"/>
                      <a:pt x="15198" y="6750"/>
                      <a:pt x="15074" y="6874"/>
                    </a:cubicBezTo>
                    <a:lnTo>
                      <a:pt x="15074" y="6874"/>
                    </a:lnTo>
                    <a:lnTo>
                      <a:pt x="14902" y="6968"/>
                    </a:lnTo>
                    <a:lnTo>
                      <a:pt x="14902" y="6968"/>
                    </a:lnTo>
                    <a:lnTo>
                      <a:pt x="14778" y="6968"/>
                    </a:lnTo>
                    <a:cubicBezTo>
                      <a:pt x="14918" y="6968"/>
                      <a:pt x="14778" y="6968"/>
                      <a:pt x="14778" y="6968"/>
                    </a:cubicBezTo>
                    <a:lnTo>
                      <a:pt x="14778" y="6968"/>
                    </a:lnTo>
                    <a:lnTo>
                      <a:pt x="14637" y="6968"/>
                    </a:lnTo>
                    <a:lnTo>
                      <a:pt x="14637" y="6968"/>
                    </a:lnTo>
                    <a:lnTo>
                      <a:pt x="14637" y="6968"/>
                    </a:lnTo>
                    <a:lnTo>
                      <a:pt x="14637" y="6968"/>
                    </a:lnTo>
                    <a:cubicBezTo>
                      <a:pt x="14544" y="6968"/>
                      <a:pt x="14450" y="7108"/>
                      <a:pt x="14357" y="7139"/>
                    </a:cubicBezTo>
                    <a:cubicBezTo>
                      <a:pt x="14263" y="7171"/>
                      <a:pt x="14497" y="7046"/>
                      <a:pt x="14559" y="7030"/>
                    </a:cubicBezTo>
                    <a:cubicBezTo>
                      <a:pt x="14622" y="7015"/>
                      <a:pt x="14559" y="7030"/>
                      <a:pt x="14559" y="7030"/>
                    </a:cubicBezTo>
                    <a:cubicBezTo>
                      <a:pt x="14640" y="6992"/>
                      <a:pt x="14723" y="6961"/>
                      <a:pt x="14809" y="6937"/>
                    </a:cubicBezTo>
                    <a:lnTo>
                      <a:pt x="14700" y="6937"/>
                    </a:lnTo>
                    <a:cubicBezTo>
                      <a:pt x="14871" y="6859"/>
                      <a:pt x="15027" y="6734"/>
                      <a:pt x="15198" y="6672"/>
                    </a:cubicBezTo>
                    <a:lnTo>
                      <a:pt x="15198" y="6672"/>
                    </a:lnTo>
                    <a:lnTo>
                      <a:pt x="15198" y="6672"/>
                    </a:lnTo>
                    <a:cubicBezTo>
                      <a:pt x="15406" y="6614"/>
                      <a:pt x="15605" y="6531"/>
                      <a:pt x="15791" y="6422"/>
                    </a:cubicBezTo>
                    <a:cubicBezTo>
                      <a:pt x="15791" y="6422"/>
                      <a:pt x="15791" y="6422"/>
                      <a:pt x="15666" y="6422"/>
                    </a:cubicBezTo>
                    <a:lnTo>
                      <a:pt x="15666" y="6422"/>
                    </a:lnTo>
                    <a:cubicBezTo>
                      <a:pt x="15760" y="6422"/>
                      <a:pt x="16118" y="6204"/>
                      <a:pt x="15900" y="6344"/>
                    </a:cubicBezTo>
                    <a:cubicBezTo>
                      <a:pt x="16056" y="6344"/>
                      <a:pt x="16056" y="6189"/>
                      <a:pt x="16196" y="6142"/>
                    </a:cubicBezTo>
                    <a:cubicBezTo>
                      <a:pt x="16056" y="6142"/>
                      <a:pt x="16196" y="6142"/>
                      <a:pt x="16196" y="6142"/>
                    </a:cubicBezTo>
                    <a:lnTo>
                      <a:pt x="16196" y="6142"/>
                    </a:lnTo>
                    <a:cubicBezTo>
                      <a:pt x="16368" y="6015"/>
                      <a:pt x="16564" y="5925"/>
                      <a:pt x="16773" y="5877"/>
                    </a:cubicBezTo>
                    <a:lnTo>
                      <a:pt x="16773" y="5877"/>
                    </a:lnTo>
                    <a:cubicBezTo>
                      <a:pt x="16936" y="5775"/>
                      <a:pt x="17115" y="5701"/>
                      <a:pt x="17303" y="5659"/>
                    </a:cubicBezTo>
                    <a:lnTo>
                      <a:pt x="17162" y="5736"/>
                    </a:lnTo>
                    <a:cubicBezTo>
                      <a:pt x="17334" y="5736"/>
                      <a:pt x="17459" y="5581"/>
                      <a:pt x="17630" y="5549"/>
                    </a:cubicBezTo>
                    <a:lnTo>
                      <a:pt x="17459" y="5674"/>
                    </a:lnTo>
                    <a:cubicBezTo>
                      <a:pt x="18410" y="5097"/>
                      <a:pt x="20000" y="4536"/>
                      <a:pt x="18425" y="5362"/>
                    </a:cubicBezTo>
                    <a:cubicBezTo>
                      <a:pt x="18675" y="5284"/>
                      <a:pt x="19267" y="4910"/>
                      <a:pt x="19080" y="5129"/>
                    </a:cubicBezTo>
                    <a:cubicBezTo>
                      <a:pt x="19766" y="4895"/>
                      <a:pt x="18721" y="5456"/>
                      <a:pt x="18425" y="5581"/>
                    </a:cubicBezTo>
                    <a:cubicBezTo>
                      <a:pt x="18784" y="5456"/>
                      <a:pt x="18425" y="5581"/>
                      <a:pt x="18425" y="5581"/>
                    </a:cubicBezTo>
                    <a:cubicBezTo>
                      <a:pt x="18425" y="5581"/>
                      <a:pt x="18659" y="5425"/>
                      <a:pt x="18519" y="5581"/>
                    </a:cubicBezTo>
                    <a:cubicBezTo>
                      <a:pt x="18752" y="5316"/>
                      <a:pt x="18986" y="5581"/>
                      <a:pt x="18597" y="5659"/>
                    </a:cubicBezTo>
                    <a:cubicBezTo>
                      <a:pt x="18557" y="5643"/>
                      <a:pt x="18512" y="5643"/>
                      <a:pt x="18472" y="5659"/>
                    </a:cubicBezTo>
                    <a:cubicBezTo>
                      <a:pt x="18706" y="5659"/>
                      <a:pt x="18378" y="5736"/>
                      <a:pt x="18300" y="5768"/>
                    </a:cubicBezTo>
                    <a:cubicBezTo>
                      <a:pt x="18893" y="5581"/>
                      <a:pt x="17802" y="6033"/>
                      <a:pt x="18456" y="5768"/>
                    </a:cubicBezTo>
                    <a:cubicBezTo>
                      <a:pt x="17630" y="6126"/>
                      <a:pt x="18830" y="5768"/>
                      <a:pt x="18020" y="6095"/>
                    </a:cubicBezTo>
                    <a:cubicBezTo>
                      <a:pt x="18020" y="6189"/>
                      <a:pt x="18020" y="6095"/>
                      <a:pt x="18238" y="6095"/>
                    </a:cubicBezTo>
                    <a:cubicBezTo>
                      <a:pt x="18120" y="6184"/>
                      <a:pt x="17989" y="6252"/>
                      <a:pt x="17848" y="6298"/>
                    </a:cubicBezTo>
                    <a:cubicBezTo>
                      <a:pt x="17755" y="6298"/>
                      <a:pt x="18534" y="6298"/>
                      <a:pt x="17692" y="6485"/>
                    </a:cubicBezTo>
                    <a:cubicBezTo>
                      <a:pt x="17599" y="6485"/>
                      <a:pt x="18113" y="6485"/>
                      <a:pt x="17568" y="6594"/>
                    </a:cubicBezTo>
                    <a:cubicBezTo>
                      <a:pt x="18020" y="6438"/>
                      <a:pt x="18082" y="6594"/>
                      <a:pt x="17568" y="6672"/>
                    </a:cubicBezTo>
                    <a:cubicBezTo>
                      <a:pt x="17770" y="6843"/>
                      <a:pt x="17474" y="6890"/>
                      <a:pt x="17568" y="6828"/>
                    </a:cubicBezTo>
                    <a:cubicBezTo>
                      <a:pt x="17318" y="6828"/>
                      <a:pt x="17568" y="7030"/>
                      <a:pt x="17287" y="6921"/>
                    </a:cubicBezTo>
                    <a:cubicBezTo>
                      <a:pt x="17116" y="7217"/>
                      <a:pt x="17412" y="7046"/>
                      <a:pt x="17116" y="7186"/>
                    </a:cubicBezTo>
                    <a:cubicBezTo>
                      <a:pt x="17350" y="7108"/>
                      <a:pt x="16929" y="7436"/>
                      <a:pt x="17116" y="7295"/>
                    </a:cubicBezTo>
                    <a:cubicBezTo>
                      <a:pt x="16820" y="7591"/>
                      <a:pt x="17381" y="7124"/>
                      <a:pt x="16975" y="7623"/>
                    </a:cubicBezTo>
                    <a:cubicBezTo>
                      <a:pt x="16773" y="7732"/>
                      <a:pt x="17303" y="7623"/>
                      <a:pt x="16835" y="7794"/>
                    </a:cubicBezTo>
                    <a:cubicBezTo>
                      <a:pt x="17178" y="7654"/>
                      <a:pt x="16913" y="8137"/>
                      <a:pt x="16695" y="8012"/>
                    </a:cubicBezTo>
                    <a:cubicBezTo>
                      <a:pt x="16695" y="8137"/>
                      <a:pt x="16555" y="8231"/>
                      <a:pt x="16508" y="8137"/>
                    </a:cubicBezTo>
                    <a:cubicBezTo>
                      <a:pt x="16461" y="8044"/>
                      <a:pt x="16352" y="8309"/>
                      <a:pt x="16508" y="8137"/>
                    </a:cubicBezTo>
                    <a:cubicBezTo>
                      <a:pt x="16664" y="7966"/>
                      <a:pt x="16056" y="8574"/>
                      <a:pt x="16196" y="8309"/>
                    </a:cubicBezTo>
                    <a:cubicBezTo>
                      <a:pt x="16071" y="8137"/>
                      <a:pt x="16492" y="7903"/>
                      <a:pt x="16539" y="7810"/>
                    </a:cubicBezTo>
                    <a:cubicBezTo>
                      <a:pt x="16258" y="7966"/>
                      <a:pt x="16430" y="7810"/>
                      <a:pt x="16539" y="7654"/>
                    </a:cubicBezTo>
                    <a:cubicBezTo>
                      <a:pt x="16648" y="7498"/>
                      <a:pt x="16305" y="7841"/>
                      <a:pt x="16383" y="7654"/>
                    </a:cubicBezTo>
                    <a:cubicBezTo>
                      <a:pt x="16118" y="7903"/>
                      <a:pt x="15962" y="7934"/>
                      <a:pt x="15869" y="8309"/>
                    </a:cubicBezTo>
                    <a:cubicBezTo>
                      <a:pt x="15775" y="8683"/>
                      <a:pt x="15261" y="9135"/>
                      <a:pt x="15198" y="8932"/>
                    </a:cubicBezTo>
                    <a:cubicBezTo>
                      <a:pt x="15136" y="8729"/>
                      <a:pt x="15308" y="8823"/>
                      <a:pt x="15198" y="8527"/>
                    </a:cubicBezTo>
                    <a:cubicBezTo>
                      <a:pt x="14996" y="8885"/>
                      <a:pt x="14996" y="9353"/>
                      <a:pt x="14996" y="9353"/>
                    </a:cubicBezTo>
                    <a:cubicBezTo>
                      <a:pt x="14357" y="9493"/>
                      <a:pt x="15105" y="8262"/>
                      <a:pt x="15245" y="8231"/>
                    </a:cubicBezTo>
                    <a:cubicBezTo>
                      <a:pt x="14996" y="8324"/>
                      <a:pt x="15245" y="8231"/>
                      <a:pt x="15027" y="8231"/>
                    </a:cubicBezTo>
                    <a:cubicBezTo>
                      <a:pt x="15136" y="8075"/>
                      <a:pt x="14871" y="8309"/>
                      <a:pt x="14793" y="8231"/>
                    </a:cubicBezTo>
                    <a:cubicBezTo>
                      <a:pt x="14715" y="8153"/>
                      <a:pt x="15432" y="7607"/>
                      <a:pt x="15292" y="7981"/>
                    </a:cubicBezTo>
                    <a:cubicBezTo>
                      <a:pt x="16617" y="7701"/>
                      <a:pt x="17427" y="6422"/>
                      <a:pt x="17724" y="6111"/>
                    </a:cubicBezTo>
                    <a:cubicBezTo>
                      <a:pt x="17272" y="6485"/>
                      <a:pt x="17396" y="6111"/>
                      <a:pt x="17225" y="6111"/>
                    </a:cubicBezTo>
                    <a:cubicBezTo>
                      <a:pt x="17053" y="6111"/>
                      <a:pt x="17459" y="5970"/>
                      <a:pt x="17225" y="5955"/>
                    </a:cubicBezTo>
                    <a:cubicBezTo>
                      <a:pt x="17427" y="5736"/>
                      <a:pt x="17225" y="5955"/>
                      <a:pt x="17225" y="5783"/>
                    </a:cubicBezTo>
                    <a:lnTo>
                      <a:pt x="17318" y="5783"/>
                    </a:lnTo>
                    <a:lnTo>
                      <a:pt x="17178" y="5861"/>
                    </a:lnTo>
                    <a:cubicBezTo>
                      <a:pt x="16944" y="5970"/>
                      <a:pt x="16726" y="6111"/>
                      <a:pt x="16492" y="6235"/>
                    </a:cubicBezTo>
                    <a:lnTo>
                      <a:pt x="16492" y="6235"/>
                    </a:lnTo>
                    <a:lnTo>
                      <a:pt x="16601" y="6235"/>
                    </a:lnTo>
                    <a:lnTo>
                      <a:pt x="16555" y="6235"/>
                    </a:lnTo>
                    <a:lnTo>
                      <a:pt x="16555" y="6235"/>
                    </a:lnTo>
                    <a:cubicBezTo>
                      <a:pt x="16555" y="6313"/>
                      <a:pt x="16321" y="6235"/>
                      <a:pt x="16243" y="6376"/>
                    </a:cubicBezTo>
                    <a:lnTo>
                      <a:pt x="16243" y="6376"/>
                    </a:lnTo>
                    <a:lnTo>
                      <a:pt x="16243" y="6376"/>
                    </a:lnTo>
                    <a:lnTo>
                      <a:pt x="16336" y="6376"/>
                    </a:lnTo>
                    <a:cubicBezTo>
                      <a:pt x="16336" y="6376"/>
                      <a:pt x="16336" y="6376"/>
                      <a:pt x="16336" y="6376"/>
                    </a:cubicBezTo>
                    <a:lnTo>
                      <a:pt x="16336" y="6376"/>
                    </a:lnTo>
                    <a:cubicBezTo>
                      <a:pt x="16336" y="6376"/>
                      <a:pt x="16227" y="6376"/>
                      <a:pt x="16180" y="6376"/>
                    </a:cubicBezTo>
                    <a:lnTo>
                      <a:pt x="16180" y="6376"/>
                    </a:lnTo>
                    <a:lnTo>
                      <a:pt x="16180" y="6376"/>
                    </a:lnTo>
                    <a:cubicBezTo>
                      <a:pt x="15993" y="6516"/>
                      <a:pt x="15791" y="6625"/>
                      <a:pt x="15588" y="6750"/>
                    </a:cubicBezTo>
                    <a:lnTo>
                      <a:pt x="15822" y="6656"/>
                    </a:lnTo>
                    <a:lnTo>
                      <a:pt x="15822" y="6656"/>
                    </a:lnTo>
                    <a:lnTo>
                      <a:pt x="16212" y="6454"/>
                    </a:lnTo>
                    <a:cubicBezTo>
                      <a:pt x="16065" y="6587"/>
                      <a:pt x="15903" y="6702"/>
                      <a:pt x="15728" y="6796"/>
                    </a:cubicBezTo>
                    <a:lnTo>
                      <a:pt x="15728" y="6796"/>
                    </a:lnTo>
                    <a:cubicBezTo>
                      <a:pt x="15496" y="6904"/>
                      <a:pt x="15285" y="7052"/>
                      <a:pt x="15105" y="7233"/>
                    </a:cubicBezTo>
                    <a:cubicBezTo>
                      <a:pt x="15105" y="7233"/>
                      <a:pt x="15198" y="7155"/>
                      <a:pt x="15245" y="7155"/>
                    </a:cubicBezTo>
                    <a:lnTo>
                      <a:pt x="15245" y="7155"/>
                    </a:lnTo>
                    <a:lnTo>
                      <a:pt x="16040" y="6750"/>
                    </a:lnTo>
                    <a:lnTo>
                      <a:pt x="16040" y="6750"/>
                    </a:lnTo>
                    <a:lnTo>
                      <a:pt x="16040" y="6750"/>
                    </a:lnTo>
                    <a:cubicBezTo>
                      <a:pt x="16040" y="6750"/>
                      <a:pt x="16040" y="6656"/>
                      <a:pt x="16165" y="6672"/>
                    </a:cubicBezTo>
                    <a:lnTo>
                      <a:pt x="16165" y="6672"/>
                    </a:lnTo>
                    <a:cubicBezTo>
                      <a:pt x="16165" y="6672"/>
                      <a:pt x="16165" y="6672"/>
                      <a:pt x="16274" y="6672"/>
                    </a:cubicBezTo>
                    <a:lnTo>
                      <a:pt x="16274" y="6672"/>
                    </a:lnTo>
                    <a:lnTo>
                      <a:pt x="16664" y="6454"/>
                    </a:lnTo>
                    <a:cubicBezTo>
                      <a:pt x="16664" y="6454"/>
                      <a:pt x="16664" y="6454"/>
                      <a:pt x="16664" y="6594"/>
                    </a:cubicBezTo>
                    <a:lnTo>
                      <a:pt x="16664" y="6594"/>
                    </a:lnTo>
                    <a:cubicBezTo>
                      <a:pt x="16645" y="6644"/>
                      <a:pt x="16605" y="6684"/>
                      <a:pt x="16555" y="6703"/>
                    </a:cubicBezTo>
                    <a:cubicBezTo>
                      <a:pt x="16555" y="6625"/>
                      <a:pt x="16555" y="6781"/>
                      <a:pt x="16430" y="6796"/>
                    </a:cubicBezTo>
                    <a:cubicBezTo>
                      <a:pt x="16305" y="6812"/>
                      <a:pt x="16305" y="6921"/>
                      <a:pt x="16243" y="6921"/>
                    </a:cubicBezTo>
                    <a:cubicBezTo>
                      <a:pt x="16180" y="6921"/>
                      <a:pt x="16243" y="6921"/>
                      <a:pt x="16243" y="6921"/>
                    </a:cubicBezTo>
                    <a:lnTo>
                      <a:pt x="16243" y="6921"/>
                    </a:lnTo>
                    <a:cubicBezTo>
                      <a:pt x="16243" y="6921"/>
                      <a:pt x="15978" y="7046"/>
                      <a:pt x="16056" y="6921"/>
                    </a:cubicBezTo>
                    <a:lnTo>
                      <a:pt x="16056" y="6921"/>
                    </a:lnTo>
                    <a:cubicBezTo>
                      <a:pt x="16056" y="6921"/>
                      <a:pt x="16056" y="6999"/>
                      <a:pt x="15915" y="7015"/>
                    </a:cubicBezTo>
                    <a:lnTo>
                      <a:pt x="15915" y="7015"/>
                    </a:lnTo>
                    <a:cubicBezTo>
                      <a:pt x="15915" y="7015"/>
                      <a:pt x="15806" y="7015"/>
                      <a:pt x="15915" y="7015"/>
                    </a:cubicBezTo>
                    <a:cubicBezTo>
                      <a:pt x="15629" y="7264"/>
                      <a:pt x="15287" y="7441"/>
                      <a:pt x="14918" y="7529"/>
                    </a:cubicBezTo>
                    <a:cubicBezTo>
                      <a:pt x="14943" y="7513"/>
                      <a:pt x="14969" y="7497"/>
                      <a:pt x="14996" y="7482"/>
                    </a:cubicBezTo>
                    <a:lnTo>
                      <a:pt x="14996" y="7482"/>
                    </a:lnTo>
                    <a:lnTo>
                      <a:pt x="15120" y="7373"/>
                    </a:lnTo>
                    <a:lnTo>
                      <a:pt x="15120" y="7373"/>
                    </a:lnTo>
                    <a:cubicBezTo>
                      <a:pt x="15120" y="7373"/>
                      <a:pt x="14965" y="7451"/>
                      <a:pt x="15120" y="7373"/>
                    </a:cubicBezTo>
                    <a:cubicBezTo>
                      <a:pt x="15026" y="7487"/>
                      <a:pt x="14916" y="7587"/>
                      <a:pt x="14793" y="7669"/>
                    </a:cubicBezTo>
                    <a:lnTo>
                      <a:pt x="14887" y="7529"/>
                    </a:lnTo>
                    <a:cubicBezTo>
                      <a:pt x="14887" y="7529"/>
                      <a:pt x="14887" y="7607"/>
                      <a:pt x="14778" y="7623"/>
                    </a:cubicBezTo>
                    <a:cubicBezTo>
                      <a:pt x="14668" y="7638"/>
                      <a:pt x="14778" y="7623"/>
                      <a:pt x="14778" y="7623"/>
                    </a:cubicBezTo>
                    <a:lnTo>
                      <a:pt x="14778" y="7623"/>
                    </a:lnTo>
                    <a:lnTo>
                      <a:pt x="14918" y="7514"/>
                    </a:lnTo>
                    <a:cubicBezTo>
                      <a:pt x="14918" y="7514"/>
                      <a:pt x="14824" y="7514"/>
                      <a:pt x="14918" y="7514"/>
                    </a:cubicBezTo>
                    <a:lnTo>
                      <a:pt x="14918" y="7514"/>
                    </a:lnTo>
                    <a:lnTo>
                      <a:pt x="14918" y="7514"/>
                    </a:lnTo>
                    <a:cubicBezTo>
                      <a:pt x="14757" y="7658"/>
                      <a:pt x="14572" y="7774"/>
                      <a:pt x="14372" y="7856"/>
                    </a:cubicBezTo>
                    <a:lnTo>
                      <a:pt x="14372" y="7856"/>
                    </a:lnTo>
                    <a:cubicBezTo>
                      <a:pt x="14076" y="8028"/>
                      <a:pt x="14372" y="7732"/>
                      <a:pt x="14372" y="7591"/>
                    </a:cubicBezTo>
                    <a:cubicBezTo>
                      <a:pt x="14107" y="7747"/>
                      <a:pt x="14170" y="8028"/>
                      <a:pt x="13873" y="8106"/>
                    </a:cubicBezTo>
                    <a:lnTo>
                      <a:pt x="13873" y="8106"/>
                    </a:lnTo>
                    <a:lnTo>
                      <a:pt x="13468" y="8293"/>
                    </a:lnTo>
                    <a:cubicBezTo>
                      <a:pt x="13468" y="8293"/>
                      <a:pt x="13468" y="8293"/>
                      <a:pt x="13468" y="8293"/>
                    </a:cubicBezTo>
                    <a:lnTo>
                      <a:pt x="13468" y="8293"/>
                    </a:lnTo>
                    <a:lnTo>
                      <a:pt x="13468" y="8293"/>
                    </a:lnTo>
                    <a:cubicBezTo>
                      <a:pt x="13468" y="8293"/>
                      <a:pt x="13468" y="8293"/>
                      <a:pt x="13577" y="8199"/>
                    </a:cubicBezTo>
                    <a:cubicBezTo>
                      <a:pt x="13686" y="8106"/>
                      <a:pt x="13468" y="8199"/>
                      <a:pt x="13437" y="8277"/>
                    </a:cubicBezTo>
                    <a:cubicBezTo>
                      <a:pt x="13475" y="8255"/>
                      <a:pt x="13508" y="8223"/>
                      <a:pt x="13530" y="8184"/>
                    </a:cubicBezTo>
                    <a:cubicBezTo>
                      <a:pt x="13530" y="8184"/>
                      <a:pt x="13172" y="8480"/>
                      <a:pt x="13328" y="8293"/>
                    </a:cubicBezTo>
                    <a:lnTo>
                      <a:pt x="13188" y="8402"/>
                    </a:lnTo>
                    <a:cubicBezTo>
                      <a:pt x="13251" y="8269"/>
                      <a:pt x="13329" y="8143"/>
                      <a:pt x="13421" y="8028"/>
                    </a:cubicBezTo>
                    <a:lnTo>
                      <a:pt x="13421" y="8028"/>
                    </a:lnTo>
                    <a:lnTo>
                      <a:pt x="13421" y="8028"/>
                    </a:lnTo>
                    <a:lnTo>
                      <a:pt x="13343" y="8121"/>
                    </a:lnTo>
                    <a:cubicBezTo>
                      <a:pt x="13530" y="7981"/>
                      <a:pt x="13250" y="8293"/>
                      <a:pt x="13203" y="8277"/>
                    </a:cubicBezTo>
                    <a:lnTo>
                      <a:pt x="13328" y="8277"/>
                    </a:lnTo>
                    <a:cubicBezTo>
                      <a:pt x="13203" y="8496"/>
                      <a:pt x="12704" y="8761"/>
                      <a:pt x="13078" y="8277"/>
                    </a:cubicBezTo>
                    <a:cubicBezTo>
                      <a:pt x="12954" y="8355"/>
                      <a:pt x="12891" y="8496"/>
                      <a:pt x="12782" y="8574"/>
                    </a:cubicBezTo>
                    <a:lnTo>
                      <a:pt x="12782" y="8574"/>
                    </a:lnTo>
                    <a:lnTo>
                      <a:pt x="12782" y="8574"/>
                    </a:lnTo>
                    <a:lnTo>
                      <a:pt x="12782" y="8574"/>
                    </a:lnTo>
                    <a:lnTo>
                      <a:pt x="12642" y="8698"/>
                    </a:lnTo>
                    <a:cubicBezTo>
                      <a:pt x="12642" y="8698"/>
                      <a:pt x="12642" y="8698"/>
                      <a:pt x="12642" y="8698"/>
                    </a:cubicBezTo>
                    <a:cubicBezTo>
                      <a:pt x="12642" y="8698"/>
                      <a:pt x="12533" y="8698"/>
                      <a:pt x="12502" y="8698"/>
                    </a:cubicBezTo>
                    <a:cubicBezTo>
                      <a:pt x="12470" y="8698"/>
                      <a:pt x="12034" y="8994"/>
                      <a:pt x="11909" y="9026"/>
                    </a:cubicBezTo>
                    <a:lnTo>
                      <a:pt x="11909" y="9026"/>
                    </a:lnTo>
                    <a:cubicBezTo>
                      <a:pt x="11559" y="9339"/>
                      <a:pt x="11189" y="9631"/>
                      <a:pt x="10803" y="9899"/>
                    </a:cubicBezTo>
                    <a:cubicBezTo>
                      <a:pt x="11707" y="9306"/>
                      <a:pt x="10662" y="10351"/>
                      <a:pt x="10460" y="10351"/>
                    </a:cubicBezTo>
                    <a:cubicBezTo>
                      <a:pt x="10865" y="10351"/>
                      <a:pt x="10647" y="10694"/>
                      <a:pt x="10460" y="10974"/>
                    </a:cubicBezTo>
                    <a:lnTo>
                      <a:pt x="10460" y="10974"/>
                    </a:lnTo>
                    <a:cubicBezTo>
                      <a:pt x="10447" y="11120"/>
                      <a:pt x="10410" y="11262"/>
                      <a:pt x="10350" y="11395"/>
                    </a:cubicBezTo>
                    <a:cubicBezTo>
                      <a:pt x="10460" y="11395"/>
                      <a:pt x="10444" y="11520"/>
                      <a:pt x="10553" y="11520"/>
                    </a:cubicBezTo>
                    <a:lnTo>
                      <a:pt x="10553" y="11520"/>
                    </a:lnTo>
                    <a:cubicBezTo>
                      <a:pt x="10113" y="11959"/>
                      <a:pt x="9735" y="12458"/>
                      <a:pt x="9431" y="13001"/>
                    </a:cubicBezTo>
                    <a:cubicBezTo>
                      <a:pt x="9618" y="13001"/>
                      <a:pt x="9571" y="13001"/>
                      <a:pt x="9758" y="12876"/>
                    </a:cubicBezTo>
                    <a:cubicBezTo>
                      <a:pt x="9758" y="12954"/>
                      <a:pt x="9571" y="13110"/>
                      <a:pt x="9665" y="13172"/>
                    </a:cubicBezTo>
                    <a:cubicBezTo>
                      <a:pt x="10043" y="12406"/>
                      <a:pt x="10669" y="11791"/>
                      <a:pt x="11442" y="11426"/>
                    </a:cubicBezTo>
                    <a:cubicBezTo>
                      <a:pt x="11894" y="10912"/>
                      <a:pt x="12237" y="10288"/>
                      <a:pt x="12704" y="10117"/>
                    </a:cubicBezTo>
                    <a:lnTo>
                      <a:pt x="12704" y="10117"/>
                    </a:lnTo>
                    <a:cubicBezTo>
                      <a:pt x="12782" y="10117"/>
                      <a:pt x="12813" y="9961"/>
                      <a:pt x="12891" y="9961"/>
                    </a:cubicBezTo>
                    <a:cubicBezTo>
                      <a:pt x="12969" y="9961"/>
                      <a:pt x="12891" y="9867"/>
                      <a:pt x="13000" y="9852"/>
                    </a:cubicBezTo>
                    <a:cubicBezTo>
                      <a:pt x="13110" y="9836"/>
                      <a:pt x="14060" y="8901"/>
                      <a:pt x="13686" y="9446"/>
                    </a:cubicBezTo>
                    <a:cubicBezTo>
                      <a:pt x="13686" y="9446"/>
                      <a:pt x="13842" y="9446"/>
                      <a:pt x="13795" y="9446"/>
                    </a:cubicBezTo>
                    <a:lnTo>
                      <a:pt x="13795" y="9446"/>
                    </a:lnTo>
                    <a:cubicBezTo>
                      <a:pt x="14076" y="9446"/>
                      <a:pt x="13795" y="9446"/>
                      <a:pt x="13889" y="9587"/>
                    </a:cubicBezTo>
                    <a:cubicBezTo>
                      <a:pt x="13983" y="9727"/>
                      <a:pt x="13795" y="9665"/>
                      <a:pt x="13764" y="9711"/>
                    </a:cubicBezTo>
                    <a:lnTo>
                      <a:pt x="13764" y="9711"/>
                    </a:lnTo>
                    <a:cubicBezTo>
                      <a:pt x="13764" y="9711"/>
                      <a:pt x="13764" y="9805"/>
                      <a:pt x="13764" y="9852"/>
                    </a:cubicBezTo>
                    <a:lnTo>
                      <a:pt x="13764" y="9852"/>
                    </a:lnTo>
                    <a:cubicBezTo>
                      <a:pt x="13764" y="9852"/>
                      <a:pt x="13764" y="9930"/>
                      <a:pt x="13764" y="9930"/>
                    </a:cubicBezTo>
                    <a:lnTo>
                      <a:pt x="13764" y="9930"/>
                    </a:lnTo>
                    <a:cubicBezTo>
                      <a:pt x="13764" y="9930"/>
                      <a:pt x="13764" y="10008"/>
                      <a:pt x="13655" y="10054"/>
                    </a:cubicBezTo>
                    <a:lnTo>
                      <a:pt x="13655" y="10054"/>
                    </a:lnTo>
                    <a:lnTo>
                      <a:pt x="13655" y="10054"/>
                    </a:lnTo>
                    <a:lnTo>
                      <a:pt x="13655" y="10054"/>
                    </a:lnTo>
                    <a:lnTo>
                      <a:pt x="13655" y="10054"/>
                    </a:lnTo>
                    <a:lnTo>
                      <a:pt x="13655" y="10054"/>
                    </a:lnTo>
                    <a:cubicBezTo>
                      <a:pt x="13795" y="10054"/>
                      <a:pt x="13655" y="10132"/>
                      <a:pt x="13655" y="10179"/>
                    </a:cubicBezTo>
                    <a:cubicBezTo>
                      <a:pt x="13655" y="10226"/>
                      <a:pt x="13749" y="10086"/>
                      <a:pt x="13795" y="10101"/>
                    </a:cubicBezTo>
                    <a:cubicBezTo>
                      <a:pt x="13842" y="10117"/>
                      <a:pt x="13530" y="10288"/>
                      <a:pt x="13421" y="10444"/>
                    </a:cubicBezTo>
                    <a:lnTo>
                      <a:pt x="13421" y="10444"/>
                    </a:lnTo>
                    <a:cubicBezTo>
                      <a:pt x="13421" y="10444"/>
                      <a:pt x="13297" y="10553"/>
                      <a:pt x="13234" y="10444"/>
                    </a:cubicBezTo>
                    <a:cubicBezTo>
                      <a:pt x="13406" y="10600"/>
                      <a:pt x="12985" y="10927"/>
                      <a:pt x="13000" y="10881"/>
                    </a:cubicBezTo>
                    <a:cubicBezTo>
                      <a:pt x="13016" y="10834"/>
                      <a:pt x="13000" y="11021"/>
                      <a:pt x="13000" y="10881"/>
                    </a:cubicBezTo>
                    <a:cubicBezTo>
                      <a:pt x="13000" y="10740"/>
                      <a:pt x="12813" y="11130"/>
                      <a:pt x="12720" y="11224"/>
                    </a:cubicBezTo>
                    <a:cubicBezTo>
                      <a:pt x="12969" y="11052"/>
                      <a:pt x="13032" y="11021"/>
                      <a:pt x="12720" y="11224"/>
                    </a:cubicBezTo>
                    <a:cubicBezTo>
                      <a:pt x="12720" y="11224"/>
                      <a:pt x="12985" y="11005"/>
                      <a:pt x="12985" y="11099"/>
                    </a:cubicBezTo>
                    <a:cubicBezTo>
                      <a:pt x="12985" y="11192"/>
                      <a:pt x="13125" y="10990"/>
                      <a:pt x="13203" y="10959"/>
                    </a:cubicBezTo>
                    <a:cubicBezTo>
                      <a:pt x="13217" y="11010"/>
                      <a:pt x="13217" y="11063"/>
                      <a:pt x="13203" y="11114"/>
                    </a:cubicBezTo>
                    <a:cubicBezTo>
                      <a:pt x="13203" y="11037"/>
                      <a:pt x="13577" y="10709"/>
                      <a:pt x="13608" y="10818"/>
                    </a:cubicBezTo>
                    <a:cubicBezTo>
                      <a:pt x="13640" y="10927"/>
                      <a:pt x="13608" y="10818"/>
                      <a:pt x="13608" y="10818"/>
                    </a:cubicBezTo>
                    <a:cubicBezTo>
                      <a:pt x="13608" y="10818"/>
                      <a:pt x="13608" y="10725"/>
                      <a:pt x="13733" y="10725"/>
                    </a:cubicBezTo>
                    <a:lnTo>
                      <a:pt x="13733" y="10725"/>
                    </a:lnTo>
                    <a:cubicBezTo>
                      <a:pt x="13733" y="10647"/>
                      <a:pt x="14138" y="10397"/>
                      <a:pt x="14014" y="10507"/>
                    </a:cubicBezTo>
                    <a:lnTo>
                      <a:pt x="14014" y="10507"/>
                    </a:lnTo>
                    <a:cubicBezTo>
                      <a:pt x="14014" y="10507"/>
                      <a:pt x="14014" y="10616"/>
                      <a:pt x="13905" y="10616"/>
                    </a:cubicBezTo>
                    <a:cubicBezTo>
                      <a:pt x="13795" y="10616"/>
                      <a:pt x="13905" y="10616"/>
                      <a:pt x="13905" y="10694"/>
                    </a:cubicBezTo>
                    <a:lnTo>
                      <a:pt x="13905" y="10694"/>
                    </a:lnTo>
                    <a:cubicBezTo>
                      <a:pt x="13811" y="10694"/>
                      <a:pt x="13905" y="10849"/>
                      <a:pt x="13749" y="10896"/>
                    </a:cubicBezTo>
                    <a:cubicBezTo>
                      <a:pt x="13593" y="10943"/>
                      <a:pt x="13749" y="11005"/>
                      <a:pt x="13749" y="10896"/>
                    </a:cubicBezTo>
                    <a:cubicBezTo>
                      <a:pt x="13749" y="10787"/>
                      <a:pt x="13421" y="11037"/>
                      <a:pt x="13749" y="11021"/>
                    </a:cubicBezTo>
                    <a:cubicBezTo>
                      <a:pt x="14076" y="11005"/>
                      <a:pt x="13577" y="11161"/>
                      <a:pt x="13749" y="11114"/>
                    </a:cubicBezTo>
                    <a:cubicBezTo>
                      <a:pt x="13920" y="11068"/>
                      <a:pt x="13608" y="11270"/>
                      <a:pt x="13593" y="11114"/>
                    </a:cubicBezTo>
                    <a:cubicBezTo>
                      <a:pt x="13577" y="10959"/>
                      <a:pt x="13593" y="11192"/>
                      <a:pt x="13593" y="11208"/>
                    </a:cubicBezTo>
                    <a:cubicBezTo>
                      <a:pt x="13593" y="11224"/>
                      <a:pt x="13702" y="11208"/>
                      <a:pt x="13749" y="11208"/>
                    </a:cubicBezTo>
                    <a:cubicBezTo>
                      <a:pt x="13795" y="11208"/>
                      <a:pt x="13577" y="11208"/>
                      <a:pt x="13515" y="11348"/>
                    </a:cubicBezTo>
                    <a:cubicBezTo>
                      <a:pt x="13733" y="11348"/>
                      <a:pt x="13655" y="11348"/>
                      <a:pt x="13515" y="11442"/>
                    </a:cubicBezTo>
                    <a:cubicBezTo>
                      <a:pt x="13375" y="11535"/>
                      <a:pt x="13515" y="11442"/>
                      <a:pt x="13608" y="11442"/>
                    </a:cubicBezTo>
                    <a:cubicBezTo>
                      <a:pt x="13623" y="11509"/>
                      <a:pt x="13580" y="11575"/>
                      <a:pt x="13512" y="11590"/>
                    </a:cubicBezTo>
                    <a:cubicBezTo>
                      <a:pt x="13487" y="11595"/>
                      <a:pt x="13461" y="11592"/>
                      <a:pt x="13437" y="11582"/>
                    </a:cubicBezTo>
                    <a:cubicBezTo>
                      <a:pt x="13437" y="11582"/>
                      <a:pt x="13577" y="11660"/>
                      <a:pt x="13437" y="11722"/>
                    </a:cubicBezTo>
                    <a:cubicBezTo>
                      <a:pt x="13608" y="11816"/>
                      <a:pt x="13250" y="11941"/>
                      <a:pt x="13219" y="11878"/>
                    </a:cubicBezTo>
                    <a:cubicBezTo>
                      <a:pt x="13188" y="11816"/>
                      <a:pt x="13219" y="12128"/>
                      <a:pt x="13078" y="12081"/>
                    </a:cubicBezTo>
                    <a:cubicBezTo>
                      <a:pt x="12938" y="12034"/>
                      <a:pt x="13312" y="12081"/>
                      <a:pt x="13188" y="12174"/>
                    </a:cubicBezTo>
                    <a:cubicBezTo>
                      <a:pt x="13063" y="12268"/>
                      <a:pt x="13188" y="12174"/>
                      <a:pt x="13188" y="12252"/>
                    </a:cubicBezTo>
                    <a:cubicBezTo>
                      <a:pt x="13188" y="12330"/>
                      <a:pt x="13188" y="12252"/>
                      <a:pt x="13188" y="12362"/>
                    </a:cubicBezTo>
                    <a:lnTo>
                      <a:pt x="13281" y="12362"/>
                    </a:lnTo>
                    <a:cubicBezTo>
                      <a:pt x="13281" y="12439"/>
                      <a:pt x="13094" y="12595"/>
                      <a:pt x="13000" y="12564"/>
                    </a:cubicBezTo>
                    <a:cubicBezTo>
                      <a:pt x="12907" y="12533"/>
                      <a:pt x="13141" y="12564"/>
                      <a:pt x="13203" y="12564"/>
                    </a:cubicBezTo>
                    <a:cubicBezTo>
                      <a:pt x="13000" y="12751"/>
                      <a:pt x="13203" y="12564"/>
                      <a:pt x="13203" y="12564"/>
                    </a:cubicBezTo>
                    <a:cubicBezTo>
                      <a:pt x="13203" y="12564"/>
                      <a:pt x="13203" y="12564"/>
                      <a:pt x="13063" y="12704"/>
                    </a:cubicBezTo>
                    <a:cubicBezTo>
                      <a:pt x="13063" y="12704"/>
                      <a:pt x="13328" y="12533"/>
                      <a:pt x="13203" y="12704"/>
                    </a:cubicBezTo>
                    <a:lnTo>
                      <a:pt x="13203" y="12704"/>
                    </a:lnTo>
                    <a:cubicBezTo>
                      <a:pt x="13203" y="12704"/>
                      <a:pt x="13125" y="12798"/>
                      <a:pt x="13110" y="12845"/>
                    </a:cubicBezTo>
                    <a:cubicBezTo>
                      <a:pt x="13094" y="12892"/>
                      <a:pt x="13390" y="12845"/>
                      <a:pt x="13203" y="12845"/>
                    </a:cubicBezTo>
                    <a:cubicBezTo>
                      <a:pt x="13437" y="13016"/>
                      <a:pt x="12891" y="12923"/>
                      <a:pt x="12813" y="13032"/>
                    </a:cubicBezTo>
                    <a:cubicBezTo>
                      <a:pt x="13219" y="13032"/>
                      <a:pt x="12689" y="13032"/>
                      <a:pt x="12611" y="13157"/>
                    </a:cubicBezTo>
                    <a:cubicBezTo>
                      <a:pt x="12587" y="13102"/>
                      <a:pt x="12587" y="13040"/>
                      <a:pt x="12611" y="12985"/>
                    </a:cubicBezTo>
                    <a:cubicBezTo>
                      <a:pt x="12611" y="13110"/>
                      <a:pt x="12611" y="13188"/>
                      <a:pt x="12517" y="13281"/>
                    </a:cubicBezTo>
                    <a:cubicBezTo>
                      <a:pt x="12689" y="13281"/>
                      <a:pt x="12876" y="13016"/>
                      <a:pt x="13094" y="13079"/>
                    </a:cubicBezTo>
                    <a:cubicBezTo>
                      <a:pt x="12985" y="12938"/>
                      <a:pt x="13437" y="13079"/>
                      <a:pt x="13094" y="13266"/>
                    </a:cubicBezTo>
                    <a:cubicBezTo>
                      <a:pt x="13094" y="13266"/>
                      <a:pt x="13094" y="13266"/>
                      <a:pt x="13094" y="13266"/>
                    </a:cubicBezTo>
                    <a:cubicBezTo>
                      <a:pt x="13094" y="13266"/>
                      <a:pt x="13343" y="13125"/>
                      <a:pt x="13219" y="13266"/>
                    </a:cubicBezTo>
                    <a:cubicBezTo>
                      <a:pt x="13094" y="13406"/>
                      <a:pt x="13312" y="13266"/>
                      <a:pt x="13297" y="13266"/>
                    </a:cubicBezTo>
                    <a:cubicBezTo>
                      <a:pt x="13281" y="13266"/>
                      <a:pt x="13297" y="13422"/>
                      <a:pt x="13156" y="13406"/>
                    </a:cubicBezTo>
                    <a:cubicBezTo>
                      <a:pt x="13250" y="13406"/>
                      <a:pt x="13032" y="13609"/>
                      <a:pt x="13032" y="13499"/>
                    </a:cubicBezTo>
                    <a:cubicBezTo>
                      <a:pt x="13032" y="13390"/>
                      <a:pt x="13203" y="13655"/>
                      <a:pt x="13032" y="13624"/>
                    </a:cubicBezTo>
                    <a:cubicBezTo>
                      <a:pt x="13234" y="13718"/>
                      <a:pt x="12595" y="13983"/>
                      <a:pt x="12564" y="13874"/>
                    </a:cubicBezTo>
                    <a:cubicBezTo>
                      <a:pt x="12533" y="13764"/>
                      <a:pt x="12455" y="13874"/>
                      <a:pt x="12564" y="13874"/>
                    </a:cubicBezTo>
                    <a:cubicBezTo>
                      <a:pt x="12143" y="14232"/>
                      <a:pt x="11800" y="14279"/>
                      <a:pt x="11426" y="13983"/>
                    </a:cubicBezTo>
                    <a:cubicBezTo>
                      <a:pt x="11426" y="13983"/>
                      <a:pt x="11083" y="13983"/>
                      <a:pt x="11114" y="13842"/>
                    </a:cubicBezTo>
                    <a:cubicBezTo>
                      <a:pt x="10553" y="14185"/>
                      <a:pt x="10039" y="14544"/>
                      <a:pt x="9462" y="14856"/>
                    </a:cubicBezTo>
                    <a:cubicBezTo>
                      <a:pt x="9846" y="14695"/>
                      <a:pt x="10278" y="14695"/>
                      <a:pt x="10662" y="14856"/>
                    </a:cubicBezTo>
                    <a:cubicBezTo>
                      <a:pt x="10622" y="14910"/>
                      <a:pt x="10568" y="14953"/>
                      <a:pt x="10506" y="14980"/>
                    </a:cubicBezTo>
                    <a:cubicBezTo>
                      <a:pt x="10662" y="14980"/>
                      <a:pt x="10304" y="15323"/>
                      <a:pt x="10506" y="15370"/>
                    </a:cubicBezTo>
                    <a:cubicBezTo>
                      <a:pt x="10350" y="15448"/>
                      <a:pt x="10647" y="15666"/>
                      <a:pt x="10740" y="15542"/>
                    </a:cubicBezTo>
                    <a:cubicBezTo>
                      <a:pt x="10740" y="15542"/>
                      <a:pt x="10865" y="15666"/>
                      <a:pt x="10740" y="15651"/>
                    </a:cubicBezTo>
                    <a:cubicBezTo>
                      <a:pt x="10958" y="15651"/>
                      <a:pt x="10148" y="15900"/>
                      <a:pt x="10210" y="15760"/>
                    </a:cubicBezTo>
                    <a:cubicBezTo>
                      <a:pt x="10075" y="15886"/>
                      <a:pt x="9929" y="16001"/>
                      <a:pt x="9774" y="16103"/>
                    </a:cubicBezTo>
                    <a:lnTo>
                      <a:pt x="9774" y="16103"/>
                    </a:lnTo>
                    <a:cubicBezTo>
                      <a:pt x="9680" y="16103"/>
                      <a:pt x="9774" y="15962"/>
                      <a:pt x="9774" y="16009"/>
                    </a:cubicBezTo>
                    <a:cubicBezTo>
                      <a:pt x="9774" y="15807"/>
                      <a:pt x="10319" y="15417"/>
                      <a:pt x="10319" y="15682"/>
                    </a:cubicBezTo>
                    <a:cubicBezTo>
                      <a:pt x="10319" y="15588"/>
                      <a:pt x="10428" y="15682"/>
                      <a:pt x="10475" y="15604"/>
                    </a:cubicBezTo>
                    <a:cubicBezTo>
                      <a:pt x="10195" y="15495"/>
                      <a:pt x="10195" y="15604"/>
                      <a:pt x="10475" y="15401"/>
                    </a:cubicBezTo>
                    <a:lnTo>
                      <a:pt x="10475" y="15401"/>
                    </a:lnTo>
                    <a:lnTo>
                      <a:pt x="10475" y="15401"/>
                    </a:lnTo>
                    <a:cubicBezTo>
                      <a:pt x="10475" y="15495"/>
                      <a:pt x="10023" y="15651"/>
                      <a:pt x="10195" y="15401"/>
                    </a:cubicBezTo>
                    <a:cubicBezTo>
                      <a:pt x="10070" y="15542"/>
                      <a:pt x="10023" y="15495"/>
                      <a:pt x="9914" y="15401"/>
                    </a:cubicBezTo>
                    <a:cubicBezTo>
                      <a:pt x="9805" y="15308"/>
                      <a:pt x="9914" y="15510"/>
                      <a:pt x="9914" y="15573"/>
                    </a:cubicBezTo>
                    <a:cubicBezTo>
                      <a:pt x="9914" y="15635"/>
                      <a:pt x="9914" y="15729"/>
                      <a:pt x="9914" y="15573"/>
                    </a:cubicBezTo>
                    <a:cubicBezTo>
                      <a:pt x="9914" y="15417"/>
                      <a:pt x="9618" y="15713"/>
                      <a:pt x="9680" y="15573"/>
                    </a:cubicBezTo>
                    <a:cubicBezTo>
                      <a:pt x="9743" y="15432"/>
                      <a:pt x="9509" y="15651"/>
                      <a:pt x="9680" y="15573"/>
                    </a:cubicBezTo>
                    <a:cubicBezTo>
                      <a:pt x="9852" y="15495"/>
                      <a:pt x="9571" y="15697"/>
                      <a:pt x="9509" y="15729"/>
                    </a:cubicBezTo>
                    <a:lnTo>
                      <a:pt x="9509" y="15729"/>
                    </a:lnTo>
                    <a:cubicBezTo>
                      <a:pt x="9509" y="15729"/>
                      <a:pt x="9509" y="15807"/>
                      <a:pt x="9509" y="15729"/>
                    </a:cubicBezTo>
                    <a:cubicBezTo>
                      <a:pt x="9509" y="15651"/>
                      <a:pt x="9400" y="15853"/>
                      <a:pt x="9509" y="15729"/>
                    </a:cubicBezTo>
                    <a:cubicBezTo>
                      <a:pt x="9306" y="15729"/>
                      <a:pt x="8823" y="16648"/>
                      <a:pt x="9150" y="16337"/>
                    </a:cubicBezTo>
                    <a:cubicBezTo>
                      <a:pt x="9150" y="16461"/>
                      <a:pt x="8932" y="16633"/>
                      <a:pt x="8994" y="16414"/>
                    </a:cubicBezTo>
                    <a:cubicBezTo>
                      <a:pt x="8870" y="16570"/>
                      <a:pt x="8885" y="16555"/>
                      <a:pt x="8901" y="16414"/>
                    </a:cubicBezTo>
                    <a:cubicBezTo>
                      <a:pt x="8495" y="16565"/>
                      <a:pt x="8153" y="16851"/>
                      <a:pt x="7934" y="17225"/>
                    </a:cubicBezTo>
                    <a:lnTo>
                      <a:pt x="7934" y="17225"/>
                    </a:lnTo>
                    <a:lnTo>
                      <a:pt x="7934" y="17225"/>
                    </a:lnTo>
                    <a:cubicBezTo>
                      <a:pt x="7934" y="17225"/>
                      <a:pt x="7934" y="17085"/>
                      <a:pt x="7934" y="17007"/>
                    </a:cubicBezTo>
                    <a:cubicBezTo>
                      <a:pt x="7810" y="17225"/>
                      <a:pt x="7794" y="17506"/>
                      <a:pt x="7591" y="17693"/>
                    </a:cubicBezTo>
                    <a:lnTo>
                      <a:pt x="7591" y="17693"/>
                    </a:lnTo>
                    <a:lnTo>
                      <a:pt x="7498" y="17833"/>
                    </a:lnTo>
                    <a:cubicBezTo>
                      <a:pt x="7531" y="17730"/>
                      <a:pt x="7584" y="17635"/>
                      <a:pt x="7654" y="17552"/>
                    </a:cubicBezTo>
                    <a:cubicBezTo>
                      <a:pt x="7654" y="17552"/>
                      <a:pt x="7654" y="17474"/>
                      <a:pt x="7654" y="17443"/>
                    </a:cubicBezTo>
                    <a:lnTo>
                      <a:pt x="7654" y="17443"/>
                    </a:lnTo>
                    <a:cubicBezTo>
                      <a:pt x="7654" y="17256"/>
                      <a:pt x="7810" y="17116"/>
                      <a:pt x="7872" y="16944"/>
                    </a:cubicBezTo>
                    <a:cubicBezTo>
                      <a:pt x="7755" y="17096"/>
                      <a:pt x="7660" y="17264"/>
                      <a:pt x="7591" y="17443"/>
                    </a:cubicBezTo>
                    <a:cubicBezTo>
                      <a:pt x="7591" y="17350"/>
                      <a:pt x="7591" y="17272"/>
                      <a:pt x="7591" y="17178"/>
                    </a:cubicBezTo>
                    <a:cubicBezTo>
                      <a:pt x="7591" y="17085"/>
                      <a:pt x="7591" y="17771"/>
                      <a:pt x="7591" y="17537"/>
                    </a:cubicBezTo>
                    <a:cubicBezTo>
                      <a:pt x="7591" y="17537"/>
                      <a:pt x="7591" y="17786"/>
                      <a:pt x="7591" y="17724"/>
                    </a:cubicBezTo>
                    <a:cubicBezTo>
                      <a:pt x="7591" y="17662"/>
                      <a:pt x="7591" y="17802"/>
                      <a:pt x="7591" y="17833"/>
                    </a:cubicBezTo>
                    <a:cubicBezTo>
                      <a:pt x="7600" y="17792"/>
                      <a:pt x="7600" y="17749"/>
                      <a:pt x="7591" y="17708"/>
                    </a:cubicBezTo>
                    <a:cubicBezTo>
                      <a:pt x="7591" y="17833"/>
                      <a:pt x="7716" y="17895"/>
                      <a:pt x="7591" y="18020"/>
                    </a:cubicBezTo>
                    <a:lnTo>
                      <a:pt x="7591" y="18020"/>
                    </a:lnTo>
                    <a:cubicBezTo>
                      <a:pt x="7591" y="18145"/>
                      <a:pt x="7420" y="18285"/>
                      <a:pt x="7451" y="18129"/>
                    </a:cubicBezTo>
                    <a:cubicBezTo>
                      <a:pt x="7482" y="17973"/>
                      <a:pt x="7451" y="18223"/>
                      <a:pt x="7451" y="18238"/>
                    </a:cubicBezTo>
                    <a:cubicBezTo>
                      <a:pt x="7451" y="18254"/>
                      <a:pt x="7529" y="18238"/>
                      <a:pt x="7545" y="18363"/>
                    </a:cubicBezTo>
                    <a:cubicBezTo>
                      <a:pt x="7536" y="18332"/>
                      <a:pt x="7536" y="18300"/>
                      <a:pt x="7545" y="18269"/>
                    </a:cubicBezTo>
                    <a:cubicBezTo>
                      <a:pt x="7545" y="18363"/>
                      <a:pt x="7545" y="18410"/>
                      <a:pt x="7420" y="18472"/>
                    </a:cubicBezTo>
                    <a:cubicBezTo>
                      <a:pt x="7295" y="18534"/>
                      <a:pt x="7420" y="18472"/>
                      <a:pt x="7420" y="18379"/>
                    </a:cubicBezTo>
                    <a:cubicBezTo>
                      <a:pt x="7420" y="18285"/>
                      <a:pt x="7420" y="18379"/>
                      <a:pt x="7420" y="18379"/>
                    </a:cubicBezTo>
                    <a:cubicBezTo>
                      <a:pt x="7420" y="18379"/>
                      <a:pt x="7420" y="18581"/>
                      <a:pt x="7420" y="18503"/>
                    </a:cubicBezTo>
                    <a:lnTo>
                      <a:pt x="7420" y="18503"/>
                    </a:lnTo>
                    <a:lnTo>
                      <a:pt x="7420" y="18503"/>
                    </a:lnTo>
                    <a:lnTo>
                      <a:pt x="7420" y="18503"/>
                    </a:lnTo>
                    <a:cubicBezTo>
                      <a:pt x="6344" y="18503"/>
                      <a:pt x="5861" y="22681"/>
                      <a:pt x="5970" y="20857"/>
                    </a:cubicBezTo>
                    <a:cubicBezTo>
                      <a:pt x="5970" y="20857"/>
                      <a:pt x="5970" y="20857"/>
                      <a:pt x="5970" y="20857"/>
                    </a:cubicBezTo>
                    <a:cubicBezTo>
                      <a:pt x="5970" y="20857"/>
                      <a:pt x="5970" y="20857"/>
                      <a:pt x="5970" y="20857"/>
                    </a:cubicBezTo>
                    <a:lnTo>
                      <a:pt x="5970" y="20857"/>
                    </a:lnTo>
                    <a:cubicBezTo>
                      <a:pt x="5970" y="20764"/>
                      <a:pt x="5970" y="20608"/>
                      <a:pt x="5970" y="20514"/>
                    </a:cubicBezTo>
                    <a:cubicBezTo>
                      <a:pt x="5970" y="20421"/>
                      <a:pt x="5970" y="20514"/>
                      <a:pt x="5970" y="20608"/>
                    </a:cubicBezTo>
                    <a:cubicBezTo>
                      <a:pt x="5970" y="20701"/>
                      <a:pt x="6220" y="19766"/>
                      <a:pt x="5970" y="19735"/>
                    </a:cubicBezTo>
                    <a:cubicBezTo>
                      <a:pt x="5721" y="19704"/>
                      <a:pt x="5877" y="19828"/>
                      <a:pt x="5970" y="19735"/>
                    </a:cubicBezTo>
                    <a:lnTo>
                      <a:pt x="5970" y="19735"/>
                    </a:lnTo>
                    <a:lnTo>
                      <a:pt x="5970" y="19735"/>
                    </a:lnTo>
                    <a:cubicBezTo>
                      <a:pt x="5970" y="19735"/>
                      <a:pt x="5970" y="19579"/>
                      <a:pt x="5970" y="19641"/>
                    </a:cubicBezTo>
                    <a:cubicBezTo>
                      <a:pt x="5978" y="19605"/>
                      <a:pt x="5978" y="19568"/>
                      <a:pt x="5970" y="19532"/>
                    </a:cubicBezTo>
                    <a:lnTo>
                      <a:pt x="5970" y="19532"/>
                    </a:lnTo>
                    <a:cubicBezTo>
                      <a:pt x="5970" y="19532"/>
                      <a:pt x="5970" y="19454"/>
                      <a:pt x="5970" y="19407"/>
                    </a:cubicBezTo>
                    <a:lnTo>
                      <a:pt x="5970" y="19407"/>
                    </a:lnTo>
                    <a:cubicBezTo>
                      <a:pt x="5970" y="19407"/>
                      <a:pt x="5970" y="19407"/>
                      <a:pt x="5970" y="19407"/>
                    </a:cubicBezTo>
                    <a:cubicBezTo>
                      <a:pt x="5970" y="19407"/>
                      <a:pt x="5970" y="19407"/>
                      <a:pt x="5970" y="19407"/>
                    </a:cubicBezTo>
                    <a:cubicBezTo>
                      <a:pt x="5970" y="19407"/>
                      <a:pt x="5970" y="19314"/>
                      <a:pt x="5970" y="19267"/>
                    </a:cubicBezTo>
                    <a:lnTo>
                      <a:pt x="5970" y="19361"/>
                    </a:lnTo>
                    <a:cubicBezTo>
                      <a:pt x="5970" y="19267"/>
                      <a:pt x="5799" y="19361"/>
                      <a:pt x="5783" y="19470"/>
                    </a:cubicBezTo>
                    <a:lnTo>
                      <a:pt x="5783" y="19470"/>
                    </a:lnTo>
                    <a:cubicBezTo>
                      <a:pt x="5783" y="19641"/>
                      <a:pt x="5783" y="19750"/>
                      <a:pt x="5783" y="19828"/>
                    </a:cubicBezTo>
                    <a:cubicBezTo>
                      <a:pt x="5783" y="19906"/>
                      <a:pt x="5783" y="19485"/>
                      <a:pt x="5783" y="19750"/>
                    </a:cubicBezTo>
                    <a:lnTo>
                      <a:pt x="5783" y="19657"/>
                    </a:lnTo>
                    <a:cubicBezTo>
                      <a:pt x="5783" y="19548"/>
                      <a:pt x="5783" y="19485"/>
                      <a:pt x="5783" y="19376"/>
                    </a:cubicBezTo>
                    <a:cubicBezTo>
                      <a:pt x="5783" y="19267"/>
                      <a:pt x="5783" y="19376"/>
                      <a:pt x="5783" y="19376"/>
                    </a:cubicBezTo>
                    <a:cubicBezTo>
                      <a:pt x="5783" y="19594"/>
                      <a:pt x="5783" y="19127"/>
                      <a:pt x="5612" y="19376"/>
                    </a:cubicBezTo>
                    <a:cubicBezTo>
                      <a:pt x="5612" y="19376"/>
                      <a:pt x="5612" y="19236"/>
                      <a:pt x="5612" y="19174"/>
                    </a:cubicBezTo>
                    <a:cubicBezTo>
                      <a:pt x="5612" y="19111"/>
                      <a:pt x="5612" y="19283"/>
                      <a:pt x="5612" y="19174"/>
                    </a:cubicBezTo>
                    <a:cubicBezTo>
                      <a:pt x="5621" y="19251"/>
                      <a:pt x="5621" y="19330"/>
                      <a:pt x="5612" y="19407"/>
                    </a:cubicBezTo>
                    <a:lnTo>
                      <a:pt x="5612" y="19407"/>
                    </a:lnTo>
                    <a:lnTo>
                      <a:pt x="5612" y="19517"/>
                    </a:lnTo>
                    <a:lnTo>
                      <a:pt x="5612" y="19517"/>
                    </a:lnTo>
                    <a:cubicBezTo>
                      <a:pt x="5612" y="19594"/>
                      <a:pt x="5612" y="19517"/>
                      <a:pt x="5612" y="19517"/>
                    </a:cubicBezTo>
                    <a:lnTo>
                      <a:pt x="5612" y="19517"/>
                    </a:lnTo>
                    <a:cubicBezTo>
                      <a:pt x="5612" y="19517"/>
                      <a:pt x="5612" y="19517"/>
                      <a:pt x="5612" y="19517"/>
                    </a:cubicBezTo>
                    <a:lnTo>
                      <a:pt x="5612" y="19517"/>
                    </a:lnTo>
                    <a:cubicBezTo>
                      <a:pt x="5612" y="19517"/>
                      <a:pt x="5612" y="19610"/>
                      <a:pt x="5612" y="19610"/>
                    </a:cubicBezTo>
                    <a:lnTo>
                      <a:pt x="5612" y="19610"/>
                    </a:lnTo>
                    <a:cubicBezTo>
                      <a:pt x="5523" y="19891"/>
                      <a:pt x="5450" y="20178"/>
                      <a:pt x="5393" y="20467"/>
                    </a:cubicBezTo>
                    <a:cubicBezTo>
                      <a:pt x="5393" y="20467"/>
                      <a:pt x="5393" y="20358"/>
                      <a:pt x="5393" y="20327"/>
                    </a:cubicBezTo>
                    <a:cubicBezTo>
                      <a:pt x="5393" y="20296"/>
                      <a:pt x="5300" y="20748"/>
                      <a:pt x="5393" y="20530"/>
                    </a:cubicBezTo>
                    <a:cubicBezTo>
                      <a:pt x="5298" y="20978"/>
                      <a:pt x="5225" y="21430"/>
                      <a:pt x="5175" y="21886"/>
                    </a:cubicBezTo>
                    <a:cubicBezTo>
                      <a:pt x="5144" y="22306"/>
                      <a:pt x="5144" y="22728"/>
                      <a:pt x="5175" y="23149"/>
                    </a:cubicBezTo>
                    <a:cubicBezTo>
                      <a:pt x="5175" y="23149"/>
                      <a:pt x="5175" y="23149"/>
                      <a:pt x="5175" y="23149"/>
                    </a:cubicBezTo>
                    <a:cubicBezTo>
                      <a:pt x="5181" y="23123"/>
                      <a:pt x="5181" y="23096"/>
                      <a:pt x="5175" y="23071"/>
                    </a:cubicBezTo>
                    <a:lnTo>
                      <a:pt x="5175" y="23071"/>
                    </a:lnTo>
                    <a:cubicBezTo>
                      <a:pt x="5175" y="23071"/>
                      <a:pt x="5175" y="23071"/>
                      <a:pt x="5175" y="23071"/>
                    </a:cubicBezTo>
                    <a:lnTo>
                      <a:pt x="5175" y="23071"/>
                    </a:lnTo>
                    <a:cubicBezTo>
                      <a:pt x="5175" y="23071"/>
                      <a:pt x="5175" y="23195"/>
                      <a:pt x="5175" y="23258"/>
                    </a:cubicBezTo>
                    <a:lnTo>
                      <a:pt x="5175" y="23258"/>
                    </a:lnTo>
                    <a:lnTo>
                      <a:pt x="5175" y="23258"/>
                    </a:lnTo>
                    <a:cubicBezTo>
                      <a:pt x="5183" y="23190"/>
                      <a:pt x="5183" y="23122"/>
                      <a:pt x="5175" y="23055"/>
                    </a:cubicBezTo>
                    <a:lnTo>
                      <a:pt x="5175" y="23055"/>
                    </a:lnTo>
                    <a:cubicBezTo>
                      <a:pt x="5316" y="22915"/>
                      <a:pt x="5175" y="22244"/>
                      <a:pt x="5440" y="22385"/>
                    </a:cubicBezTo>
                    <a:cubicBezTo>
                      <a:pt x="5440" y="22385"/>
                      <a:pt x="5440" y="22291"/>
                      <a:pt x="5440" y="22385"/>
                    </a:cubicBezTo>
                    <a:cubicBezTo>
                      <a:pt x="5440" y="22478"/>
                      <a:pt x="5440" y="22385"/>
                      <a:pt x="5440" y="22385"/>
                    </a:cubicBezTo>
                    <a:cubicBezTo>
                      <a:pt x="5440" y="22385"/>
                      <a:pt x="5440" y="22525"/>
                      <a:pt x="5440" y="22385"/>
                    </a:cubicBezTo>
                    <a:cubicBezTo>
                      <a:pt x="5534" y="22650"/>
                      <a:pt x="5269" y="22946"/>
                      <a:pt x="5316" y="23227"/>
                    </a:cubicBezTo>
                    <a:cubicBezTo>
                      <a:pt x="5316" y="23227"/>
                      <a:pt x="5316" y="23476"/>
                      <a:pt x="5316" y="23523"/>
                    </a:cubicBezTo>
                    <a:cubicBezTo>
                      <a:pt x="5277" y="23863"/>
                      <a:pt x="4970" y="24107"/>
                      <a:pt x="4630" y="24068"/>
                    </a:cubicBezTo>
                    <a:cubicBezTo>
                      <a:pt x="4290" y="24029"/>
                      <a:pt x="4045" y="23723"/>
                      <a:pt x="4084" y="23382"/>
                    </a:cubicBezTo>
                    <a:cubicBezTo>
                      <a:pt x="4084" y="23554"/>
                      <a:pt x="4084" y="23912"/>
                      <a:pt x="3991" y="24193"/>
                    </a:cubicBezTo>
                    <a:lnTo>
                      <a:pt x="3991" y="24193"/>
                    </a:lnTo>
                    <a:cubicBezTo>
                      <a:pt x="3975" y="24254"/>
                      <a:pt x="3975" y="24319"/>
                      <a:pt x="3991" y="24380"/>
                    </a:cubicBezTo>
                    <a:lnTo>
                      <a:pt x="3991" y="24380"/>
                    </a:lnTo>
                    <a:cubicBezTo>
                      <a:pt x="3991" y="24380"/>
                      <a:pt x="3991" y="24380"/>
                      <a:pt x="3991" y="24458"/>
                    </a:cubicBezTo>
                    <a:cubicBezTo>
                      <a:pt x="3991" y="24536"/>
                      <a:pt x="4178" y="24629"/>
                      <a:pt x="4162" y="24458"/>
                    </a:cubicBezTo>
                    <a:cubicBezTo>
                      <a:pt x="4162" y="24552"/>
                      <a:pt x="4162" y="24598"/>
                      <a:pt x="4287" y="24676"/>
                    </a:cubicBezTo>
                    <a:lnTo>
                      <a:pt x="4287" y="24676"/>
                    </a:lnTo>
                    <a:cubicBezTo>
                      <a:pt x="4300" y="24722"/>
                      <a:pt x="4300" y="24771"/>
                      <a:pt x="4287" y="24817"/>
                    </a:cubicBezTo>
                    <a:cubicBezTo>
                      <a:pt x="4287" y="24692"/>
                      <a:pt x="4287" y="24817"/>
                      <a:pt x="4287" y="24910"/>
                    </a:cubicBezTo>
                    <a:lnTo>
                      <a:pt x="4287" y="24910"/>
                    </a:lnTo>
                    <a:cubicBezTo>
                      <a:pt x="4326" y="25121"/>
                      <a:pt x="4326" y="25338"/>
                      <a:pt x="4287" y="25549"/>
                    </a:cubicBezTo>
                    <a:lnTo>
                      <a:pt x="4287" y="25549"/>
                    </a:lnTo>
                    <a:cubicBezTo>
                      <a:pt x="4295" y="25689"/>
                      <a:pt x="4295" y="25830"/>
                      <a:pt x="4287" y="25970"/>
                    </a:cubicBezTo>
                    <a:cubicBezTo>
                      <a:pt x="4287" y="25970"/>
                      <a:pt x="4287" y="25877"/>
                      <a:pt x="4287" y="25814"/>
                    </a:cubicBezTo>
                    <a:cubicBezTo>
                      <a:pt x="4279" y="25923"/>
                      <a:pt x="4279" y="26033"/>
                      <a:pt x="4287" y="26142"/>
                    </a:cubicBezTo>
                    <a:cubicBezTo>
                      <a:pt x="4296" y="26116"/>
                      <a:pt x="4296" y="26089"/>
                      <a:pt x="4287" y="26064"/>
                    </a:cubicBezTo>
                    <a:cubicBezTo>
                      <a:pt x="4262" y="26192"/>
                      <a:pt x="4262" y="26325"/>
                      <a:pt x="4287" y="26453"/>
                    </a:cubicBezTo>
                    <a:cubicBezTo>
                      <a:pt x="4287" y="26375"/>
                      <a:pt x="4489" y="27264"/>
                      <a:pt x="4474" y="26983"/>
                    </a:cubicBezTo>
                    <a:cubicBezTo>
                      <a:pt x="4661" y="27467"/>
                      <a:pt x="4692" y="26438"/>
                      <a:pt x="5113" y="27654"/>
                    </a:cubicBezTo>
                    <a:cubicBezTo>
                      <a:pt x="5113" y="27560"/>
                      <a:pt x="5113" y="26625"/>
                      <a:pt x="5409" y="26859"/>
                    </a:cubicBezTo>
                    <a:cubicBezTo>
                      <a:pt x="5409" y="27061"/>
                      <a:pt x="5409" y="26859"/>
                      <a:pt x="5409" y="26749"/>
                    </a:cubicBezTo>
                    <a:cubicBezTo>
                      <a:pt x="5409" y="26640"/>
                      <a:pt x="5674" y="26594"/>
                      <a:pt x="5768" y="26531"/>
                    </a:cubicBezTo>
                    <a:cubicBezTo>
                      <a:pt x="5877" y="26734"/>
                      <a:pt x="5768" y="27077"/>
                      <a:pt x="5768" y="27357"/>
                    </a:cubicBezTo>
                    <a:cubicBezTo>
                      <a:pt x="6017" y="28043"/>
                      <a:pt x="5768" y="26937"/>
                      <a:pt x="6048" y="26921"/>
                    </a:cubicBezTo>
                    <a:cubicBezTo>
                      <a:pt x="6329" y="26905"/>
                      <a:pt x="5923" y="26812"/>
                      <a:pt x="6048" y="26718"/>
                    </a:cubicBezTo>
                    <a:cubicBezTo>
                      <a:pt x="6173" y="26625"/>
                      <a:pt x="6048" y="26921"/>
                      <a:pt x="6157" y="26983"/>
                    </a:cubicBezTo>
                    <a:cubicBezTo>
                      <a:pt x="6292" y="26991"/>
                      <a:pt x="6399" y="27098"/>
                      <a:pt x="6407" y="27233"/>
                    </a:cubicBezTo>
                    <a:cubicBezTo>
                      <a:pt x="6298" y="27420"/>
                      <a:pt x="6672" y="27357"/>
                      <a:pt x="6781" y="27404"/>
                    </a:cubicBezTo>
                    <a:cubicBezTo>
                      <a:pt x="6859" y="27825"/>
                      <a:pt x="7342" y="27264"/>
                      <a:pt x="7498" y="27591"/>
                    </a:cubicBezTo>
                    <a:cubicBezTo>
                      <a:pt x="7264" y="27591"/>
                      <a:pt x="7326" y="27591"/>
                      <a:pt x="7498" y="27809"/>
                    </a:cubicBezTo>
                    <a:cubicBezTo>
                      <a:pt x="7498" y="27654"/>
                      <a:pt x="8043" y="28230"/>
                      <a:pt x="7654" y="28230"/>
                    </a:cubicBezTo>
                    <a:cubicBezTo>
                      <a:pt x="8064" y="28271"/>
                      <a:pt x="8367" y="28630"/>
                      <a:pt x="8340" y="29041"/>
                    </a:cubicBezTo>
                    <a:cubicBezTo>
                      <a:pt x="8340" y="28745"/>
                      <a:pt x="8667" y="29181"/>
                      <a:pt x="8667" y="29322"/>
                    </a:cubicBezTo>
                    <a:cubicBezTo>
                      <a:pt x="8589" y="29134"/>
                      <a:pt x="9493" y="29322"/>
                      <a:pt x="9275" y="29524"/>
                    </a:cubicBezTo>
                    <a:cubicBezTo>
                      <a:pt x="9478" y="29368"/>
                      <a:pt x="9961" y="29976"/>
                      <a:pt x="9852" y="30085"/>
                    </a:cubicBezTo>
                    <a:cubicBezTo>
                      <a:pt x="9992" y="29852"/>
                      <a:pt x="10101" y="30615"/>
                      <a:pt x="10257" y="30787"/>
                    </a:cubicBezTo>
                    <a:cubicBezTo>
                      <a:pt x="10413" y="30958"/>
                      <a:pt x="9961" y="31364"/>
                      <a:pt x="10023" y="31644"/>
                    </a:cubicBezTo>
                    <a:cubicBezTo>
                      <a:pt x="10023" y="31410"/>
                      <a:pt x="10195" y="31426"/>
                      <a:pt x="10117" y="31644"/>
                    </a:cubicBezTo>
                    <a:cubicBezTo>
                      <a:pt x="10117" y="31644"/>
                      <a:pt x="10226" y="31364"/>
                      <a:pt x="10288" y="31519"/>
                    </a:cubicBezTo>
                    <a:cubicBezTo>
                      <a:pt x="10350" y="31675"/>
                      <a:pt x="10288" y="31519"/>
                      <a:pt x="10288" y="31519"/>
                    </a:cubicBezTo>
                    <a:cubicBezTo>
                      <a:pt x="10288" y="31052"/>
                      <a:pt x="11255" y="31894"/>
                      <a:pt x="10288" y="31847"/>
                    </a:cubicBezTo>
                    <a:cubicBezTo>
                      <a:pt x="10662" y="31847"/>
                      <a:pt x="10475" y="32049"/>
                      <a:pt x="10600" y="32330"/>
                    </a:cubicBezTo>
                    <a:cubicBezTo>
                      <a:pt x="10475" y="31831"/>
                      <a:pt x="10958" y="31379"/>
                      <a:pt x="11270" y="31831"/>
                    </a:cubicBezTo>
                    <a:cubicBezTo>
                      <a:pt x="11270" y="31831"/>
                      <a:pt x="11442" y="31925"/>
                      <a:pt x="11473" y="32003"/>
                    </a:cubicBezTo>
                    <a:cubicBezTo>
                      <a:pt x="11504" y="32081"/>
                      <a:pt x="11785" y="32096"/>
                      <a:pt x="11691" y="32190"/>
                    </a:cubicBezTo>
                    <a:cubicBezTo>
                      <a:pt x="11598" y="32283"/>
                      <a:pt x="11691" y="32424"/>
                      <a:pt x="11769" y="32517"/>
                    </a:cubicBezTo>
                    <a:cubicBezTo>
                      <a:pt x="11847" y="32611"/>
                      <a:pt x="11769" y="32205"/>
                      <a:pt x="11769" y="32408"/>
                    </a:cubicBezTo>
                    <a:cubicBezTo>
                      <a:pt x="11769" y="32268"/>
                      <a:pt x="11894" y="32314"/>
                      <a:pt x="11769" y="32221"/>
                    </a:cubicBezTo>
                    <a:cubicBezTo>
                      <a:pt x="11644" y="32127"/>
                      <a:pt x="12128" y="32455"/>
                      <a:pt x="12128" y="32346"/>
                    </a:cubicBezTo>
                    <a:cubicBezTo>
                      <a:pt x="12128" y="32237"/>
                      <a:pt x="12128" y="32346"/>
                      <a:pt x="12221" y="32439"/>
                    </a:cubicBezTo>
                    <a:cubicBezTo>
                      <a:pt x="12315" y="32533"/>
                      <a:pt x="12221" y="32439"/>
                      <a:pt x="12221" y="32439"/>
                    </a:cubicBezTo>
                    <a:lnTo>
                      <a:pt x="12221" y="32439"/>
                    </a:lnTo>
                    <a:lnTo>
                      <a:pt x="12221" y="32439"/>
                    </a:lnTo>
                    <a:cubicBezTo>
                      <a:pt x="13468" y="32813"/>
                      <a:pt x="14918" y="33998"/>
                      <a:pt x="13546" y="35323"/>
                    </a:cubicBezTo>
                    <a:cubicBezTo>
                      <a:pt x="13546" y="35245"/>
                      <a:pt x="13546" y="35105"/>
                      <a:pt x="13546" y="35229"/>
                    </a:cubicBezTo>
                    <a:cubicBezTo>
                      <a:pt x="13546" y="35354"/>
                      <a:pt x="13453" y="35229"/>
                      <a:pt x="13437" y="35229"/>
                    </a:cubicBezTo>
                    <a:lnTo>
                      <a:pt x="13437" y="35229"/>
                    </a:lnTo>
                    <a:cubicBezTo>
                      <a:pt x="13733" y="35744"/>
                      <a:pt x="14263" y="37770"/>
                      <a:pt x="13437" y="37614"/>
                    </a:cubicBezTo>
                    <a:cubicBezTo>
                      <a:pt x="13437" y="37614"/>
                      <a:pt x="13172" y="37614"/>
                      <a:pt x="13437" y="37614"/>
                    </a:cubicBezTo>
                    <a:cubicBezTo>
                      <a:pt x="13702" y="37614"/>
                      <a:pt x="13297" y="37614"/>
                      <a:pt x="13250" y="37614"/>
                    </a:cubicBezTo>
                    <a:cubicBezTo>
                      <a:pt x="13203" y="37614"/>
                      <a:pt x="13250" y="37692"/>
                      <a:pt x="13250" y="37833"/>
                    </a:cubicBezTo>
                    <a:cubicBezTo>
                      <a:pt x="13032" y="37661"/>
                      <a:pt x="12938" y="38113"/>
                      <a:pt x="12845" y="38082"/>
                    </a:cubicBezTo>
                    <a:cubicBezTo>
                      <a:pt x="12751" y="38051"/>
                      <a:pt x="12845" y="38082"/>
                      <a:pt x="12845" y="38082"/>
                    </a:cubicBezTo>
                    <a:cubicBezTo>
                      <a:pt x="12845" y="38082"/>
                      <a:pt x="12969" y="38160"/>
                      <a:pt x="12845" y="38160"/>
                    </a:cubicBezTo>
                    <a:cubicBezTo>
                      <a:pt x="12720" y="38160"/>
                      <a:pt x="12845" y="38160"/>
                      <a:pt x="12845" y="38160"/>
                    </a:cubicBezTo>
                    <a:cubicBezTo>
                      <a:pt x="12845" y="38160"/>
                      <a:pt x="13110" y="38503"/>
                      <a:pt x="13078" y="38597"/>
                    </a:cubicBezTo>
                    <a:cubicBezTo>
                      <a:pt x="13047" y="38690"/>
                      <a:pt x="13078" y="39657"/>
                      <a:pt x="13078" y="39329"/>
                    </a:cubicBezTo>
                    <a:cubicBezTo>
                      <a:pt x="13078" y="39329"/>
                      <a:pt x="13078" y="39329"/>
                      <a:pt x="13078" y="39251"/>
                    </a:cubicBezTo>
                    <a:cubicBezTo>
                      <a:pt x="13078" y="39173"/>
                      <a:pt x="13078" y="39127"/>
                      <a:pt x="13078" y="39127"/>
                    </a:cubicBezTo>
                    <a:cubicBezTo>
                      <a:pt x="13012" y="39062"/>
                      <a:pt x="12939" y="39004"/>
                      <a:pt x="12860" y="38955"/>
                    </a:cubicBezTo>
                    <a:cubicBezTo>
                      <a:pt x="12915" y="39005"/>
                      <a:pt x="12962" y="39063"/>
                      <a:pt x="13000" y="39127"/>
                    </a:cubicBezTo>
                    <a:cubicBezTo>
                      <a:pt x="13000" y="39127"/>
                      <a:pt x="13110" y="39345"/>
                      <a:pt x="13000" y="39251"/>
                    </a:cubicBezTo>
                    <a:cubicBezTo>
                      <a:pt x="13484" y="39968"/>
                      <a:pt x="13000" y="40171"/>
                      <a:pt x="12564" y="39766"/>
                    </a:cubicBezTo>
                    <a:lnTo>
                      <a:pt x="13203" y="40311"/>
                    </a:lnTo>
                    <a:lnTo>
                      <a:pt x="13203" y="40311"/>
                    </a:lnTo>
                    <a:cubicBezTo>
                      <a:pt x="13283" y="40379"/>
                      <a:pt x="13347" y="40464"/>
                      <a:pt x="13390" y="40561"/>
                    </a:cubicBezTo>
                    <a:lnTo>
                      <a:pt x="13390" y="40561"/>
                    </a:lnTo>
                    <a:cubicBezTo>
                      <a:pt x="13390" y="40561"/>
                      <a:pt x="13562" y="40794"/>
                      <a:pt x="13390" y="40732"/>
                    </a:cubicBezTo>
                    <a:cubicBezTo>
                      <a:pt x="13219" y="40670"/>
                      <a:pt x="13063" y="40732"/>
                      <a:pt x="12969" y="40732"/>
                    </a:cubicBezTo>
                    <a:cubicBezTo>
                      <a:pt x="12876" y="40732"/>
                      <a:pt x="13141" y="40872"/>
                      <a:pt x="13219" y="40950"/>
                    </a:cubicBezTo>
                    <a:lnTo>
                      <a:pt x="13219" y="40950"/>
                    </a:lnTo>
                    <a:cubicBezTo>
                      <a:pt x="13530" y="41262"/>
                      <a:pt x="13608" y="41356"/>
                      <a:pt x="13125" y="41106"/>
                    </a:cubicBezTo>
                    <a:cubicBezTo>
                      <a:pt x="13269" y="41259"/>
                      <a:pt x="13438" y="41385"/>
                      <a:pt x="13624" y="41480"/>
                    </a:cubicBezTo>
                    <a:cubicBezTo>
                      <a:pt x="13624" y="41480"/>
                      <a:pt x="13624" y="41480"/>
                      <a:pt x="13624" y="41480"/>
                    </a:cubicBezTo>
                    <a:lnTo>
                      <a:pt x="13624" y="41480"/>
                    </a:lnTo>
                    <a:cubicBezTo>
                      <a:pt x="13889" y="41683"/>
                      <a:pt x="13733" y="41699"/>
                      <a:pt x="14263" y="42073"/>
                    </a:cubicBezTo>
                    <a:lnTo>
                      <a:pt x="14263" y="42073"/>
                    </a:lnTo>
                    <a:lnTo>
                      <a:pt x="14263" y="42073"/>
                    </a:lnTo>
                    <a:lnTo>
                      <a:pt x="14263" y="42073"/>
                    </a:lnTo>
                    <a:cubicBezTo>
                      <a:pt x="14513" y="42353"/>
                      <a:pt x="14918" y="42416"/>
                      <a:pt x="15183" y="42665"/>
                    </a:cubicBezTo>
                    <a:lnTo>
                      <a:pt x="15183" y="42665"/>
                    </a:lnTo>
                    <a:lnTo>
                      <a:pt x="15183" y="42665"/>
                    </a:lnTo>
                    <a:lnTo>
                      <a:pt x="15183" y="42665"/>
                    </a:lnTo>
                    <a:lnTo>
                      <a:pt x="15323" y="42774"/>
                    </a:lnTo>
                    <a:lnTo>
                      <a:pt x="15323" y="42774"/>
                    </a:lnTo>
                    <a:lnTo>
                      <a:pt x="15510" y="42899"/>
                    </a:lnTo>
                    <a:cubicBezTo>
                      <a:pt x="15510" y="42899"/>
                      <a:pt x="15510" y="42899"/>
                      <a:pt x="15417" y="42899"/>
                    </a:cubicBezTo>
                    <a:cubicBezTo>
                      <a:pt x="15680" y="43066"/>
                      <a:pt x="15956" y="43212"/>
                      <a:pt x="16243" y="43335"/>
                    </a:cubicBezTo>
                    <a:lnTo>
                      <a:pt x="16243" y="43335"/>
                    </a:lnTo>
                    <a:cubicBezTo>
                      <a:pt x="16149" y="43335"/>
                      <a:pt x="16243" y="43335"/>
                      <a:pt x="16243" y="43335"/>
                    </a:cubicBezTo>
                    <a:lnTo>
                      <a:pt x="16243" y="43335"/>
                    </a:lnTo>
                    <a:cubicBezTo>
                      <a:pt x="16389" y="43422"/>
                      <a:pt x="16539" y="43501"/>
                      <a:pt x="16695" y="43569"/>
                    </a:cubicBezTo>
                    <a:lnTo>
                      <a:pt x="16492" y="43569"/>
                    </a:lnTo>
                    <a:close/>
                    <a:moveTo>
                      <a:pt x="18659" y="9182"/>
                    </a:moveTo>
                    <a:cubicBezTo>
                      <a:pt x="18410" y="9446"/>
                      <a:pt x="18659" y="9088"/>
                      <a:pt x="18659" y="9057"/>
                    </a:cubicBezTo>
                    <a:cubicBezTo>
                      <a:pt x="18659" y="9026"/>
                      <a:pt x="18534" y="9197"/>
                      <a:pt x="18410" y="9369"/>
                    </a:cubicBezTo>
                    <a:cubicBezTo>
                      <a:pt x="17989" y="9150"/>
                      <a:pt x="17770" y="9961"/>
                      <a:pt x="17505" y="9899"/>
                    </a:cubicBezTo>
                    <a:cubicBezTo>
                      <a:pt x="17724" y="10132"/>
                      <a:pt x="17334" y="9899"/>
                      <a:pt x="17381" y="10132"/>
                    </a:cubicBezTo>
                    <a:cubicBezTo>
                      <a:pt x="17256" y="9945"/>
                      <a:pt x="17381" y="10132"/>
                      <a:pt x="17381" y="10132"/>
                    </a:cubicBezTo>
                    <a:cubicBezTo>
                      <a:pt x="17381" y="9899"/>
                      <a:pt x="17381" y="10397"/>
                      <a:pt x="17240" y="10132"/>
                    </a:cubicBezTo>
                    <a:cubicBezTo>
                      <a:pt x="16960" y="10132"/>
                      <a:pt x="17240" y="10507"/>
                      <a:pt x="16866" y="10507"/>
                    </a:cubicBezTo>
                    <a:cubicBezTo>
                      <a:pt x="16866" y="10507"/>
                      <a:pt x="16633" y="10912"/>
                      <a:pt x="16570" y="10803"/>
                    </a:cubicBezTo>
                    <a:cubicBezTo>
                      <a:pt x="16508" y="10694"/>
                      <a:pt x="16196" y="11302"/>
                      <a:pt x="16336" y="10990"/>
                    </a:cubicBezTo>
                    <a:cubicBezTo>
                      <a:pt x="15915" y="11255"/>
                      <a:pt x="16430" y="10834"/>
                      <a:pt x="16103" y="10896"/>
                    </a:cubicBezTo>
                    <a:cubicBezTo>
                      <a:pt x="16492" y="10600"/>
                      <a:pt x="16399" y="10662"/>
                      <a:pt x="15884" y="10694"/>
                    </a:cubicBezTo>
                    <a:cubicBezTo>
                      <a:pt x="15962" y="10267"/>
                      <a:pt x="16121" y="9860"/>
                      <a:pt x="16352" y="9493"/>
                    </a:cubicBezTo>
                    <a:cubicBezTo>
                      <a:pt x="16352" y="9275"/>
                      <a:pt x="16539" y="9493"/>
                      <a:pt x="16742" y="9197"/>
                    </a:cubicBezTo>
                    <a:cubicBezTo>
                      <a:pt x="16321" y="9353"/>
                      <a:pt x="16321" y="9197"/>
                      <a:pt x="16742" y="8839"/>
                    </a:cubicBezTo>
                    <a:cubicBezTo>
                      <a:pt x="16648" y="8839"/>
                      <a:pt x="16523" y="8839"/>
                      <a:pt x="16648" y="8839"/>
                    </a:cubicBezTo>
                    <a:cubicBezTo>
                      <a:pt x="16773" y="8839"/>
                      <a:pt x="16648" y="8745"/>
                      <a:pt x="17209" y="8480"/>
                    </a:cubicBezTo>
                    <a:cubicBezTo>
                      <a:pt x="16071" y="8901"/>
                      <a:pt x="17599" y="8137"/>
                      <a:pt x="17038" y="8262"/>
                    </a:cubicBezTo>
                    <a:cubicBezTo>
                      <a:pt x="17490" y="7856"/>
                      <a:pt x="17381" y="8433"/>
                      <a:pt x="17537" y="8262"/>
                    </a:cubicBezTo>
                    <a:cubicBezTo>
                      <a:pt x="17240" y="8262"/>
                      <a:pt x="17848" y="8044"/>
                      <a:pt x="17537" y="8137"/>
                    </a:cubicBezTo>
                    <a:cubicBezTo>
                      <a:pt x="17646" y="8028"/>
                      <a:pt x="17396" y="8137"/>
                      <a:pt x="17194" y="8137"/>
                    </a:cubicBezTo>
                    <a:cubicBezTo>
                      <a:pt x="17630" y="7747"/>
                      <a:pt x="17459" y="8246"/>
                      <a:pt x="17786" y="7872"/>
                    </a:cubicBezTo>
                    <a:cubicBezTo>
                      <a:pt x="17505" y="8028"/>
                      <a:pt x="17552" y="7763"/>
                      <a:pt x="17786" y="7872"/>
                    </a:cubicBezTo>
                    <a:cubicBezTo>
                      <a:pt x="17976" y="7744"/>
                      <a:pt x="18154" y="7598"/>
                      <a:pt x="18316" y="7436"/>
                    </a:cubicBezTo>
                    <a:cubicBezTo>
                      <a:pt x="18145" y="7436"/>
                      <a:pt x="18316" y="6594"/>
                      <a:pt x="18472" y="7217"/>
                    </a:cubicBezTo>
                    <a:cubicBezTo>
                      <a:pt x="18472" y="7217"/>
                      <a:pt x="18612" y="6999"/>
                      <a:pt x="18659" y="7046"/>
                    </a:cubicBezTo>
                    <a:cubicBezTo>
                      <a:pt x="18706" y="7093"/>
                      <a:pt x="19189" y="6344"/>
                      <a:pt x="18768" y="6703"/>
                    </a:cubicBezTo>
                    <a:cubicBezTo>
                      <a:pt x="18347" y="7061"/>
                      <a:pt x="19205" y="6282"/>
                      <a:pt x="19735" y="5752"/>
                    </a:cubicBezTo>
                    <a:cubicBezTo>
                      <a:pt x="21013" y="4770"/>
                      <a:pt x="19735" y="4988"/>
                      <a:pt x="20795" y="4521"/>
                    </a:cubicBezTo>
                    <a:cubicBezTo>
                      <a:pt x="20950" y="4521"/>
                      <a:pt x="21060" y="4599"/>
                      <a:pt x="21169" y="4396"/>
                    </a:cubicBezTo>
                    <a:cubicBezTo>
                      <a:pt x="23897" y="3227"/>
                      <a:pt x="23211" y="3866"/>
                      <a:pt x="24286" y="3351"/>
                    </a:cubicBezTo>
                    <a:cubicBezTo>
                      <a:pt x="23974" y="3523"/>
                      <a:pt x="24286" y="3351"/>
                      <a:pt x="24395" y="3351"/>
                    </a:cubicBezTo>
                    <a:cubicBezTo>
                      <a:pt x="24052" y="3585"/>
                      <a:pt x="24239" y="3351"/>
                      <a:pt x="24146" y="3585"/>
                    </a:cubicBezTo>
                    <a:cubicBezTo>
                      <a:pt x="24286" y="3757"/>
                      <a:pt x="23382" y="3850"/>
                      <a:pt x="23787" y="3819"/>
                    </a:cubicBezTo>
                    <a:cubicBezTo>
                      <a:pt x="24193" y="3788"/>
                      <a:pt x="23647" y="3944"/>
                      <a:pt x="23787" y="3928"/>
                    </a:cubicBezTo>
                    <a:cubicBezTo>
                      <a:pt x="24099" y="3679"/>
                      <a:pt x="23787" y="4069"/>
                      <a:pt x="23663" y="4084"/>
                    </a:cubicBezTo>
                    <a:cubicBezTo>
                      <a:pt x="22946" y="4645"/>
                      <a:pt x="24536" y="3398"/>
                      <a:pt x="23943" y="4193"/>
                    </a:cubicBezTo>
                    <a:cubicBezTo>
                      <a:pt x="23694" y="4396"/>
                      <a:pt x="23429" y="4411"/>
                      <a:pt x="23647" y="4489"/>
                    </a:cubicBezTo>
                    <a:cubicBezTo>
                      <a:pt x="23298" y="4794"/>
                      <a:pt x="23057" y="5205"/>
                      <a:pt x="22961" y="5659"/>
                    </a:cubicBezTo>
                    <a:cubicBezTo>
                      <a:pt x="22868" y="5331"/>
                      <a:pt x="22462" y="5830"/>
                      <a:pt x="22790" y="5783"/>
                    </a:cubicBezTo>
                    <a:cubicBezTo>
                      <a:pt x="22540" y="5986"/>
                      <a:pt x="22790" y="5783"/>
                      <a:pt x="22696" y="5986"/>
                    </a:cubicBezTo>
                    <a:cubicBezTo>
                      <a:pt x="22603" y="6189"/>
                      <a:pt x="22540" y="5986"/>
                      <a:pt x="22462" y="5986"/>
                    </a:cubicBezTo>
                    <a:cubicBezTo>
                      <a:pt x="22385" y="5986"/>
                      <a:pt x="22462" y="6313"/>
                      <a:pt x="22462" y="6142"/>
                    </a:cubicBezTo>
                    <a:cubicBezTo>
                      <a:pt x="22462" y="6235"/>
                      <a:pt x="22743" y="6469"/>
                      <a:pt x="22462" y="6516"/>
                    </a:cubicBezTo>
                    <a:cubicBezTo>
                      <a:pt x="22026" y="6126"/>
                      <a:pt x="22462" y="6874"/>
                      <a:pt x="22182" y="6796"/>
                    </a:cubicBezTo>
                    <a:cubicBezTo>
                      <a:pt x="21745" y="7015"/>
                      <a:pt x="22182" y="6407"/>
                      <a:pt x="21901" y="6796"/>
                    </a:cubicBezTo>
                    <a:cubicBezTo>
                      <a:pt x="21901" y="6609"/>
                      <a:pt x="21605" y="6906"/>
                      <a:pt x="21543" y="6921"/>
                    </a:cubicBezTo>
                    <a:cubicBezTo>
                      <a:pt x="21917" y="6921"/>
                      <a:pt x="21543" y="7046"/>
                      <a:pt x="21543" y="7061"/>
                    </a:cubicBezTo>
                    <a:cubicBezTo>
                      <a:pt x="21995" y="7061"/>
                      <a:pt x="21543" y="7186"/>
                      <a:pt x="21621" y="7249"/>
                    </a:cubicBezTo>
                    <a:cubicBezTo>
                      <a:pt x="22182" y="7342"/>
                      <a:pt x="21340" y="8807"/>
                      <a:pt x="21402" y="7498"/>
                    </a:cubicBezTo>
                    <a:cubicBezTo>
                      <a:pt x="20904" y="7171"/>
                      <a:pt x="21761" y="7856"/>
                      <a:pt x="20997" y="7732"/>
                    </a:cubicBezTo>
                    <a:cubicBezTo>
                      <a:pt x="21137" y="7841"/>
                      <a:pt x="20576" y="7966"/>
                      <a:pt x="20810" y="7919"/>
                    </a:cubicBezTo>
                    <a:cubicBezTo>
                      <a:pt x="21044" y="7872"/>
                      <a:pt x="21169" y="8090"/>
                      <a:pt x="20810" y="8028"/>
                    </a:cubicBezTo>
                    <a:cubicBezTo>
                      <a:pt x="20452" y="7966"/>
                      <a:pt x="21855" y="8028"/>
                      <a:pt x="21278" y="8277"/>
                    </a:cubicBezTo>
                    <a:cubicBezTo>
                      <a:pt x="21278" y="8277"/>
                      <a:pt x="21028" y="8464"/>
                      <a:pt x="20997" y="8418"/>
                    </a:cubicBezTo>
                    <a:cubicBezTo>
                      <a:pt x="20966" y="8371"/>
                      <a:pt x="19844" y="8948"/>
                      <a:pt x="19922" y="8527"/>
                    </a:cubicBezTo>
                    <a:cubicBezTo>
                      <a:pt x="20000" y="8106"/>
                      <a:pt x="19922" y="8745"/>
                      <a:pt x="19812" y="8761"/>
                    </a:cubicBezTo>
                    <a:cubicBezTo>
                      <a:pt x="19407" y="8792"/>
                      <a:pt x="18706" y="9556"/>
                      <a:pt x="18659" y="9182"/>
                    </a:cubicBezTo>
                    <a:close/>
                    <a:moveTo>
                      <a:pt x="21480" y="10382"/>
                    </a:moveTo>
                    <a:cubicBezTo>
                      <a:pt x="21480" y="10507"/>
                      <a:pt x="21293" y="10475"/>
                      <a:pt x="21247" y="10382"/>
                    </a:cubicBezTo>
                    <a:cubicBezTo>
                      <a:pt x="21200" y="10288"/>
                      <a:pt x="21075" y="10382"/>
                      <a:pt x="21122" y="10273"/>
                    </a:cubicBezTo>
                    <a:cubicBezTo>
                      <a:pt x="21169" y="10164"/>
                      <a:pt x="21044" y="10273"/>
                      <a:pt x="21122" y="10273"/>
                    </a:cubicBezTo>
                    <a:cubicBezTo>
                      <a:pt x="21030" y="10296"/>
                      <a:pt x="20933" y="10296"/>
                      <a:pt x="20841" y="10273"/>
                    </a:cubicBezTo>
                    <a:cubicBezTo>
                      <a:pt x="20841" y="10273"/>
                      <a:pt x="20841" y="10273"/>
                      <a:pt x="20841" y="10273"/>
                    </a:cubicBezTo>
                    <a:cubicBezTo>
                      <a:pt x="20841" y="10273"/>
                      <a:pt x="20841" y="10273"/>
                      <a:pt x="20841" y="10195"/>
                    </a:cubicBezTo>
                    <a:cubicBezTo>
                      <a:pt x="20841" y="10117"/>
                      <a:pt x="20841" y="10195"/>
                      <a:pt x="20841" y="10195"/>
                    </a:cubicBezTo>
                    <a:cubicBezTo>
                      <a:pt x="20841" y="10195"/>
                      <a:pt x="20982" y="10070"/>
                      <a:pt x="21060" y="10117"/>
                    </a:cubicBezTo>
                    <a:cubicBezTo>
                      <a:pt x="21137" y="10164"/>
                      <a:pt x="20826" y="10210"/>
                      <a:pt x="21060" y="10008"/>
                    </a:cubicBezTo>
                    <a:cubicBezTo>
                      <a:pt x="21060" y="10086"/>
                      <a:pt x="20919" y="10008"/>
                      <a:pt x="21060" y="9930"/>
                    </a:cubicBezTo>
                    <a:cubicBezTo>
                      <a:pt x="21200" y="9852"/>
                      <a:pt x="20826" y="9930"/>
                      <a:pt x="20826" y="9821"/>
                    </a:cubicBezTo>
                    <a:cubicBezTo>
                      <a:pt x="20826" y="9711"/>
                      <a:pt x="21060" y="9743"/>
                      <a:pt x="21075" y="9821"/>
                    </a:cubicBezTo>
                    <a:cubicBezTo>
                      <a:pt x="21091" y="9899"/>
                      <a:pt x="21231" y="9821"/>
                      <a:pt x="21247" y="9727"/>
                    </a:cubicBezTo>
                    <a:cubicBezTo>
                      <a:pt x="21262" y="9634"/>
                      <a:pt x="21137" y="9727"/>
                      <a:pt x="21247" y="9727"/>
                    </a:cubicBezTo>
                    <a:cubicBezTo>
                      <a:pt x="21356" y="9727"/>
                      <a:pt x="21137" y="9727"/>
                      <a:pt x="21247" y="9649"/>
                    </a:cubicBezTo>
                    <a:cubicBezTo>
                      <a:pt x="21356" y="9571"/>
                      <a:pt x="21247" y="9649"/>
                      <a:pt x="21247" y="9649"/>
                    </a:cubicBezTo>
                    <a:cubicBezTo>
                      <a:pt x="21247" y="9649"/>
                      <a:pt x="21247" y="9727"/>
                      <a:pt x="21247" y="9649"/>
                    </a:cubicBezTo>
                    <a:cubicBezTo>
                      <a:pt x="21247" y="9571"/>
                      <a:pt x="21247" y="9649"/>
                      <a:pt x="21247" y="9649"/>
                    </a:cubicBezTo>
                    <a:cubicBezTo>
                      <a:pt x="21075" y="9867"/>
                      <a:pt x="20982" y="9509"/>
                      <a:pt x="21137" y="9649"/>
                    </a:cubicBezTo>
                    <a:cubicBezTo>
                      <a:pt x="21293" y="9789"/>
                      <a:pt x="21137" y="9509"/>
                      <a:pt x="21137" y="9649"/>
                    </a:cubicBezTo>
                    <a:cubicBezTo>
                      <a:pt x="21137" y="9789"/>
                      <a:pt x="21137" y="9649"/>
                      <a:pt x="21137" y="9649"/>
                    </a:cubicBezTo>
                    <a:cubicBezTo>
                      <a:pt x="21137" y="9649"/>
                      <a:pt x="21137" y="9556"/>
                      <a:pt x="21137" y="9649"/>
                    </a:cubicBezTo>
                    <a:cubicBezTo>
                      <a:pt x="21137" y="9743"/>
                      <a:pt x="21137" y="9509"/>
                      <a:pt x="21137" y="9649"/>
                    </a:cubicBezTo>
                    <a:cubicBezTo>
                      <a:pt x="21137" y="9789"/>
                      <a:pt x="21247" y="9649"/>
                      <a:pt x="21137" y="9649"/>
                    </a:cubicBezTo>
                    <a:cubicBezTo>
                      <a:pt x="21028" y="9649"/>
                      <a:pt x="21231" y="9649"/>
                      <a:pt x="21137" y="9649"/>
                    </a:cubicBezTo>
                    <a:cubicBezTo>
                      <a:pt x="21044" y="9649"/>
                      <a:pt x="20982" y="9509"/>
                      <a:pt x="21137" y="9509"/>
                    </a:cubicBezTo>
                    <a:cubicBezTo>
                      <a:pt x="20872" y="9415"/>
                      <a:pt x="21231" y="9415"/>
                      <a:pt x="21137" y="9602"/>
                    </a:cubicBezTo>
                    <a:cubicBezTo>
                      <a:pt x="21137" y="9602"/>
                      <a:pt x="21137" y="9602"/>
                      <a:pt x="21137" y="9602"/>
                    </a:cubicBezTo>
                    <a:cubicBezTo>
                      <a:pt x="21137" y="9602"/>
                      <a:pt x="21137" y="9711"/>
                      <a:pt x="21137" y="9602"/>
                    </a:cubicBezTo>
                    <a:cubicBezTo>
                      <a:pt x="21147" y="9627"/>
                      <a:pt x="21147" y="9655"/>
                      <a:pt x="21137" y="9680"/>
                    </a:cubicBezTo>
                    <a:cubicBezTo>
                      <a:pt x="21137" y="9680"/>
                      <a:pt x="21137" y="9758"/>
                      <a:pt x="21137" y="9789"/>
                    </a:cubicBezTo>
                    <a:cubicBezTo>
                      <a:pt x="21137" y="9821"/>
                      <a:pt x="21137" y="9789"/>
                      <a:pt x="21137" y="9867"/>
                    </a:cubicBezTo>
                    <a:cubicBezTo>
                      <a:pt x="21156" y="9800"/>
                      <a:pt x="21201" y="9744"/>
                      <a:pt x="21262" y="9711"/>
                    </a:cubicBezTo>
                    <a:cubicBezTo>
                      <a:pt x="21262" y="9899"/>
                      <a:pt x="21262" y="9509"/>
                      <a:pt x="21418" y="9493"/>
                    </a:cubicBezTo>
                    <a:cubicBezTo>
                      <a:pt x="21574" y="9478"/>
                      <a:pt x="21418" y="9602"/>
                      <a:pt x="21418" y="9618"/>
                    </a:cubicBezTo>
                    <a:cubicBezTo>
                      <a:pt x="21418" y="9634"/>
                      <a:pt x="21496" y="9493"/>
                      <a:pt x="21590" y="9509"/>
                    </a:cubicBezTo>
                    <a:cubicBezTo>
                      <a:pt x="21628" y="9598"/>
                      <a:pt x="21628" y="9700"/>
                      <a:pt x="21590" y="9789"/>
                    </a:cubicBezTo>
                    <a:cubicBezTo>
                      <a:pt x="21683" y="9711"/>
                      <a:pt x="21590" y="9493"/>
                      <a:pt x="21745" y="9540"/>
                    </a:cubicBezTo>
                    <a:cubicBezTo>
                      <a:pt x="21901" y="9587"/>
                      <a:pt x="21886" y="9415"/>
                      <a:pt x="21870" y="9540"/>
                    </a:cubicBezTo>
                    <a:cubicBezTo>
                      <a:pt x="21855" y="9665"/>
                      <a:pt x="22104" y="9275"/>
                      <a:pt x="22073" y="9540"/>
                    </a:cubicBezTo>
                    <a:cubicBezTo>
                      <a:pt x="22042" y="9805"/>
                      <a:pt x="22182" y="9400"/>
                      <a:pt x="22260" y="9540"/>
                    </a:cubicBezTo>
                    <a:cubicBezTo>
                      <a:pt x="22338" y="9680"/>
                      <a:pt x="22104" y="9680"/>
                      <a:pt x="22260" y="9649"/>
                    </a:cubicBezTo>
                    <a:cubicBezTo>
                      <a:pt x="22416" y="9618"/>
                      <a:pt x="22166" y="9649"/>
                      <a:pt x="22260" y="9805"/>
                    </a:cubicBezTo>
                    <a:cubicBezTo>
                      <a:pt x="22353" y="9961"/>
                      <a:pt x="22260" y="9805"/>
                      <a:pt x="22260" y="9805"/>
                    </a:cubicBezTo>
                    <a:cubicBezTo>
                      <a:pt x="22462" y="9805"/>
                      <a:pt x="22338" y="9805"/>
                      <a:pt x="22260" y="9914"/>
                    </a:cubicBezTo>
                    <a:cubicBezTo>
                      <a:pt x="22182" y="10023"/>
                      <a:pt x="22260" y="10054"/>
                      <a:pt x="22260" y="10117"/>
                    </a:cubicBezTo>
                    <a:cubicBezTo>
                      <a:pt x="22120" y="9914"/>
                      <a:pt x="22260" y="10382"/>
                      <a:pt x="22042" y="10117"/>
                    </a:cubicBezTo>
                    <a:cubicBezTo>
                      <a:pt x="22042" y="10226"/>
                      <a:pt x="21839" y="10226"/>
                      <a:pt x="21761" y="10335"/>
                    </a:cubicBezTo>
                    <a:lnTo>
                      <a:pt x="21761" y="10335"/>
                    </a:lnTo>
                    <a:cubicBezTo>
                      <a:pt x="21761" y="10335"/>
                      <a:pt x="21636" y="10335"/>
                      <a:pt x="21590" y="10335"/>
                    </a:cubicBezTo>
                    <a:cubicBezTo>
                      <a:pt x="21543" y="10335"/>
                      <a:pt x="21590" y="10335"/>
                      <a:pt x="21590" y="10335"/>
                    </a:cubicBezTo>
                    <a:cubicBezTo>
                      <a:pt x="21590" y="10335"/>
                      <a:pt x="21543" y="10522"/>
                      <a:pt x="21480" y="10382"/>
                    </a:cubicBezTo>
                    <a:close/>
                    <a:moveTo>
                      <a:pt x="34652" y="37692"/>
                    </a:moveTo>
                    <a:cubicBezTo>
                      <a:pt x="34543" y="37412"/>
                      <a:pt x="35011" y="37100"/>
                      <a:pt x="35214" y="36882"/>
                    </a:cubicBezTo>
                    <a:cubicBezTo>
                      <a:pt x="35416" y="36664"/>
                      <a:pt x="35416" y="36056"/>
                      <a:pt x="35884" y="35869"/>
                    </a:cubicBezTo>
                    <a:lnTo>
                      <a:pt x="35884" y="35869"/>
                    </a:lnTo>
                    <a:cubicBezTo>
                      <a:pt x="35884" y="35869"/>
                      <a:pt x="35884" y="35869"/>
                      <a:pt x="35884" y="35869"/>
                    </a:cubicBezTo>
                    <a:cubicBezTo>
                      <a:pt x="35884" y="35869"/>
                      <a:pt x="35977" y="35869"/>
                      <a:pt x="36102" y="35744"/>
                    </a:cubicBezTo>
                    <a:cubicBezTo>
                      <a:pt x="35993" y="36009"/>
                      <a:pt x="36367" y="35463"/>
                      <a:pt x="36258" y="35744"/>
                    </a:cubicBezTo>
                    <a:cubicBezTo>
                      <a:pt x="36149" y="36024"/>
                      <a:pt x="36258" y="35744"/>
                      <a:pt x="36258" y="35744"/>
                    </a:cubicBezTo>
                    <a:cubicBezTo>
                      <a:pt x="36258" y="35744"/>
                      <a:pt x="36258" y="35744"/>
                      <a:pt x="36258" y="35619"/>
                    </a:cubicBezTo>
                    <a:cubicBezTo>
                      <a:pt x="36258" y="35494"/>
                      <a:pt x="36367" y="35619"/>
                      <a:pt x="36258" y="35619"/>
                    </a:cubicBezTo>
                    <a:lnTo>
                      <a:pt x="36258" y="35619"/>
                    </a:lnTo>
                    <a:cubicBezTo>
                      <a:pt x="36258" y="35619"/>
                      <a:pt x="36258" y="35619"/>
                      <a:pt x="36258" y="35728"/>
                    </a:cubicBezTo>
                    <a:cubicBezTo>
                      <a:pt x="36258" y="35837"/>
                      <a:pt x="36383" y="35572"/>
                      <a:pt x="36398" y="35635"/>
                    </a:cubicBezTo>
                    <a:cubicBezTo>
                      <a:pt x="36414" y="35697"/>
                      <a:pt x="36398" y="35635"/>
                      <a:pt x="36398" y="35526"/>
                    </a:cubicBezTo>
                    <a:cubicBezTo>
                      <a:pt x="36398" y="35417"/>
                      <a:pt x="36538" y="35526"/>
                      <a:pt x="36398" y="35432"/>
                    </a:cubicBezTo>
                    <a:cubicBezTo>
                      <a:pt x="36258" y="35339"/>
                      <a:pt x="36398" y="35526"/>
                      <a:pt x="36538" y="35339"/>
                    </a:cubicBezTo>
                    <a:cubicBezTo>
                      <a:pt x="36679" y="35152"/>
                      <a:pt x="36788" y="35152"/>
                      <a:pt x="36741" y="34996"/>
                    </a:cubicBezTo>
                    <a:cubicBezTo>
                      <a:pt x="36694" y="34840"/>
                      <a:pt x="36835" y="34996"/>
                      <a:pt x="36913" y="34887"/>
                    </a:cubicBezTo>
                    <a:cubicBezTo>
                      <a:pt x="36991" y="34777"/>
                      <a:pt x="36913" y="35089"/>
                      <a:pt x="36913" y="35089"/>
                    </a:cubicBezTo>
                    <a:cubicBezTo>
                      <a:pt x="37521" y="35323"/>
                      <a:pt x="34044" y="39532"/>
                      <a:pt x="34652" y="37692"/>
                    </a:cubicBezTo>
                    <a:close/>
                    <a:moveTo>
                      <a:pt x="44613" y="24131"/>
                    </a:moveTo>
                    <a:cubicBezTo>
                      <a:pt x="44613" y="24131"/>
                      <a:pt x="44613" y="24131"/>
                      <a:pt x="44613" y="24131"/>
                    </a:cubicBezTo>
                    <a:cubicBezTo>
                      <a:pt x="44296" y="25340"/>
                      <a:pt x="44062" y="26569"/>
                      <a:pt x="43912" y="27809"/>
                    </a:cubicBezTo>
                    <a:cubicBezTo>
                      <a:pt x="43912" y="27716"/>
                      <a:pt x="43756" y="27934"/>
                      <a:pt x="43756" y="27997"/>
                    </a:cubicBezTo>
                    <a:cubicBezTo>
                      <a:pt x="43584" y="28651"/>
                      <a:pt x="43179" y="24380"/>
                      <a:pt x="43210" y="24006"/>
                    </a:cubicBezTo>
                    <a:cubicBezTo>
                      <a:pt x="43070" y="24006"/>
                      <a:pt x="43210" y="23834"/>
                      <a:pt x="43210" y="23741"/>
                    </a:cubicBezTo>
                    <a:cubicBezTo>
                      <a:pt x="43210" y="23647"/>
                      <a:pt x="43132" y="23741"/>
                      <a:pt x="43132" y="23741"/>
                    </a:cubicBezTo>
                    <a:cubicBezTo>
                      <a:pt x="43132" y="24099"/>
                      <a:pt x="42992" y="24832"/>
                      <a:pt x="42743" y="24146"/>
                    </a:cubicBezTo>
                    <a:cubicBezTo>
                      <a:pt x="42743" y="24146"/>
                      <a:pt x="42571" y="23897"/>
                      <a:pt x="42649" y="23944"/>
                    </a:cubicBezTo>
                    <a:lnTo>
                      <a:pt x="42649" y="23944"/>
                    </a:lnTo>
                    <a:cubicBezTo>
                      <a:pt x="42649" y="24084"/>
                      <a:pt x="42649" y="23944"/>
                      <a:pt x="42649" y="23944"/>
                    </a:cubicBezTo>
                    <a:cubicBezTo>
                      <a:pt x="42649" y="23944"/>
                      <a:pt x="42836" y="23663"/>
                      <a:pt x="42727" y="23632"/>
                    </a:cubicBezTo>
                    <a:cubicBezTo>
                      <a:pt x="42727" y="23944"/>
                      <a:pt x="42275" y="23632"/>
                      <a:pt x="42478" y="23445"/>
                    </a:cubicBezTo>
                    <a:cubicBezTo>
                      <a:pt x="42478" y="23445"/>
                      <a:pt x="42478" y="23538"/>
                      <a:pt x="42368" y="23569"/>
                    </a:cubicBezTo>
                    <a:cubicBezTo>
                      <a:pt x="42259" y="23601"/>
                      <a:pt x="42368" y="23492"/>
                      <a:pt x="42244" y="23569"/>
                    </a:cubicBezTo>
                    <a:cubicBezTo>
                      <a:pt x="42119" y="23647"/>
                      <a:pt x="42244" y="23320"/>
                      <a:pt x="42135" y="23195"/>
                    </a:cubicBezTo>
                    <a:cubicBezTo>
                      <a:pt x="41963" y="23351"/>
                      <a:pt x="42135" y="22977"/>
                      <a:pt x="41854" y="23086"/>
                    </a:cubicBezTo>
                    <a:cubicBezTo>
                      <a:pt x="41854" y="23086"/>
                      <a:pt x="41714" y="23164"/>
                      <a:pt x="41667" y="23242"/>
                    </a:cubicBezTo>
                    <a:cubicBezTo>
                      <a:pt x="41620" y="23320"/>
                      <a:pt x="41573" y="23242"/>
                      <a:pt x="41511" y="23242"/>
                    </a:cubicBezTo>
                    <a:cubicBezTo>
                      <a:pt x="41449" y="23242"/>
                      <a:pt x="41386" y="23242"/>
                      <a:pt x="41340" y="23382"/>
                    </a:cubicBezTo>
                    <a:cubicBezTo>
                      <a:pt x="41293" y="23523"/>
                      <a:pt x="41340" y="23382"/>
                      <a:pt x="41231" y="23382"/>
                    </a:cubicBezTo>
                    <a:cubicBezTo>
                      <a:pt x="41121" y="23382"/>
                      <a:pt x="41075" y="23492"/>
                      <a:pt x="41028" y="23304"/>
                    </a:cubicBezTo>
                    <a:cubicBezTo>
                      <a:pt x="41028" y="23398"/>
                      <a:pt x="40669" y="23304"/>
                      <a:pt x="40591" y="23304"/>
                    </a:cubicBezTo>
                    <a:cubicBezTo>
                      <a:pt x="40513" y="23304"/>
                      <a:pt x="40451" y="23304"/>
                      <a:pt x="40342" y="23304"/>
                    </a:cubicBezTo>
                    <a:cubicBezTo>
                      <a:pt x="40093" y="22400"/>
                      <a:pt x="40061" y="23180"/>
                      <a:pt x="39625" y="23055"/>
                    </a:cubicBezTo>
                    <a:cubicBezTo>
                      <a:pt x="39531" y="23055"/>
                      <a:pt x="39251" y="22946"/>
                      <a:pt x="39282" y="22821"/>
                    </a:cubicBezTo>
                    <a:cubicBezTo>
                      <a:pt x="39313" y="22697"/>
                      <a:pt x="38877" y="22821"/>
                      <a:pt x="38846" y="22509"/>
                    </a:cubicBezTo>
                    <a:cubicBezTo>
                      <a:pt x="38846" y="22509"/>
                      <a:pt x="38736" y="22509"/>
                      <a:pt x="38846" y="22509"/>
                    </a:cubicBezTo>
                    <a:cubicBezTo>
                      <a:pt x="38690" y="22509"/>
                      <a:pt x="38627" y="21948"/>
                      <a:pt x="38456" y="22167"/>
                    </a:cubicBezTo>
                    <a:cubicBezTo>
                      <a:pt x="38456" y="22089"/>
                      <a:pt x="38316" y="22167"/>
                      <a:pt x="38362" y="22026"/>
                    </a:cubicBezTo>
                    <a:cubicBezTo>
                      <a:pt x="38409" y="21886"/>
                      <a:pt x="38362" y="22026"/>
                      <a:pt x="38362" y="22026"/>
                    </a:cubicBezTo>
                    <a:cubicBezTo>
                      <a:pt x="38362" y="22026"/>
                      <a:pt x="38362" y="22229"/>
                      <a:pt x="38362" y="22026"/>
                    </a:cubicBezTo>
                    <a:cubicBezTo>
                      <a:pt x="38362" y="21824"/>
                      <a:pt x="38362" y="22307"/>
                      <a:pt x="38206" y="22322"/>
                    </a:cubicBezTo>
                    <a:lnTo>
                      <a:pt x="38316" y="22322"/>
                    </a:lnTo>
                    <a:lnTo>
                      <a:pt x="38316" y="22322"/>
                    </a:lnTo>
                    <a:cubicBezTo>
                      <a:pt x="38316" y="22322"/>
                      <a:pt x="38316" y="22416"/>
                      <a:pt x="38316" y="22447"/>
                    </a:cubicBezTo>
                    <a:cubicBezTo>
                      <a:pt x="38316" y="22478"/>
                      <a:pt x="38316" y="22541"/>
                      <a:pt x="38316" y="22447"/>
                    </a:cubicBezTo>
                    <a:cubicBezTo>
                      <a:pt x="38351" y="22594"/>
                      <a:pt x="38447" y="22719"/>
                      <a:pt x="38581" y="22790"/>
                    </a:cubicBezTo>
                    <a:cubicBezTo>
                      <a:pt x="38581" y="22790"/>
                      <a:pt x="38861" y="23086"/>
                      <a:pt x="38814" y="23242"/>
                    </a:cubicBezTo>
                    <a:lnTo>
                      <a:pt x="38814" y="23242"/>
                    </a:lnTo>
                    <a:cubicBezTo>
                      <a:pt x="39017" y="23460"/>
                      <a:pt x="39048" y="23881"/>
                      <a:pt x="39064" y="23398"/>
                    </a:cubicBezTo>
                    <a:cubicBezTo>
                      <a:pt x="39064" y="23273"/>
                      <a:pt x="39064" y="23086"/>
                      <a:pt x="39173" y="23258"/>
                    </a:cubicBezTo>
                    <a:cubicBezTo>
                      <a:pt x="39144" y="23402"/>
                      <a:pt x="39144" y="23550"/>
                      <a:pt x="39173" y="23694"/>
                    </a:cubicBezTo>
                    <a:cubicBezTo>
                      <a:pt x="39173" y="23694"/>
                      <a:pt x="39173" y="23866"/>
                      <a:pt x="39173" y="23788"/>
                    </a:cubicBezTo>
                    <a:lnTo>
                      <a:pt x="39173" y="23928"/>
                    </a:lnTo>
                    <a:cubicBezTo>
                      <a:pt x="39360" y="23757"/>
                      <a:pt x="39609" y="23928"/>
                      <a:pt x="39718" y="23679"/>
                    </a:cubicBezTo>
                    <a:lnTo>
                      <a:pt x="39718" y="23679"/>
                    </a:lnTo>
                    <a:cubicBezTo>
                      <a:pt x="39718" y="23445"/>
                      <a:pt x="39952" y="23227"/>
                      <a:pt x="39983" y="22977"/>
                    </a:cubicBezTo>
                    <a:lnTo>
                      <a:pt x="39983" y="22977"/>
                    </a:lnTo>
                    <a:cubicBezTo>
                      <a:pt x="39983" y="22977"/>
                      <a:pt x="39983" y="22821"/>
                      <a:pt x="39983" y="22884"/>
                    </a:cubicBezTo>
                    <a:cubicBezTo>
                      <a:pt x="39983" y="22946"/>
                      <a:pt x="39983" y="23195"/>
                      <a:pt x="39983" y="23149"/>
                    </a:cubicBezTo>
                    <a:cubicBezTo>
                      <a:pt x="39983" y="23460"/>
                      <a:pt x="40155" y="23850"/>
                      <a:pt x="40513" y="23679"/>
                    </a:cubicBezTo>
                    <a:cubicBezTo>
                      <a:pt x="40790" y="23996"/>
                      <a:pt x="40790" y="24468"/>
                      <a:pt x="40513" y="24785"/>
                    </a:cubicBezTo>
                    <a:cubicBezTo>
                      <a:pt x="40513" y="24598"/>
                      <a:pt x="40373" y="25191"/>
                      <a:pt x="40513" y="25300"/>
                    </a:cubicBezTo>
                    <a:cubicBezTo>
                      <a:pt x="40139" y="25300"/>
                      <a:pt x="40389" y="25674"/>
                      <a:pt x="40030" y="25752"/>
                    </a:cubicBezTo>
                    <a:cubicBezTo>
                      <a:pt x="40030" y="25861"/>
                      <a:pt x="40030" y="25954"/>
                      <a:pt x="40030" y="26064"/>
                    </a:cubicBezTo>
                    <a:cubicBezTo>
                      <a:pt x="39792" y="26098"/>
                      <a:pt x="39579" y="26227"/>
                      <a:pt x="39438" y="26422"/>
                    </a:cubicBezTo>
                    <a:cubicBezTo>
                      <a:pt x="39438" y="26749"/>
                      <a:pt x="38955" y="26859"/>
                      <a:pt x="38736" y="27014"/>
                    </a:cubicBezTo>
                    <a:cubicBezTo>
                      <a:pt x="38518" y="27170"/>
                      <a:pt x="38565" y="27264"/>
                      <a:pt x="38440" y="27217"/>
                    </a:cubicBezTo>
                    <a:cubicBezTo>
                      <a:pt x="38341" y="27402"/>
                      <a:pt x="38130" y="27497"/>
                      <a:pt x="37926" y="27451"/>
                    </a:cubicBezTo>
                    <a:cubicBezTo>
                      <a:pt x="37797" y="27641"/>
                      <a:pt x="37592" y="27766"/>
                      <a:pt x="37365" y="27794"/>
                    </a:cubicBezTo>
                    <a:cubicBezTo>
                      <a:pt x="37240" y="27513"/>
                      <a:pt x="37365" y="27139"/>
                      <a:pt x="37115" y="26890"/>
                    </a:cubicBezTo>
                    <a:cubicBezTo>
                      <a:pt x="37349" y="26329"/>
                      <a:pt x="36538" y="25596"/>
                      <a:pt x="36164" y="25144"/>
                    </a:cubicBezTo>
                    <a:cubicBezTo>
                      <a:pt x="36164" y="24770"/>
                      <a:pt x="36071" y="24131"/>
                      <a:pt x="35650" y="24146"/>
                    </a:cubicBezTo>
                    <a:cubicBezTo>
                      <a:pt x="35494" y="23414"/>
                      <a:pt x="34637" y="23024"/>
                      <a:pt x="34793" y="22463"/>
                    </a:cubicBezTo>
                    <a:cubicBezTo>
                      <a:pt x="34684" y="22665"/>
                      <a:pt x="34793" y="22915"/>
                      <a:pt x="34668" y="23086"/>
                    </a:cubicBezTo>
                    <a:cubicBezTo>
                      <a:pt x="34438" y="22899"/>
                      <a:pt x="34238" y="22679"/>
                      <a:pt x="34076" y="22432"/>
                    </a:cubicBezTo>
                    <a:cubicBezTo>
                      <a:pt x="34341" y="23024"/>
                      <a:pt x="34761" y="23616"/>
                      <a:pt x="35104" y="24224"/>
                    </a:cubicBezTo>
                    <a:lnTo>
                      <a:pt x="35104" y="24224"/>
                    </a:lnTo>
                    <a:cubicBezTo>
                      <a:pt x="35138" y="24273"/>
                      <a:pt x="35180" y="24316"/>
                      <a:pt x="35229" y="24349"/>
                    </a:cubicBezTo>
                    <a:cubicBezTo>
                      <a:pt x="35229" y="24349"/>
                      <a:pt x="35136" y="24349"/>
                      <a:pt x="35120" y="24349"/>
                    </a:cubicBezTo>
                    <a:cubicBezTo>
                      <a:pt x="35120" y="24801"/>
                      <a:pt x="35603" y="24785"/>
                      <a:pt x="35681" y="25253"/>
                    </a:cubicBezTo>
                    <a:cubicBezTo>
                      <a:pt x="35556" y="25253"/>
                      <a:pt x="35775" y="25580"/>
                      <a:pt x="35681" y="25752"/>
                    </a:cubicBezTo>
                    <a:cubicBezTo>
                      <a:pt x="35588" y="25923"/>
                      <a:pt x="35977" y="26064"/>
                      <a:pt x="36040" y="26219"/>
                    </a:cubicBezTo>
                    <a:cubicBezTo>
                      <a:pt x="36102" y="26375"/>
                      <a:pt x="36196" y="26827"/>
                      <a:pt x="36320" y="26968"/>
                    </a:cubicBezTo>
                    <a:cubicBezTo>
                      <a:pt x="36445" y="27108"/>
                      <a:pt x="36429" y="27233"/>
                      <a:pt x="36320" y="27046"/>
                    </a:cubicBezTo>
                    <a:cubicBezTo>
                      <a:pt x="36211" y="26859"/>
                      <a:pt x="36320" y="27264"/>
                      <a:pt x="36476" y="27170"/>
                    </a:cubicBezTo>
                    <a:cubicBezTo>
                      <a:pt x="36819" y="27170"/>
                      <a:pt x="36944" y="27763"/>
                      <a:pt x="37146" y="27794"/>
                    </a:cubicBezTo>
                    <a:cubicBezTo>
                      <a:pt x="37349" y="27825"/>
                      <a:pt x="37146" y="27903"/>
                      <a:pt x="37240" y="27903"/>
                    </a:cubicBezTo>
                    <a:cubicBezTo>
                      <a:pt x="37242" y="28033"/>
                      <a:pt x="37150" y="28145"/>
                      <a:pt x="37022" y="28168"/>
                    </a:cubicBezTo>
                    <a:cubicBezTo>
                      <a:pt x="37240" y="28168"/>
                      <a:pt x="37287" y="28464"/>
                      <a:pt x="37505" y="28542"/>
                    </a:cubicBezTo>
                    <a:cubicBezTo>
                      <a:pt x="37918" y="28320"/>
                      <a:pt x="38358" y="28152"/>
                      <a:pt x="38814" y="28043"/>
                    </a:cubicBezTo>
                    <a:cubicBezTo>
                      <a:pt x="38894" y="27982"/>
                      <a:pt x="38962" y="27909"/>
                      <a:pt x="39017" y="27825"/>
                    </a:cubicBezTo>
                    <a:cubicBezTo>
                      <a:pt x="39173" y="27825"/>
                      <a:pt x="39017" y="28152"/>
                      <a:pt x="39017" y="28324"/>
                    </a:cubicBezTo>
                    <a:cubicBezTo>
                      <a:pt x="39017" y="28495"/>
                      <a:pt x="39017" y="28324"/>
                      <a:pt x="39017" y="28324"/>
                    </a:cubicBezTo>
                    <a:cubicBezTo>
                      <a:pt x="38736" y="30475"/>
                      <a:pt x="35541" y="31753"/>
                      <a:pt x="35323" y="33608"/>
                    </a:cubicBezTo>
                    <a:cubicBezTo>
                      <a:pt x="35323" y="33608"/>
                      <a:pt x="35136" y="33764"/>
                      <a:pt x="35214" y="33858"/>
                    </a:cubicBezTo>
                    <a:cubicBezTo>
                      <a:pt x="35291" y="33951"/>
                      <a:pt x="35026" y="34372"/>
                      <a:pt x="35214" y="34497"/>
                    </a:cubicBezTo>
                    <a:cubicBezTo>
                      <a:pt x="35058" y="34855"/>
                      <a:pt x="34933" y="35385"/>
                      <a:pt x="34808" y="35619"/>
                    </a:cubicBezTo>
                    <a:cubicBezTo>
                      <a:pt x="34684" y="35853"/>
                      <a:pt x="34621" y="35728"/>
                      <a:pt x="34808" y="35713"/>
                    </a:cubicBezTo>
                    <a:cubicBezTo>
                      <a:pt x="34543" y="36102"/>
                      <a:pt x="34044" y="36212"/>
                      <a:pt x="33686" y="36477"/>
                    </a:cubicBezTo>
                    <a:lnTo>
                      <a:pt x="33686" y="36477"/>
                    </a:lnTo>
                    <a:cubicBezTo>
                      <a:pt x="33489" y="36693"/>
                      <a:pt x="33235" y="36850"/>
                      <a:pt x="32953" y="36929"/>
                    </a:cubicBezTo>
                    <a:cubicBezTo>
                      <a:pt x="32979" y="36983"/>
                      <a:pt x="32979" y="37046"/>
                      <a:pt x="32953" y="37100"/>
                    </a:cubicBezTo>
                    <a:cubicBezTo>
                      <a:pt x="32953" y="37100"/>
                      <a:pt x="32953" y="37209"/>
                      <a:pt x="32953" y="37240"/>
                    </a:cubicBezTo>
                    <a:cubicBezTo>
                      <a:pt x="32953" y="37272"/>
                      <a:pt x="32953" y="37474"/>
                      <a:pt x="32953" y="37568"/>
                    </a:cubicBezTo>
                    <a:cubicBezTo>
                      <a:pt x="32953" y="37661"/>
                      <a:pt x="32953" y="37490"/>
                      <a:pt x="32953" y="37474"/>
                    </a:cubicBezTo>
                    <a:lnTo>
                      <a:pt x="32953" y="37474"/>
                    </a:lnTo>
                    <a:lnTo>
                      <a:pt x="32953" y="37474"/>
                    </a:lnTo>
                    <a:cubicBezTo>
                      <a:pt x="32953" y="37614"/>
                      <a:pt x="32782" y="37724"/>
                      <a:pt x="32719" y="37848"/>
                    </a:cubicBezTo>
                    <a:lnTo>
                      <a:pt x="32719" y="37848"/>
                    </a:lnTo>
                    <a:cubicBezTo>
                      <a:pt x="32548" y="38222"/>
                      <a:pt x="31878" y="38113"/>
                      <a:pt x="31769" y="38472"/>
                    </a:cubicBezTo>
                    <a:lnTo>
                      <a:pt x="31878" y="38472"/>
                    </a:lnTo>
                    <a:cubicBezTo>
                      <a:pt x="31839" y="38544"/>
                      <a:pt x="31786" y="38608"/>
                      <a:pt x="31722" y="38659"/>
                    </a:cubicBezTo>
                    <a:lnTo>
                      <a:pt x="31722" y="38659"/>
                    </a:lnTo>
                    <a:cubicBezTo>
                      <a:pt x="31003" y="39409"/>
                      <a:pt x="30091" y="39948"/>
                      <a:pt x="29087" y="40218"/>
                    </a:cubicBezTo>
                    <a:cubicBezTo>
                      <a:pt x="28667" y="40077"/>
                      <a:pt x="28246" y="40342"/>
                      <a:pt x="27825" y="40311"/>
                    </a:cubicBezTo>
                    <a:cubicBezTo>
                      <a:pt x="27825" y="40233"/>
                      <a:pt x="27825" y="40311"/>
                      <a:pt x="27825" y="40311"/>
                    </a:cubicBezTo>
                    <a:cubicBezTo>
                      <a:pt x="27825" y="40311"/>
                      <a:pt x="27731" y="40233"/>
                      <a:pt x="27825" y="40311"/>
                    </a:cubicBezTo>
                    <a:cubicBezTo>
                      <a:pt x="27918" y="40389"/>
                      <a:pt x="27949" y="40140"/>
                      <a:pt x="27825" y="40015"/>
                    </a:cubicBezTo>
                    <a:cubicBezTo>
                      <a:pt x="28121" y="39875"/>
                      <a:pt x="27825" y="39485"/>
                      <a:pt x="27825" y="39204"/>
                    </a:cubicBezTo>
                    <a:cubicBezTo>
                      <a:pt x="27342" y="38472"/>
                      <a:pt x="27622" y="37381"/>
                      <a:pt x="27077" y="36570"/>
                    </a:cubicBezTo>
                    <a:cubicBezTo>
                      <a:pt x="27077" y="35728"/>
                      <a:pt x="28324" y="35354"/>
                      <a:pt x="27762" y="34528"/>
                    </a:cubicBezTo>
                    <a:cubicBezTo>
                      <a:pt x="28012" y="34341"/>
                      <a:pt x="27762" y="33967"/>
                      <a:pt x="27653" y="33764"/>
                    </a:cubicBezTo>
                    <a:lnTo>
                      <a:pt x="27747" y="33764"/>
                    </a:lnTo>
                    <a:cubicBezTo>
                      <a:pt x="27747" y="33764"/>
                      <a:pt x="27529" y="33764"/>
                      <a:pt x="27638" y="33624"/>
                    </a:cubicBezTo>
                    <a:cubicBezTo>
                      <a:pt x="27451" y="33078"/>
                      <a:pt x="26827" y="32891"/>
                      <a:pt x="26702" y="32314"/>
                    </a:cubicBezTo>
                    <a:cubicBezTo>
                      <a:pt x="26843" y="32314"/>
                      <a:pt x="26874" y="32205"/>
                      <a:pt x="26889" y="32034"/>
                    </a:cubicBezTo>
                    <a:cubicBezTo>
                      <a:pt x="26905" y="31862"/>
                      <a:pt x="27014" y="32034"/>
                      <a:pt x="27061" y="32034"/>
                    </a:cubicBezTo>
                    <a:cubicBezTo>
                      <a:pt x="26990" y="32037"/>
                      <a:pt x="26926" y="31992"/>
                      <a:pt x="26905" y="31925"/>
                    </a:cubicBezTo>
                    <a:cubicBezTo>
                      <a:pt x="27014" y="31925"/>
                      <a:pt x="26999" y="31816"/>
                      <a:pt x="26905" y="31800"/>
                    </a:cubicBezTo>
                    <a:cubicBezTo>
                      <a:pt x="27132" y="31576"/>
                      <a:pt x="27200" y="31237"/>
                      <a:pt x="27077" y="30943"/>
                    </a:cubicBezTo>
                    <a:cubicBezTo>
                      <a:pt x="26936" y="31036"/>
                      <a:pt x="26874" y="30943"/>
                      <a:pt x="26874" y="30771"/>
                    </a:cubicBezTo>
                    <a:cubicBezTo>
                      <a:pt x="26826" y="30817"/>
                      <a:pt x="26751" y="30817"/>
                      <a:pt x="26702" y="30771"/>
                    </a:cubicBezTo>
                    <a:cubicBezTo>
                      <a:pt x="26562" y="30943"/>
                      <a:pt x="26110" y="30927"/>
                      <a:pt x="25861" y="30896"/>
                    </a:cubicBezTo>
                    <a:cubicBezTo>
                      <a:pt x="25518" y="29774"/>
                      <a:pt x="24302" y="30428"/>
                      <a:pt x="23538" y="30693"/>
                    </a:cubicBezTo>
                    <a:cubicBezTo>
                      <a:pt x="21979" y="30226"/>
                      <a:pt x="21745" y="31301"/>
                      <a:pt x="20420" y="29664"/>
                    </a:cubicBezTo>
                    <a:cubicBezTo>
                      <a:pt x="20265" y="29664"/>
                      <a:pt x="20296" y="29431"/>
                      <a:pt x="20171" y="29368"/>
                    </a:cubicBezTo>
                    <a:cubicBezTo>
                      <a:pt x="20046" y="29306"/>
                      <a:pt x="20171" y="29259"/>
                      <a:pt x="20171" y="29166"/>
                    </a:cubicBezTo>
                    <a:cubicBezTo>
                      <a:pt x="20171" y="29072"/>
                      <a:pt x="19859" y="28947"/>
                      <a:pt x="19953" y="28885"/>
                    </a:cubicBezTo>
                    <a:cubicBezTo>
                      <a:pt x="19610" y="28885"/>
                      <a:pt x="19797" y="28573"/>
                      <a:pt x="19594" y="28620"/>
                    </a:cubicBezTo>
                    <a:cubicBezTo>
                      <a:pt x="19392" y="28667"/>
                      <a:pt x="19594" y="28542"/>
                      <a:pt x="19454" y="28542"/>
                    </a:cubicBezTo>
                    <a:lnTo>
                      <a:pt x="19454" y="28542"/>
                    </a:lnTo>
                    <a:lnTo>
                      <a:pt x="19454" y="28542"/>
                    </a:lnTo>
                    <a:cubicBezTo>
                      <a:pt x="19454" y="28542"/>
                      <a:pt x="19454" y="28542"/>
                      <a:pt x="19454" y="28449"/>
                    </a:cubicBezTo>
                    <a:cubicBezTo>
                      <a:pt x="19454" y="28355"/>
                      <a:pt x="19625" y="28449"/>
                      <a:pt x="19641" y="28449"/>
                    </a:cubicBezTo>
                    <a:cubicBezTo>
                      <a:pt x="19657" y="28449"/>
                      <a:pt x="19127" y="28449"/>
                      <a:pt x="19282" y="28277"/>
                    </a:cubicBezTo>
                    <a:cubicBezTo>
                      <a:pt x="19158" y="28277"/>
                      <a:pt x="19127" y="28277"/>
                      <a:pt x="19095" y="28121"/>
                    </a:cubicBezTo>
                    <a:cubicBezTo>
                      <a:pt x="19064" y="27965"/>
                      <a:pt x="19205" y="28121"/>
                      <a:pt x="19251" y="28121"/>
                    </a:cubicBezTo>
                    <a:cubicBezTo>
                      <a:pt x="19298" y="28121"/>
                      <a:pt x="19127" y="28121"/>
                      <a:pt x="19080" y="28121"/>
                    </a:cubicBezTo>
                    <a:cubicBezTo>
                      <a:pt x="19033" y="28121"/>
                      <a:pt x="19080" y="27997"/>
                      <a:pt x="19080" y="27934"/>
                    </a:cubicBezTo>
                    <a:cubicBezTo>
                      <a:pt x="19080" y="27872"/>
                      <a:pt x="19220" y="28074"/>
                      <a:pt x="19329" y="27934"/>
                    </a:cubicBezTo>
                    <a:cubicBezTo>
                      <a:pt x="19438" y="27794"/>
                      <a:pt x="19080" y="27856"/>
                      <a:pt x="19189" y="27794"/>
                    </a:cubicBezTo>
                    <a:lnTo>
                      <a:pt x="19189" y="27794"/>
                    </a:lnTo>
                    <a:cubicBezTo>
                      <a:pt x="19189" y="27794"/>
                      <a:pt x="19049" y="27560"/>
                      <a:pt x="18986" y="27498"/>
                    </a:cubicBezTo>
                    <a:cubicBezTo>
                      <a:pt x="19389" y="27087"/>
                      <a:pt x="19533" y="26488"/>
                      <a:pt x="19360" y="25939"/>
                    </a:cubicBezTo>
                    <a:cubicBezTo>
                      <a:pt x="19485" y="25939"/>
                      <a:pt x="19360" y="25767"/>
                      <a:pt x="19454" y="25736"/>
                    </a:cubicBezTo>
                    <a:cubicBezTo>
                      <a:pt x="19547" y="25705"/>
                      <a:pt x="19298" y="25643"/>
                      <a:pt x="19282" y="25534"/>
                    </a:cubicBezTo>
                    <a:lnTo>
                      <a:pt x="19282" y="25612"/>
                    </a:lnTo>
                    <a:cubicBezTo>
                      <a:pt x="19265" y="25345"/>
                      <a:pt x="19382" y="25087"/>
                      <a:pt x="19594" y="24926"/>
                    </a:cubicBezTo>
                    <a:cubicBezTo>
                      <a:pt x="19922" y="23866"/>
                      <a:pt x="20966" y="23445"/>
                      <a:pt x="21714" y="22728"/>
                    </a:cubicBezTo>
                    <a:cubicBezTo>
                      <a:pt x="21722" y="22582"/>
                      <a:pt x="21722" y="22437"/>
                      <a:pt x="21714" y="22291"/>
                    </a:cubicBezTo>
                    <a:cubicBezTo>
                      <a:pt x="21714" y="22120"/>
                      <a:pt x="22042" y="22042"/>
                      <a:pt x="21901" y="21855"/>
                    </a:cubicBezTo>
                    <a:cubicBezTo>
                      <a:pt x="22394" y="21610"/>
                      <a:pt x="22814" y="21239"/>
                      <a:pt x="23117" y="20779"/>
                    </a:cubicBezTo>
                    <a:cubicBezTo>
                      <a:pt x="23117" y="21091"/>
                      <a:pt x="23600" y="21075"/>
                      <a:pt x="23772" y="20966"/>
                    </a:cubicBezTo>
                    <a:cubicBezTo>
                      <a:pt x="24068" y="21325"/>
                      <a:pt x="24707" y="20717"/>
                      <a:pt x="25034" y="20623"/>
                    </a:cubicBezTo>
                    <a:cubicBezTo>
                      <a:pt x="25362" y="20530"/>
                      <a:pt x="26110" y="20623"/>
                      <a:pt x="26375" y="20499"/>
                    </a:cubicBezTo>
                    <a:cubicBezTo>
                      <a:pt x="26640" y="20374"/>
                      <a:pt x="26578" y="20717"/>
                      <a:pt x="26656" y="20499"/>
                    </a:cubicBezTo>
                    <a:cubicBezTo>
                      <a:pt x="26905" y="20717"/>
                      <a:pt x="27170" y="20374"/>
                      <a:pt x="27373" y="20499"/>
                    </a:cubicBezTo>
                    <a:cubicBezTo>
                      <a:pt x="27373" y="20327"/>
                      <a:pt x="27497" y="20623"/>
                      <a:pt x="27575" y="20670"/>
                    </a:cubicBezTo>
                    <a:cubicBezTo>
                      <a:pt x="27903" y="20343"/>
                      <a:pt x="27669" y="20748"/>
                      <a:pt x="27575" y="20888"/>
                    </a:cubicBezTo>
                    <a:cubicBezTo>
                      <a:pt x="28152" y="21278"/>
                      <a:pt x="27186" y="21434"/>
                      <a:pt x="27575" y="21699"/>
                    </a:cubicBezTo>
                    <a:cubicBezTo>
                      <a:pt x="27575" y="21699"/>
                      <a:pt x="27575" y="21699"/>
                      <a:pt x="27684" y="21699"/>
                    </a:cubicBezTo>
                    <a:cubicBezTo>
                      <a:pt x="27794" y="21699"/>
                      <a:pt x="27684" y="21621"/>
                      <a:pt x="27684" y="21699"/>
                    </a:cubicBezTo>
                    <a:cubicBezTo>
                      <a:pt x="27840" y="22073"/>
                      <a:pt x="28417" y="21792"/>
                      <a:pt x="28698" y="21995"/>
                    </a:cubicBezTo>
                    <a:cubicBezTo>
                      <a:pt x="31628" y="24022"/>
                      <a:pt x="29352" y="21387"/>
                      <a:pt x="31285" y="21995"/>
                    </a:cubicBezTo>
                    <a:cubicBezTo>
                      <a:pt x="31613" y="22307"/>
                      <a:pt x="32345" y="22213"/>
                      <a:pt x="32844" y="22416"/>
                    </a:cubicBezTo>
                    <a:cubicBezTo>
                      <a:pt x="33343" y="22619"/>
                      <a:pt x="33327" y="22322"/>
                      <a:pt x="33655" y="22229"/>
                    </a:cubicBezTo>
                    <a:cubicBezTo>
                      <a:pt x="33436" y="22307"/>
                      <a:pt x="33655" y="22229"/>
                      <a:pt x="33748" y="22229"/>
                    </a:cubicBezTo>
                    <a:cubicBezTo>
                      <a:pt x="33842" y="22229"/>
                      <a:pt x="33748" y="22229"/>
                      <a:pt x="33748" y="22229"/>
                    </a:cubicBezTo>
                    <a:cubicBezTo>
                      <a:pt x="33748" y="22229"/>
                      <a:pt x="33951" y="22229"/>
                      <a:pt x="33998" y="22229"/>
                    </a:cubicBezTo>
                    <a:cubicBezTo>
                      <a:pt x="34044" y="22229"/>
                      <a:pt x="34091" y="22338"/>
                      <a:pt x="34091" y="22385"/>
                    </a:cubicBezTo>
                    <a:cubicBezTo>
                      <a:pt x="34091" y="22432"/>
                      <a:pt x="34091" y="22291"/>
                      <a:pt x="34091" y="22229"/>
                    </a:cubicBezTo>
                    <a:cubicBezTo>
                      <a:pt x="35151" y="22587"/>
                      <a:pt x="34793" y="20670"/>
                      <a:pt x="34855" y="20312"/>
                    </a:cubicBezTo>
                    <a:cubicBezTo>
                      <a:pt x="34684" y="20452"/>
                      <a:pt x="34387" y="20312"/>
                      <a:pt x="34341" y="20561"/>
                    </a:cubicBezTo>
                    <a:cubicBezTo>
                      <a:pt x="34029" y="20919"/>
                      <a:pt x="33374" y="20062"/>
                      <a:pt x="33374" y="20561"/>
                    </a:cubicBezTo>
                    <a:cubicBezTo>
                      <a:pt x="33234" y="20561"/>
                      <a:pt x="32875" y="20717"/>
                      <a:pt x="32922" y="20452"/>
                    </a:cubicBezTo>
                    <a:cubicBezTo>
                      <a:pt x="32922" y="20452"/>
                      <a:pt x="32922" y="20452"/>
                      <a:pt x="32797" y="20452"/>
                    </a:cubicBezTo>
                    <a:cubicBezTo>
                      <a:pt x="32673" y="20452"/>
                      <a:pt x="32626" y="20592"/>
                      <a:pt x="32610" y="20452"/>
                    </a:cubicBezTo>
                    <a:lnTo>
                      <a:pt x="32423" y="20452"/>
                    </a:lnTo>
                    <a:cubicBezTo>
                      <a:pt x="32423" y="20374"/>
                      <a:pt x="32626" y="20452"/>
                      <a:pt x="32626" y="20327"/>
                    </a:cubicBezTo>
                    <a:cubicBezTo>
                      <a:pt x="32626" y="20202"/>
                      <a:pt x="32267" y="20421"/>
                      <a:pt x="32454" y="20327"/>
                    </a:cubicBezTo>
                    <a:cubicBezTo>
                      <a:pt x="32236" y="20187"/>
                      <a:pt x="32454" y="20062"/>
                      <a:pt x="32127" y="19984"/>
                    </a:cubicBezTo>
                    <a:cubicBezTo>
                      <a:pt x="31800" y="19906"/>
                      <a:pt x="32127" y="19859"/>
                      <a:pt x="32127" y="19813"/>
                    </a:cubicBezTo>
                    <a:cubicBezTo>
                      <a:pt x="32127" y="19766"/>
                      <a:pt x="32127" y="19922"/>
                      <a:pt x="32283" y="19813"/>
                    </a:cubicBezTo>
                    <a:lnTo>
                      <a:pt x="32283" y="19813"/>
                    </a:lnTo>
                    <a:cubicBezTo>
                      <a:pt x="32283" y="19813"/>
                      <a:pt x="32408" y="19813"/>
                      <a:pt x="32376" y="19688"/>
                    </a:cubicBezTo>
                    <a:cubicBezTo>
                      <a:pt x="32345" y="19563"/>
                      <a:pt x="32221" y="19532"/>
                      <a:pt x="32376" y="19501"/>
                    </a:cubicBezTo>
                    <a:cubicBezTo>
                      <a:pt x="31940" y="19657"/>
                      <a:pt x="32158" y="19002"/>
                      <a:pt x="32470" y="19220"/>
                    </a:cubicBezTo>
                    <a:cubicBezTo>
                      <a:pt x="32470" y="19096"/>
                      <a:pt x="32735" y="19220"/>
                      <a:pt x="32875" y="19220"/>
                    </a:cubicBezTo>
                    <a:cubicBezTo>
                      <a:pt x="32595" y="19111"/>
                      <a:pt x="33000" y="19127"/>
                      <a:pt x="33031" y="19049"/>
                    </a:cubicBezTo>
                    <a:cubicBezTo>
                      <a:pt x="32376" y="18846"/>
                      <a:pt x="33374" y="18940"/>
                      <a:pt x="33421" y="18862"/>
                    </a:cubicBezTo>
                    <a:cubicBezTo>
                      <a:pt x="33546" y="18519"/>
                      <a:pt x="34013" y="18566"/>
                      <a:pt x="34294" y="18488"/>
                    </a:cubicBezTo>
                    <a:cubicBezTo>
                      <a:pt x="34294" y="18644"/>
                      <a:pt x="34450" y="18659"/>
                      <a:pt x="34543" y="18488"/>
                    </a:cubicBezTo>
                    <a:cubicBezTo>
                      <a:pt x="34637" y="18316"/>
                      <a:pt x="34668" y="18753"/>
                      <a:pt x="34746" y="18628"/>
                    </a:cubicBezTo>
                    <a:cubicBezTo>
                      <a:pt x="36991" y="19080"/>
                      <a:pt x="35385" y="17537"/>
                      <a:pt x="34356" y="17287"/>
                    </a:cubicBezTo>
                    <a:cubicBezTo>
                      <a:pt x="34356" y="17287"/>
                      <a:pt x="34356" y="17287"/>
                      <a:pt x="34356" y="17163"/>
                    </a:cubicBezTo>
                    <a:cubicBezTo>
                      <a:pt x="34356" y="17038"/>
                      <a:pt x="34543" y="17163"/>
                      <a:pt x="34465" y="17054"/>
                    </a:cubicBezTo>
                    <a:cubicBezTo>
                      <a:pt x="34387" y="16944"/>
                      <a:pt x="34668" y="16913"/>
                      <a:pt x="34465" y="16835"/>
                    </a:cubicBezTo>
                    <a:cubicBezTo>
                      <a:pt x="34263" y="16757"/>
                      <a:pt x="34372" y="16835"/>
                      <a:pt x="34356" y="16742"/>
                    </a:cubicBezTo>
                    <a:cubicBezTo>
                      <a:pt x="34341" y="16648"/>
                      <a:pt x="34512" y="16742"/>
                      <a:pt x="34512" y="16742"/>
                    </a:cubicBezTo>
                    <a:cubicBezTo>
                      <a:pt x="34512" y="16742"/>
                      <a:pt x="34637" y="16617"/>
                      <a:pt x="34606" y="16539"/>
                    </a:cubicBezTo>
                    <a:cubicBezTo>
                      <a:pt x="34574" y="16461"/>
                      <a:pt x="34169" y="16539"/>
                      <a:pt x="34076" y="16789"/>
                    </a:cubicBezTo>
                    <a:cubicBezTo>
                      <a:pt x="34076" y="16789"/>
                      <a:pt x="33982" y="16867"/>
                      <a:pt x="33904" y="16789"/>
                    </a:cubicBezTo>
                    <a:cubicBezTo>
                      <a:pt x="33826" y="16711"/>
                      <a:pt x="33811" y="16789"/>
                      <a:pt x="33764" y="16789"/>
                    </a:cubicBezTo>
                    <a:cubicBezTo>
                      <a:pt x="33717" y="16789"/>
                      <a:pt x="33764" y="17038"/>
                      <a:pt x="33764" y="16976"/>
                    </a:cubicBezTo>
                    <a:cubicBezTo>
                      <a:pt x="33764" y="16913"/>
                      <a:pt x="33764" y="16867"/>
                      <a:pt x="33764" y="16851"/>
                    </a:cubicBezTo>
                    <a:cubicBezTo>
                      <a:pt x="33764" y="16835"/>
                      <a:pt x="33546" y="16991"/>
                      <a:pt x="33468" y="17054"/>
                    </a:cubicBezTo>
                    <a:cubicBezTo>
                      <a:pt x="33390" y="17116"/>
                      <a:pt x="33733" y="17054"/>
                      <a:pt x="33701" y="17194"/>
                    </a:cubicBezTo>
                    <a:cubicBezTo>
                      <a:pt x="33670" y="17334"/>
                      <a:pt x="33701" y="17194"/>
                      <a:pt x="33701" y="17194"/>
                    </a:cubicBezTo>
                    <a:cubicBezTo>
                      <a:pt x="33701" y="17194"/>
                      <a:pt x="33701" y="17303"/>
                      <a:pt x="33873" y="17287"/>
                    </a:cubicBezTo>
                    <a:cubicBezTo>
                      <a:pt x="34044" y="17272"/>
                      <a:pt x="33592" y="17085"/>
                      <a:pt x="33655" y="16976"/>
                    </a:cubicBezTo>
                    <a:cubicBezTo>
                      <a:pt x="33717" y="16867"/>
                      <a:pt x="33826" y="17225"/>
                      <a:pt x="33935" y="17256"/>
                    </a:cubicBezTo>
                    <a:cubicBezTo>
                      <a:pt x="34044" y="17287"/>
                      <a:pt x="33935" y="17256"/>
                      <a:pt x="34044" y="17256"/>
                    </a:cubicBezTo>
                    <a:cubicBezTo>
                      <a:pt x="34154" y="17256"/>
                      <a:pt x="34138" y="17178"/>
                      <a:pt x="34200" y="17178"/>
                    </a:cubicBezTo>
                    <a:cubicBezTo>
                      <a:pt x="34263" y="17178"/>
                      <a:pt x="34200" y="17381"/>
                      <a:pt x="33998" y="17334"/>
                    </a:cubicBezTo>
                    <a:cubicBezTo>
                      <a:pt x="33795" y="17287"/>
                      <a:pt x="33452" y="17833"/>
                      <a:pt x="33499" y="17334"/>
                    </a:cubicBezTo>
                    <a:cubicBezTo>
                      <a:pt x="33374" y="17225"/>
                      <a:pt x="33094" y="17334"/>
                      <a:pt x="33359" y="17116"/>
                    </a:cubicBezTo>
                    <a:cubicBezTo>
                      <a:pt x="33624" y="16898"/>
                      <a:pt x="33234" y="16882"/>
                      <a:pt x="33125" y="17007"/>
                    </a:cubicBezTo>
                    <a:cubicBezTo>
                      <a:pt x="33016" y="17132"/>
                      <a:pt x="32953" y="17007"/>
                      <a:pt x="33016" y="16898"/>
                    </a:cubicBezTo>
                    <a:cubicBezTo>
                      <a:pt x="33078" y="16789"/>
                      <a:pt x="32844" y="16898"/>
                      <a:pt x="32813" y="16898"/>
                    </a:cubicBezTo>
                    <a:cubicBezTo>
                      <a:pt x="32782" y="16898"/>
                      <a:pt x="33016" y="16898"/>
                      <a:pt x="33078" y="16898"/>
                    </a:cubicBezTo>
                    <a:cubicBezTo>
                      <a:pt x="33030" y="16943"/>
                      <a:pt x="32955" y="16943"/>
                      <a:pt x="32906" y="16898"/>
                    </a:cubicBezTo>
                    <a:cubicBezTo>
                      <a:pt x="32906" y="17054"/>
                      <a:pt x="32782" y="16898"/>
                      <a:pt x="32751" y="17007"/>
                    </a:cubicBezTo>
                    <a:cubicBezTo>
                      <a:pt x="32719" y="17116"/>
                      <a:pt x="32751" y="17178"/>
                      <a:pt x="32595" y="17194"/>
                    </a:cubicBezTo>
                    <a:cubicBezTo>
                      <a:pt x="32439" y="17209"/>
                      <a:pt x="32595" y="17443"/>
                      <a:pt x="32486" y="17319"/>
                    </a:cubicBezTo>
                    <a:cubicBezTo>
                      <a:pt x="32595" y="17599"/>
                      <a:pt x="32486" y="17615"/>
                      <a:pt x="32314" y="17786"/>
                    </a:cubicBezTo>
                    <a:cubicBezTo>
                      <a:pt x="32143" y="17958"/>
                      <a:pt x="32314" y="18020"/>
                      <a:pt x="32314" y="18145"/>
                    </a:cubicBezTo>
                    <a:cubicBezTo>
                      <a:pt x="32314" y="18269"/>
                      <a:pt x="32127" y="18238"/>
                      <a:pt x="32189" y="18379"/>
                    </a:cubicBezTo>
                    <a:cubicBezTo>
                      <a:pt x="32252" y="18519"/>
                      <a:pt x="32314" y="18550"/>
                      <a:pt x="32314" y="18784"/>
                    </a:cubicBezTo>
                    <a:cubicBezTo>
                      <a:pt x="32314" y="19018"/>
                      <a:pt x="32719" y="18909"/>
                      <a:pt x="32579" y="19049"/>
                    </a:cubicBezTo>
                    <a:cubicBezTo>
                      <a:pt x="32439" y="19189"/>
                      <a:pt x="32158" y="19189"/>
                      <a:pt x="31956" y="19361"/>
                    </a:cubicBezTo>
                    <a:cubicBezTo>
                      <a:pt x="31956" y="19267"/>
                      <a:pt x="31956" y="19220"/>
                      <a:pt x="32049" y="19189"/>
                    </a:cubicBezTo>
                    <a:cubicBezTo>
                      <a:pt x="31862" y="19189"/>
                      <a:pt x="31628" y="18955"/>
                      <a:pt x="31519" y="19189"/>
                    </a:cubicBezTo>
                    <a:cubicBezTo>
                      <a:pt x="31363" y="19189"/>
                      <a:pt x="31410" y="19189"/>
                      <a:pt x="31301" y="19267"/>
                    </a:cubicBezTo>
                    <a:cubicBezTo>
                      <a:pt x="31192" y="19345"/>
                      <a:pt x="31301" y="19361"/>
                      <a:pt x="31410" y="19407"/>
                    </a:cubicBezTo>
                    <a:cubicBezTo>
                      <a:pt x="31519" y="19454"/>
                      <a:pt x="31239" y="19329"/>
                      <a:pt x="31254" y="19407"/>
                    </a:cubicBezTo>
                    <a:cubicBezTo>
                      <a:pt x="31270" y="19485"/>
                      <a:pt x="31363" y="19407"/>
                      <a:pt x="31254" y="19485"/>
                    </a:cubicBezTo>
                    <a:cubicBezTo>
                      <a:pt x="31145" y="19563"/>
                      <a:pt x="31005" y="19376"/>
                      <a:pt x="31254" y="19485"/>
                    </a:cubicBezTo>
                    <a:cubicBezTo>
                      <a:pt x="31129" y="19485"/>
                      <a:pt x="31083" y="19361"/>
                      <a:pt x="31005" y="19314"/>
                    </a:cubicBezTo>
                    <a:cubicBezTo>
                      <a:pt x="30927" y="19267"/>
                      <a:pt x="30786" y="19423"/>
                      <a:pt x="31005" y="19532"/>
                    </a:cubicBezTo>
                    <a:cubicBezTo>
                      <a:pt x="31223" y="19641"/>
                      <a:pt x="31348" y="19953"/>
                      <a:pt x="31005" y="19719"/>
                    </a:cubicBezTo>
                    <a:cubicBezTo>
                      <a:pt x="31005" y="19719"/>
                      <a:pt x="31005" y="19719"/>
                      <a:pt x="31005" y="19719"/>
                    </a:cubicBezTo>
                    <a:cubicBezTo>
                      <a:pt x="31005" y="19719"/>
                      <a:pt x="31005" y="19828"/>
                      <a:pt x="31005" y="19813"/>
                    </a:cubicBezTo>
                    <a:cubicBezTo>
                      <a:pt x="31176" y="19937"/>
                      <a:pt x="31472" y="19984"/>
                      <a:pt x="31457" y="20234"/>
                    </a:cubicBezTo>
                    <a:cubicBezTo>
                      <a:pt x="31348" y="20234"/>
                      <a:pt x="31285" y="20124"/>
                      <a:pt x="31161" y="20234"/>
                    </a:cubicBezTo>
                    <a:cubicBezTo>
                      <a:pt x="31036" y="20343"/>
                      <a:pt x="31441" y="20452"/>
                      <a:pt x="31270" y="20389"/>
                    </a:cubicBezTo>
                    <a:cubicBezTo>
                      <a:pt x="31098" y="20327"/>
                      <a:pt x="31270" y="20389"/>
                      <a:pt x="31270" y="20389"/>
                    </a:cubicBezTo>
                    <a:cubicBezTo>
                      <a:pt x="31270" y="20389"/>
                      <a:pt x="31270" y="20608"/>
                      <a:pt x="31270" y="20670"/>
                    </a:cubicBezTo>
                    <a:cubicBezTo>
                      <a:pt x="31270" y="20732"/>
                      <a:pt x="31051" y="20499"/>
                      <a:pt x="31083" y="20670"/>
                    </a:cubicBezTo>
                    <a:cubicBezTo>
                      <a:pt x="31083" y="20530"/>
                      <a:pt x="30989" y="20545"/>
                      <a:pt x="30927" y="20436"/>
                    </a:cubicBezTo>
                    <a:cubicBezTo>
                      <a:pt x="30864" y="20327"/>
                      <a:pt x="30927" y="20514"/>
                      <a:pt x="30927" y="20561"/>
                    </a:cubicBezTo>
                    <a:cubicBezTo>
                      <a:pt x="30845" y="20514"/>
                      <a:pt x="30806" y="20417"/>
                      <a:pt x="30833" y="20327"/>
                    </a:cubicBezTo>
                    <a:cubicBezTo>
                      <a:pt x="30724" y="20234"/>
                      <a:pt x="30553" y="20171"/>
                      <a:pt x="30724" y="20047"/>
                    </a:cubicBezTo>
                    <a:cubicBezTo>
                      <a:pt x="30896" y="19922"/>
                      <a:pt x="31036" y="20202"/>
                      <a:pt x="31176" y="20047"/>
                    </a:cubicBezTo>
                    <a:cubicBezTo>
                      <a:pt x="31051" y="20047"/>
                      <a:pt x="30911" y="19891"/>
                      <a:pt x="30818" y="20047"/>
                    </a:cubicBezTo>
                    <a:cubicBezTo>
                      <a:pt x="30724" y="20202"/>
                      <a:pt x="30709" y="19937"/>
                      <a:pt x="30662" y="20047"/>
                    </a:cubicBezTo>
                    <a:cubicBezTo>
                      <a:pt x="30444" y="19828"/>
                      <a:pt x="30288" y="19485"/>
                      <a:pt x="30007" y="19345"/>
                    </a:cubicBezTo>
                    <a:cubicBezTo>
                      <a:pt x="30007" y="19174"/>
                      <a:pt x="30007" y="18987"/>
                      <a:pt x="30007" y="18815"/>
                    </a:cubicBezTo>
                    <a:cubicBezTo>
                      <a:pt x="29820" y="18815"/>
                      <a:pt x="29711" y="18566"/>
                      <a:pt x="29571" y="18441"/>
                    </a:cubicBezTo>
                    <a:cubicBezTo>
                      <a:pt x="29430" y="18316"/>
                      <a:pt x="29337" y="18441"/>
                      <a:pt x="29290" y="18441"/>
                    </a:cubicBezTo>
                    <a:cubicBezTo>
                      <a:pt x="29243" y="18441"/>
                      <a:pt x="29290" y="18441"/>
                      <a:pt x="29399" y="18441"/>
                    </a:cubicBezTo>
                    <a:cubicBezTo>
                      <a:pt x="29508" y="18441"/>
                      <a:pt x="29134" y="18207"/>
                      <a:pt x="28978" y="18269"/>
                    </a:cubicBezTo>
                    <a:cubicBezTo>
                      <a:pt x="28822" y="18332"/>
                      <a:pt x="28511" y="18004"/>
                      <a:pt x="28807" y="18020"/>
                    </a:cubicBezTo>
                    <a:cubicBezTo>
                      <a:pt x="28448" y="17802"/>
                      <a:pt x="28620" y="17365"/>
                      <a:pt x="28292" y="17817"/>
                    </a:cubicBezTo>
                    <a:cubicBezTo>
                      <a:pt x="28292" y="17724"/>
                      <a:pt x="28168" y="17615"/>
                      <a:pt x="28292" y="17521"/>
                    </a:cubicBezTo>
                    <a:cubicBezTo>
                      <a:pt x="28417" y="17428"/>
                      <a:pt x="27981" y="17521"/>
                      <a:pt x="27903" y="17630"/>
                    </a:cubicBezTo>
                    <a:cubicBezTo>
                      <a:pt x="27903" y="18098"/>
                      <a:pt x="28448" y="18394"/>
                      <a:pt x="28729" y="18768"/>
                    </a:cubicBezTo>
                    <a:cubicBezTo>
                      <a:pt x="28869" y="18768"/>
                      <a:pt x="29243" y="18768"/>
                      <a:pt x="29025" y="18955"/>
                    </a:cubicBezTo>
                    <a:cubicBezTo>
                      <a:pt x="29243" y="19080"/>
                      <a:pt x="29929" y="19205"/>
                      <a:pt x="29773" y="19548"/>
                    </a:cubicBezTo>
                    <a:cubicBezTo>
                      <a:pt x="29633" y="19548"/>
                      <a:pt x="29773" y="19314"/>
                      <a:pt x="29524" y="19361"/>
                    </a:cubicBezTo>
                    <a:cubicBezTo>
                      <a:pt x="29274" y="19407"/>
                      <a:pt x="29274" y="19548"/>
                      <a:pt x="29321" y="19626"/>
                    </a:cubicBezTo>
                    <a:cubicBezTo>
                      <a:pt x="29649" y="19719"/>
                      <a:pt x="29321" y="19906"/>
                      <a:pt x="29321" y="20093"/>
                    </a:cubicBezTo>
                    <a:cubicBezTo>
                      <a:pt x="29321" y="20280"/>
                      <a:pt x="28900" y="20343"/>
                      <a:pt x="29119" y="20093"/>
                    </a:cubicBezTo>
                    <a:cubicBezTo>
                      <a:pt x="29219" y="19835"/>
                      <a:pt x="29104" y="19543"/>
                      <a:pt x="28854" y="19423"/>
                    </a:cubicBezTo>
                    <a:cubicBezTo>
                      <a:pt x="28713" y="19423"/>
                      <a:pt x="28854" y="19314"/>
                      <a:pt x="28729" y="19267"/>
                    </a:cubicBezTo>
                    <a:cubicBezTo>
                      <a:pt x="28603" y="19264"/>
                      <a:pt x="28490" y="19192"/>
                      <a:pt x="28433" y="19080"/>
                    </a:cubicBezTo>
                    <a:cubicBezTo>
                      <a:pt x="27513" y="19080"/>
                      <a:pt x="27357" y="17225"/>
                      <a:pt x="26391" y="18347"/>
                    </a:cubicBezTo>
                    <a:cubicBezTo>
                      <a:pt x="26391" y="18534"/>
                      <a:pt x="26079" y="18347"/>
                      <a:pt x="25985" y="18254"/>
                    </a:cubicBezTo>
                    <a:cubicBezTo>
                      <a:pt x="25019" y="18145"/>
                      <a:pt x="25985" y="18987"/>
                      <a:pt x="24910" y="19142"/>
                    </a:cubicBezTo>
                    <a:cubicBezTo>
                      <a:pt x="24988" y="19142"/>
                      <a:pt x="24910" y="19298"/>
                      <a:pt x="24910" y="19252"/>
                    </a:cubicBezTo>
                    <a:cubicBezTo>
                      <a:pt x="24271" y="19750"/>
                      <a:pt x="24910" y="19719"/>
                      <a:pt x="24676" y="19969"/>
                    </a:cubicBezTo>
                    <a:cubicBezTo>
                      <a:pt x="24458" y="19969"/>
                      <a:pt x="24567" y="20374"/>
                      <a:pt x="24364" y="20327"/>
                    </a:cubicBezTo>
                    <a:cubicBezTo>
                      <a:pt x="23974" y="20748"/>
                      <a:pt x="23522" y="20327"/>
                      <a:pt x="23070" y="20779"/>
                    </a:cubicBezTo>
                    <a:cubicBezTo>
                      <a:pt x="22774" y="20779"/>
                      <a:pt x="22821" y="20140"/>
                      <a:pt x="22416" y="20421"/>
                    </a:cubicBezTo>
                    <a:cubicBezTo>
                      <a:pt x="22416" y="20421"/>
                      <a:pt x="22229" y="20296"/>
                      <a:pt x="22151" y="20421"/>
                    </a:cubicBezTo>
                    <a:cubicBezTo>
                      <a:pt x="22167" y="20247"/>
                      <a:pt x="22198" y="20075"/>
                      <a:pt x="22244" y="19906"/>
                    </a:cubicBezTo>
                    <a:cubicBezTo>
                      <a:pt x="21948" y="19906"/>
                      <a:pt x="22244" y="19906"/>
                      <a:pt x="22244" y="19750"/>
                    </a:cubicBezTo>
                    <a:cubicBezTo>
                      <a:pt x="21870" y="19984"/>
                      <a:pt x="22338" y="19329"/>
                      <a:pt x="22353" y="19189"/>
                    </a:cubicBezTo>
                    <a:cubicBezTo>
                      <a:pt x="22369" y="19049"/>
                      <a:pt x="22353" y="18690"/>
                      <a:pt x="22447" y="18566"/>
                    </a:cubicBezTo>
                    <a:lnTo>
                      <a:pt x="22447" y="18566"/>
                    </a:lnTo>
                    <a:cubicBezTo>
                      <a:pt x="22447" y="18566"/>
                      <a:pt x="22447" y="18566"/>
                      <a:pt x="22447" y="18457"/>
                    </a:cubicBezTo>
                    <a:cubicBezTo>
                      <a:pt x="22447" y="18347"/>
                      <a:pt x="22447" y="18457"/>
                      <a:pt x="22447" y="18363"/>
                    </a:cubicBezTo>
                    <a:cubicBezTo>
                      <a:pt x="22447" y="18269"/>
                      <a:pt x="22634" y="18238"/>
                      <a:pt x="22712" y="18192"/>
                    </a:cubicBezTo>
                    <a:cubicBezTo>
                      <a:pt x="22790" y="18145"/>
                      <a:pt x="23055" y="18192"/>
                      <a:pt x="23133" y="18192"/>
                    </a:cubicBezTo>
                    <a:cubicBezTo>
                      <a:pt x="23460" y="18192"/>
                      <a:pt x="23819" y="18347"/>
                      <a:pt x="24146" y="18269"/>
                    </a:cubicBezTo>
                    <a:cubicBezTo>
                      <a:pt x="24723" y="18722"/>
                      <a:pt x="24364" y="17163"/>
                      <a:pt x="24754" y="17755"/>
                    </a:cubicBezTo>
                    <a:cubicBezTo>
                      <a:pt x="24754" y="17662"/>
                      <a:pt x="24660" y="17521"/>
                      <a:pt x="24551" y="17506"/>
                    </a:cubicBezTo>
                    <a:cubicBezTo>
                      <a:pt x="24707" y="17303"/>
                      <a:pt x="24411" y="17256"/>
                      <a:pt x="24333" y="17116"/>
                    </a:cubicBezTo>
                    <a:cubicBezTo>
                      <a:pt x="24255" y="16976"/>
                      <a:pt x="24333" y="16898"/>
                      <a:pt x="24458" y="16991"/>
                    </a:cubicBezTo>
                    <a:cubicBezTo>
                      <a:pt x="24364" y="16851"/>
                      <a:pt x="24255" y="17085"/>
                      <a:pt x="24255" y="16835"/>
                    </a:cubicBezTo>
                    <a:cubicBezTo>
                      <a:pt x="24146" y="16835"/>
                      <a:pt x="23959" y="16648"/>
                      <a:pt x="23803" y="16757"/>
                    </a:cubicBezTo>
                    <a:cubicBezTo>
                      <a:pt x="23647" y="16867"/>
                      <a:pt x="23803" y="16757"/>
                      <a:pt x="23803" y="16648"/>
                    </a:cubicBezTo>
                    <a:cubicBezTo>
                      <a:pt x="23803" y="16539"/>
                      <a:pt x="23897" y="16508"/>
                      <a:pt x="23803" y="16648"/>
                    </a:cubicBezTo>
                    <a:cubicBezTo>
                      <a:pt x="23709" y="16789"/>
                      <a:pt x="23803" y="16648"/>
                      <a:pt x="23803" y="16648"/>
                    </a:cubicBezTo>
                    <a:cubicBezTo>
                      <a:pt x="23460" y="16539"/>
                      <a:pt x="23990" y="16524"/>
                      <a:pt x="24099" y="16446"/>
                    </a:cubicBezTo>
                    <a:cubicBezTo>
                      <a:pt x="24224" y="16602"/>
                      <a:pt x="24317" y="16446"/>
                      <a:pt x="24520" y="16555"/>
                    </a:cubicBezTo>
                    <a:cubicBezTo>
                      <a:pt x="24493" y="16422"/>
                      <a:pt x="24457" y="16292"/>
                      <a:pt x="24411" y="16165"/>
                    </a:cubicBezTo>
                    <a:cubicBezTo>
                      <a:pt x="24411" y="16165"/>
                      <a:pt x="24551" y="16165"/>
                      <a:pt x="24598" y="16165"/>
                    </a:cubicBezTo>
                    <a:cubicBezTo>
                      <a:pt x="24645" y="16165"/>
                      <a:pt x="24863" y="16337"/>
                      <a:pt x="24957" y="16165"/>
                    </a:cubicBezTo>
                    <a:cubicBezTo>
                      <a:pt x="24738" y="15994"/>
                      <a:pt x="25206" y="16072"/>
                      <a:pt x="25206" y="15978"/>
                    </a:cubicBezTo>
                    <a:cubicBezTo>
                      <a:pt x="25206" y="15884"/>
                      <a:pt x="25284" y="15775"/>
                      <a:pt x="25315" y="15682"/>
                    </a:cubicBezTo>
                    <a:cubicBezTo>
                      <a:pt x="25346" y="15588"/>
                      <a:pt x="25596" y="15417"/>
                      <a:pt x="25814" y="15542"/>
                    </a:cubicBezTo>
                    <a:cubicBezTo>
                      <a:pt x="25658" y="15542"/>
                      <a:pt x="25611" y="15354"/>
                      <a:pt x="25814" y="15542"/>
                    </a:cubicBezTo>
                    <a:cubicBezTo>
                      <a:pt x="26017" y="15729"/>
                      <a:pt x="25705" y="15432"/>
                      <a:pt x="25907" y="15448"/>
                    </a:cubicBezTo>
                    <a:cubicBezTo>
                      <a:pt x="25580" y="15214"/>
                      <a:pt x="26250" y="14622"/>
                      <a:pt x="26578" y="14918"/>
                    </a:cubicBezTo>
                    <a:cubicBezTo>
                      <a:pt x="26344" y="14747"/>
                      <a:pt x="26671" y="14622"/>
                      <a:pt x="26734" y="14918"/>
                    </a:cubicBezTo>
                    <a:cubicBezTo>
                      <a:pt x="26734" y="14700"/>
                      <a:pt x="26734" y="14918"/>
                      <a:pt x="26858" y="14918"/>
                    </a:cubicBezTo>
                    <a:cubicBezTo>
                      <a:pt x="26718" y="14544"/>
                      <a:pt x="26999" y="14731"/>
                      <a:pt x="27186" y="14793"/>
                    </a:cubicBezTo>
                    <a:cubicBezTo>
                      <a:pt x="26671" y="14559"/>
                      <a:pt x="26812" y="14061"/>
                      <a:pt x="26671" y="13718"/>
                    </a:cubicBezTo>
                    <a:cubicBezTo>
                      <a:pt x="26889" y="13718"/>
                      <a:pt x="26796" y="13577"/>
                      <a:pt x="26921" y="13718"/>
                    </a:cubicBezTo>
                    <a:cubicBezTo>
                      <a:pt x="26921" y="13281"/>
                      <a:pt x="27077" y="13718"/>
                      <a:pt x="27248" y="13718"/>
                    </a:cubicBezTo>
                    <a:cubicBezTo>
                      <a:pt x="27248" y="13952"/>
                      <a:pt x="26796" y="14092"/>
                      <a:pt x="27154" y="14528"/>
                    </a:cubicBezTo>
                    <a:cubicBezTo>
                      <a:pt x="27154" y="14419"/>
                      <a:pt x="27529" y="14528"/>
                      <a:pt x="27279" y="14606"/>
                    </a:cubicBezTo>
                    <a:cubicBezTo>
                      <a:pt x="27762" y="14606"/>
                      <a:pt x="27575" y="14310"/>
                      <a:pt x="28027" y="14606"/>
                    </a:cubicBezTo>
                    <a:cubicBezTo>
                      <a:pt x="28246" y="14949"/>
                      <a:pt x="28729" y="13936"/>
                      <a:pt x="29134" y="14310"/>
                    </a:cubicBezTo>
                    <a:cubicBezTo>
                      <a:pt x="28885" y="14310"/>
                      <a:pt x="29134" y="14559"/>
                      <a:pt x="29337" y="14310"/>
                    </a:cubicBezTo>
                    <a:cubicBezTo>
                      <a:pt x="29312" y="14365"/>
                      <a:pt x="29267" y="14410"/>
                      <a:pt x="29212" y="14435"/>
                    </a:cubicBezTo>
                    <a:cubicBezTo>
                      <a:pt x="30927" y="14357"/>
                      <a:pt x="28729" y="13858"/>
                      <a:pt x="29680" y="13157"/>
                    </a:cubicBezTo>
                    <a:cubicBezTo>
                      <a:pt x="30023" y="13687"/>
                      <a:pt x="30132" y="13328"/>
                      <a:pt x="29976" y="12907"/>
                    </a:cubicBezTo>
                    <a:cubicBezTo>
                      <a:pt x="29976" y="13094"/>
                      <a:pt x="29711" y="12907"/>
                      <a:pt x="29804" y="12767"/>
                    </a:cubicBezTo>
                    <a:cubicBezTo>
                      <a:pt x="29524" y="12767"/>
                      <a:pt x="29804" y="12486"/>
                      <a:pt x="29804" y="12424"/>
                    </a:cubicBezTo>
                    <a:cubicBezTo>
                      <a:pt x="29804" y="12362"/>
                      <a:pt x="30023" y="12424"/>
                      <a:pt x="29929" y="12424"/>
                    </a:cubicBezTo>
                    <a:lnTo>
                      <a:pt x="30506" y="12517"/>
                    </a:lnTo>
                    <a:cubicBezTo>
                      <a:pt x="30334" y="12252"/>
                      <a:pt x="30506" y="12424"/>
                      <a:pt x="30631" y="12221"/>
                    </a:cubicBezTo>
                    <a:cubicBezTo>
                      <a:pt x="30755" y="12019"/>
                      <a:pt x="30225" y="12128"/>
                      <a:pt x="30444" y="11972"/>
                    </a:cubicBezTo>
                    <a:cubicBezTo>
                      <a:pt x="30444" y="11972"/>
                      <a:pt x="30334" y="12065"/>
                      <a:pt x="30319" y="11972"/>
                    </a:cubicBezTo>
                    <a:cubicBezTo>
                      <a:pt x="30319" y="12112"/>
                      <a:pt x="30038" y="12128"/>
                      <a:pt x="29976" y="12081"/>
                    </a:cubicBezTo>
                    <a:cubicBezTo>
                      <a:pt x="29914" y="12034"/>
                      <a:pt x="29976" y="12081"/>
                      <a:pt x="29976" y="12081"/>
                    </a:cubicBezTo>
                    <a:cubicBezTo>
                      <a:pt x="29976" y="12081"/>
                      <a:pt x="29976" y="12299"/>
                      <a:pt x="29976" y="12081"/>
                    </a:cubicBezTo>
                    <a:cubicBezTo>
                      <a:pt x="29976" y="12206"/>
                      <a:pt x="29586" y="12221"/>
                      <a:pt x="29555" y="12362"/>
                    </a:cubicBezTo>
                    <a:cubicBezTo>
                      <a:pt x="29555" y="12081"/>
                      <a:pt x="29415" y="12174"/>
                      <a:pt x="29197" y="12034"/>
                    </a:cubicBezTo>
                    <a:cubicBezTo>
                      <a:pt x="28978" y="11894"/>
                      <a:pt x="28760" y="11021"/>
                      <a:pt x="28963" y="10943"/>
                    </a:cubicBezTo>
                    <a:cubicBezTo>
                      <a:pt x="29165" y="10865"/>
                      <a:pt x="28963" y="10865"/>
                      <a:pt x="29056" y="10943"/>
                    </a:cubicBezTo>
                    <a:cubicBezTo>
                      <a:pt x="29150" y="11021"/>
                      <a:pt x="29056" y="10818"/>
                      <a:pt x="29056" y="10725"/>
                    </a:cubicBezTo>
                    <a:cubicBezTo>
                      <a:pt x="29056" y="10631"/>
                      <a:pt x="29259" y="10304"/>
                      <a:pt x="29321" y="10397"/>
                    </a:cubicBezTo>
                    <a:cubicBezTo>
                      <a:pt x="29134" y="9992"/>
                      <a:pt x="28776" y="10117"/>
                      <a:pt x="28589" y="10148"/>
                    </a:cubicBezTo>
                    <a:cubicBezTo>
                      <a:pt x="28698" y="10304"/>
                      <a:pt x="28589" y="10507"/>
                      <a:pt x="28729" y="10631"/>
                    </a:cubicBezTo>
                    <a:cubicBezTo>
                      <a:pt x="28616" y="10941"/>
                      <a:pt x="28422" y="11216"/>
                      <a:pt x="28168" y="11426"/>
                    </a:cubicBezTo>
                    <a:cubicBezTo>
                      <a:pt x="28277" y="11504"/>
                      <a:pt x="28168" y="11660"/>
                      <a:pt x="28292" y="11769"/>
                    </a:cubicBezTo>
                    <a:cubicBezTo>
                      <a:pt x="28027" y="11909"/>
                      <a:pt x="29212" y="12704"/>
                      <a:pt x="28479" y="12517"/>
                    </a:cubicBezTo>
                    <a:cubicBezTo>
                      <a:pt x="28479" y="12517"/>
                      <a:pt x="28043" y="12517"/>
                      <a:pt x="28324" y="12627"/>
                    </a:cubicBezTo>
                    <a:cubicBezTo>
                      <a:pt x="28604" y="12736"/>
                      <a:pt x="28869" y="12814"/>
                      <a:pt x="28573" y="12751"/>
                    </a:cubicBezTo>
                    <a:cubicBezTo>
                      <a:pt x="28573" y="12751"/>
                      <a:pt x="28573" y="12938"/>
                      <a:pt x="28464" y="12876"/>
                    </a:cubicBezTo>
                    <a:cubicBezTo>
                      <a:pt x="28355" y="12814"/>
                      <a:pt x="28557" y="13001"/>
                      <a:pt x="28464" y="13016"/>
                    </a:cubicBezTo>
                    <a:cubicBezTo>
                      <a:pt x="28573" y="13016"/>
                      <a:pt x="28604" y="13250"/>
                      <a:pt x="28464" y="13172"/>
                    </a:cubicBezTo>
                    <a:cubicBezTo>
                      <a:pt x="28589" y="13422"/>
                      <a:pt x="28604" y="14076"/>
                      <a:pt x="28214" y="13827"/>
                    </a:cubicBezTo>
                    <a:cubicBezTo>
                      <a:pt x="27965" y="14793"/>
                      <a:pt x="27279" y="12845"/>
                      <a:pt x="27373" y="12751"/>
                    </a:cubicBezTo>
                    <a:cubicBezTo>
                      <a:pt x="27217" y="12658"/>
                      <a:pt x="27170" y="12564"/>
                      <a:pt x="27170" y="12533"/>
                    </a:cubicBezTo>
                    <a:cubicBezTo>
                      <a:pt x="27188" y="12620"/>
                      <a:pt x="27188" y="12711"/>
                      <a:pt x="27170" y="12798"/>
                    </a:cubicBezTo>
                    <a:cubicBezTo>
                      <a:pt x="27170" y="12798"/>
                      <a:pt x="27170" y="12798"/>
                      <a:pt x="26983" y="12673"/>
                    </a:cubicBezTo>
                    <a:cubicBezTo>
                      <a:pt x="26983" y="12814"/>
                      <a:pt x="26983" y="13032"/>
                      <a:pt x="26858" y="12969"/>
                    </a:cubicBezTo>
                    <a:cubicBezTo>
                      <a:pt x="26983" y="13125"/>
                      <a:pt x="26578" y="13234"/>
                      <a:pt x="26484" y="13094"/>
                    </a:cubicBezTo>
                    <a:cubicBezTo>
                      <a:pt x="26391" y="13203"/>
                      <a:pt x="26001" y="12751"/>
                      <a:pt x="26484" y="12798"/>
                    </a:cubicBezTo>
                    <a:cubicBezTo>
                      <a:pt x="26282" y="12798"/>
                      <a:pt x="26484" y="12704"/>
                      <a:pt x="26328" y="12595"/>
                    </a:cubicBezTo>
                    <a:cubicBezTo>
                      <a:pt x="26328" y="12876"/>
                      <a:pt x="26110" y="12424"/>
                      <a:pt x="26328" y="12595"/>
                    </a:cubicBezTo>
                    <a:cubicBezTo>
                      <a:pt x="26547" y="12767"/>
                      <a:pt x="26328" y="12595"/>
                      <a:pt x="26469" y="12502"/>
                    </a:cubicBezTo>
                    <a:cubicBezTo>
                      <a:pt x="26282" y="12502"/>
                      <a:pt x="26469" y="12206"/>
                      <a:pt x="26469" y="12393"/>
                    </a:cubicBezTo>
                    <a:cubicBezTo>
                      <a:pt x="26426" y="12350"/>
                      <a:pt x="26425" y="12281"/>
                      <a:pt x="26467" y="12238"/>
                    </a:cubicBezTo>
                    <a:cubicBezTo>
                      <a:pt x="26467" y="12238"/>
                      <a:pt x="26468" y="12237"/>
                      <a:pt x="26469" y="12237"/>
                    </a:cubicBezTo>
                    <a:cubicBezTo>
                      <a:pt x="26266" y="12315"/>
                      <a:pt x="26157" y="12455"/>
                      <a:pt x="26266" y="12237"/>
                    </a:cubicBezTo>
                    <a:cubicBezTo>
                      <a:pt x="26126" y="12237"/>
                      <a:pt x="26079" y="12315"/>
                      <a:pt x="26266" y="12143"/>
                    </a:cubicBezTo>
                    <a:cubicBezTo>
                      <a:pt x="25954" y="12019"/>
                      <a:pt x="26812" y="12237"/>
                      <a:pt x="26640" y="11941"/>
                    </a:cubicBezTo>
                    <a:cubicBezTo>
                      <a:pt x="26640" y="12097"/>
                      <a:pt x="25939" y="12065"/>
                      <a:pt x="26313" y="11941"/>
                    </a:cubicBezTo>
                    <a:cubicBezTo>
                      <a:pt x="26001" y="11941"/>
                      <a:pt x="26313" y="11832"/>
                      <a:pt x="26484" y="11816"/>
                    </a:cubicBezTo>
                    <a:cubicBezTo>
                      <a:pt x="26157" y="11816"/>
                      <a:pt x="26094" y="11644"/>
                      <a:pt x="26359" y="11722"/>
                    </a:cubicBezTo>
                    <a:cubicBezTo>
                      <a:pt x="26282" y="11722"/>
                      <a:pt x="26359" y="11598"/>
                      <a:pt x="26484" y="11722"/>
                    </a:cubicBezTo>
                    <a:lnTo>
                      <a:pt x="26484" y="11613"/>
                    </a:lnTo>
                    <a:cubicBezTo>
                      <a:pt x="26484" y="11613"/>
                      <a:pt x="26484" y="11613"/>
                      <a:pt x="26718" y="11613"/>
                    </a:cubicBezTo>
                    <a:cubicBezTo>
                      <a:pt x="26422" y="11613"/>
                      <a:pt x="26593" y="11426"/>
                      <a:pt x="26843" y="11613"/>
                    </a:cubicBezTo>
                    <a:cubicBezTo>
                      <a:pt x="26515" y="11348"/>
                      <a:pt x="26843" y="11613"/>
                      <a:pt x="26843" y="11504"/>
                    </a:cubicBezTo>
                    <a:cubicBezTo>
                      <a:pt x="26843" y="11395"/>
                      <a:pt x="27154" y="11083"/>
                      <a:pt x="27014" y="11504"/>
                    </a:cubicBezTo>
                    <a:cubicBezTo>
                      <a:pt x="27232" y="11379"/>
                      <a:pt x="27201" y="11379"/>
                      <a:pt x="27279" y="11161"/>
                    </a:cubicBezTo>
                    <a:cubicBezTo>
                      <a:pt x="27357" y="10943"/>
                      <a:pt x="27030" y="11629"/>
                      <a:pt x="27045" y="11270"/>
                    </a:cubicBezTo>
                    <a:cubicBezTo>
                      <a:pt x="26921" y="11364"/>
                      <a:pt x="27045" y="11037"/>
                      <a:pt x="27045" y="11068"/>
                    </a:cubicBezTo>
                    <a:cubicBezTo>
                      <a:pt x="27045" y="11099"/>
                      <a:pt x="27217" y="10896"/>
                      <a:pt x="27357" y="10678"/>
                    </a:cubicBezTo>
                    <a:cubicBezTo>
                      <a:pt x="27217" y="10787"/>
                      <a:pt x="27279" y="10460"/>
                      <a:pt x="27357" y="10538"/>
                    </a:cubicBezTo>
                    <a:cubicBezTo>
                      <a:pt x="27435" y="10616"/>
                      <a:pt x="27357" y="10382"/>
                      <a:pt x="27357" y="10460"/>
                    </a:cubicBezTo>
                    <a:cubicBezTo>
                      <a:pt x="27264" y="10273"/>
                      <a:pt x="27357" y="10382"/>
                      <a:pt x="27357" y="10288"/>
                    </a:cubicBezTo>
                    <a:cubicBezTo>
                      <a:pt x="27170" y="10288"/>
                      <a:pt x="27357" y="10195"/>
                      <a:pt x="27248" y="10117"/>
                    </a:cubicBezTo>
                    <a:cubicBezTo>
                      <a:pt x="27139" y="10039"/>
                      <a:pt x="27248" y="9821"/>
                      <a:pt x="27529" y="9961"/>
                    </a:cubicBezTo>
                    <a:cubicBezTo>
                      <a:pt x="27388" y="9883"/>
                      <a:pt x="27326" y="9743"/>
                      <a:pt x="27529" y="9836"/>
                    </a:cubicBezTo>
                    <a:cubicBezTo>
                      <a:pt x="27731" y="9930"/>
                      <a:pt x="27373" y="9711"/>
                      <a:pt x="27529" y="9696"/>
                    </a:cubicBezTo>
                    <a:cubicBezTo>
                      <a:pt x="27264" y="9696"/>
                      <a:pt x="27529" y="9696"/>
                      <a:pt x="27529" y="9509"/>
                    </a:cubicBezTo>
                    <a:cubicBezTo>
                      <a:pt x="27700" y="9509"/>
                      <a:pt x="27669" y="9509"/>
                      <a:pt x="27684" y="9509"/>
                    </a:cubicBezTo>
                    <a:cubicBezTo>
                      <a:pt x="28059" y="9587"/>
                      <a:pt x="27419" y="9369"/>
                      <a:pt x="27684" y="9369"/>
                    </a:cubicBezTo>
                    <a:cubicBezTo>
                      <a:pt x="27684" y="9369"/>
                      <a:pt x="27684" y="9275"/>
                      <a:pt x="27684" y="9275"/>
                    </a:cubicBezTo>
                    <a:cubicBezTo>
                      <a:pt x="27684" y="9275"/>
                      <a:pt x="27684" y="8994"/>
                      <a:pt x="27778" y="9182"/>
                    </a:cubicBezTo>
                    <a:cubicBezTo>
                      <a:pt x="27872" y="9369"/>
                      <a:pt x="27778" y="9182"/>
                      <a:pt x="27778" y="9182"/>
                    </a:cubicBezTo>
                    <a:cubicBezTo>
                      <a:pt x="27575" y="9057"/>
                      <a:pt x="27778" y="9088"/>
                      <a:pt x="27778" y="9182"/>
                    </a:cubicBezTo>
                    <a:cubicBezTo>
                      <a:pt x="27778" y="9275"/>
                      <a:pt x="27778" y="8870"/>
                      <a:pt x="27778" y="9182"/>
                    </a:cubicBezTo>
                    <a:cubicBezTo>
                      <a:pt x="27778" y="8776"/>
                      <a:pt x="27778" y="9291"/>
                      <a:pt x="27949" y="9182"/>
                    </a:cubicBezTo>
                    <a:cubicBezTo>
                      <a:pt x="27778" y="8870"/>
                      <a:pt x="28152" y="9182"/>
                      <a:pt x="27949" y="8839"/>
                    </a:cubicBezTo>
                    <a:cubicBezTo>
                      <a:pt x="28043" y="8839"/>
                      <a:pt x="28168" y="8994"/>
                      <a:pt x="28246" y="8979"/>
                    </a:cubicBezTo>
                    <a:cubicBezTo>
                      <a:pt x="28324" y="8963"/>
                      <a:pt x="28246" y="8714"/>
                      <a:pt x="28246" y="8729"/>
                    </a:cubicBezTo>
                    <a:cubicBezTo>
                      <a:pt x="28246" y="8745"/>
                      <a:pt x="28105" y="8589"/>
                      <a:pt x="28246" y="8729"/>
                    </a:cubicBezTo>
                    <a:cubicBezTo>
                      <a:pt x="28386" y="8870"/>
                      <a:pt x="28246" y="8620"/>
                      <a:pt x="28246" y="8729"/>
                    </a:cubicBezTo>
                    <a:cubicBezTo>
                      <a:pt x="28355" y="8574"/>
                      <a:pt x="28386" y="9462"/>
                      <a:pt x="28370" y="8729"/>
                    </a:cubicBezTo>
                    <a:cubicBezTo>
                      <a:pt x="28620" y="9197"/>
                      <a:pt x="28370" y="8636"/>
                      <a:pt x="28542" y="8620"/>
                    </a:cubicBezTo>
                    <a:cubicBezTo>
                      <a:pt x="28713" y="8605"/>
                      <a:pt x="28542" y="8761"/>
                      <a:pt x="28635" y="8932"/>
                    </a:cubicBezTo>
                    <a:cubicBezTo>
                      <a:pt x="28729" y="9104"/>
                      <a:pt x="28713" y="8932"/>
                      <a:pt x="28744" y="8932"/>
                    </a:cubicBezTo>
                    <a:cubicBezTo>
                      <a:pt x="28589" y="8620"/>
                      <a:pt x="28916" y="8792"/>
                      <a:pt x="28900" y="8932"/>
                    </a:cubicBezTo>
                    <a:cubicBezTo>
                      <a:pt x="29197" y="8932"/>
                      <a:pt x="29087" y="9197"/>
                      <a:pt x="28807" y="9104"/>
                    </a:cubicBezTo>
                    <a:cubicBezTo>
                      <a:pt x="28900" y="9104"/>
                      <a:pt x="28994" y="9104"/>
                      <a:pt x="29041" y="9275"/>
                    </a:cubicBezTo>
                    <a:cubicBezTo>
                      <a:pt x="29087" y="9446"/>
                      <a:pt x="29150" y="9150"/>
                      <a:pt x="29290" y="9275"/>
                    </a:cubicBezTo>
                    <a:cubicBezTo>
                      <a:pt x="29290" y="9166"/>
                      <a:pt x="29290" y="9182"/>
                      <a:pt x="29290" y="9119"/>
                    </a:cubicBezTo>
                    <a:cubicBezTo>
                      <a:pt x="29290" y="9057"/>
                      <a:pt x="29633" y="9353"/>
                      <a:pt x="29384" y="9119"/>
                    </a:cubicBezTo>
                    <a:cubicBezTo>
                      <a:pt x="29384" y="9291"/>
                      <a:pt x="29555" y="9119"/>
                      <a:pt x="29571" y="9275"/>
                    </a:cubicBezTo>
                    <a:cubicBezTo>
                      <a:pt x="29586" y="9431"/>
                      <a:pt x="30147" y="9275"/>
                      <a:pt x="30568" y="9556"/>
                    </a:cubicBezTo>
                    <a:cubicBezTo>
                      <a:pt x="30459" y="9431"/>
                      <a:pt x="30896" y="9743"/>
                      <a:pt x="30677" y="9556"/>
                    </a:cubicBezTo>
                    <a:cubicBezTo>
                      <a:pt x="31488" y="9836"/>
                      <a:pt x="31410" y="10756"/>
                      <a:pt x="30490" y="10304"/>
                    </a:cubicBezTo>
                    <a:cubicBezTo>
                      <a:pt x="30381" y="10304"/>
                      <a:pt x="30381" y="10304"/>
                      <a:pt x="30334" y="10304"/>
                    </a:cubicBezTo>
                    <a:cubicBezTo>
                      <a:pt x="30288" y="10304"/>
                      <a:pt x="29867" y="10070"/>
                      <a:pt x="30007" y="10304"/>
                    </a:cubicBezTo>
                    <a:cubicBezTo>
                      <a:pt x="30147" y="10538"/>
                      <a:pt x="30366" y="10429"/>
                      <a:pt x="30272" y="10584"/>
                    </a:cubicBezTo>
                    <a:cubicBezTo>
                      <a:pt x="30521" y="10584"/>
                      <a:pt x="31613" y="12050"/>
                      <a:pt x="31379" y="11192"/>
                    </a:cubicBezTo>
                    <a:cubicBezTo>
                      <a:pt x="31207" y="11348"/>
                      <a:pt x="30958" y="10943"/>
                      <a:pt x="31083" y="10896"/>
                    </a:cubicBezTo>
                    <a:cubicBezTo>
                      <a:pt x="32392" y="11722"/>
                      <a:pt x="30833" y="10117"/>
                      <a:pt x="31737" y="10413"/>
                    </a:cubicBezTo>
                    <a:cubicBezTo>
                      <a:pt x="31737" y="10288"/>
                      <a:pt x="31846" y="10413"/>
                      <a:pt x="31893" y="10413"/>
                    </a:cubicBezTo>
                    <a:cubicBezTo>
                      <a:pt x="31668" y="10019"/>
                      <a:pt x="31372" y="9671"/>
                      <a:pt x="31020" y="9384"/>
                    </a:cubicBezTo>
                    <a:cubicBezTo>
                      <a:pt x="31301" y="9384"/>
                      <a:pt x="31737" y="9478"/>
                      <a:pt x="31581" y="9758"/>
                    </a:cubicBezTo>
                    <a:cubicBezTo>
                      <a:pt x="31940" y="10304"/>
                      <a:pt x="32080" y="9758"/>
                      <a:pt x="31893" y="9556"/>
                    </a:cubicBezTo>
                    <a:cubicBezTo>
                      <a:pt x="32049" y="9556"/>
                      <a:pt x="31893" y="9026"/>
                      <a:pt x="32127" y="9337"/>
                    </a:cubicBezTo>
                    <a:cubicBezTo>
                      <a:pt x="32127" y="9244"/>
                      <a:pt x="31924" y="9057"/>
                      <a:pt x="32127" y="9213"/>
                    </a:cubicBezTo>
                    <a:cubicBezTo>
                      <a:pt x="31971" y="8807"/>
                      <a:pt x="32236" y="9213"/>
                      <a:pt x="32423" y="9353"/>
                    </a:cubicBezTo>
                    <a:cubicBezTo>
                      <a:pt x="32423" y="9259"/>
                      <a:pt x="32423" y="9228"/>
                      <a:pt x="32423" y="9353"/>
                    </a:cubicBezTo>
                    <a:cubicBezTo>
                      <a:pt x="32221" y="9119"/>
                      <a:pt x="32564" y="9197"/>
                      <a:pt x="32517" y="8932"/>
                    </a:cubicBezTo>
                    <a:cubicBezTo>
                      <a:pt x="32626" y="9072"/>
                      <a:pt x="32953" y="9322"/>
                      <a:pt x="32688" y="9026"/>
                    </a:cubicBezTo>
                    <a:cubicBezTo>
                      <a:pt x="32844" y="9026"/>
                      <a:pt x="32595" y="8885"/>
                      <a:pt x="32782" y="9026"/>
                    </a:cubicBezTo>
                    <a:cubicBezTo>
                      <a:pt x="32702" y="8968"/>
                      <a:pt x="32619" y="8916"/>
                      <a:pt x="32532" y="8870"/>
                    </a:cubicBezTo>
                    <a:lnTo>
                      <a:pt x="32532" y="8870"/>
                    </a:lnTo>
                    <a:cubicBezTo>
                      <a:pt x="31815" y="8309"/>
                      <a:pt x="33203" y="8729"/>
                      <a:pt x="33561" y="8979"/>
                    </a:cubicBezTo>
                    <a:cubicBezTo>
                      <a:pt x="33390" y="8729"/>
                      <a:pt x="33140" y="8683"/>
                      <a:pt x="32906" y="8496"/>
                    </a:cubicBezTo>
                    <a:lnTo>
                      <a:pt x="32906" y="8496"/>
                    </a:lnTo>
                    <a:cubicBezTo>
                      <a:pt x="32906" y="8496"/>
                      <a:pt x="32906" y="8496"/>
                      <a:pt x="32797" y="8496"/>
                    </a:cubicBezTo>
                    <a:lnTo>
                      <a:pt x="32797" y="8496"/>
                    </a:lnTo>
                    <a:lnTo>
                      <a:pt x="32564" y="8309"/>
                    </a:lnTo>
                    <a:cubicBezTo>
                      <a:pt x="32688" y="8309"/>
                      <a:pt x="32330" y="8153"/>
                      <a:pt x="32423" y="8153"/>
                    </a:cubicBezTo>
                    <a:cubicBezTo>
                      <a:pt x="32221" y="8059"/>
                      <a:pt x="31176" y="7186"/>
                      <a:pt x="31394" y="7155"/>
                    </a:cubicBezTo>
                    <a:cubicBezTo>
                      <a:pt x="32158" y="7436"/>
                      <a:pt x="32953" y="8246"/>
                      <a:pt x="33701" y="8714"/>
                    </a:cubicBezTo>
                    <a:lnTo>
                      <a:pt x="33701" y="8714"/>
                    </a:lnTo>
                    <a:cubicBezTo>
                      <a:pt x="33931" y="8894"/>
                      <a:pt x="34135" y="9103"/>
                      <a:pt x="34309" y="9337"/>
                    </a:cubicBezTo>
                    <a:lnTo>
                      <a:pt x="34309" y="9337"/>
                    </a:lnTo>
                    <a:cubicBezTo>
                      <a:pt x="34481" y="9446"/>
                      <a:pt x="34465" y="9602"/>
                      <a:pt x="34309" y="9337"/>
                    </a:cubicBezTo>
                    <a:cubicBezTo>
                      <a:pt x="34309" y="9337"/>
                      <a:pt x="34013" y="9337"/>
                      <a:pt x="34216" y="9462"/>
                    </a:cubicBezTo>
                    <a:cubicBezTo>
                      <a:pt x="35338" y="9711"/>
                      <a:pt x="33811" y="8729"/>
                      <a:pt x="33670" y="8418"/>
                    </a:cubicBezTo>
                    <a:cubicBezTo>
                      <a:pt x="33670" y="8418"/>
                      <a:pt x="33670" y="8418"/>
                      <a:pt x="33670" y="8418"/>
                    </a:cubicBezTo>
                    <a:cubicBezTo>
                      <a:pt x="32928" y="8092"/>
                      <a:pt x="32240" y="7655"/>
                      <a:pt x="31628" y="7124"/>
                    </a:cubicBezTo>
                    <a:cubicBezTo>
                      <a:pt x="31971" y="7280"/>
                      <a:pt x="32283" y="7623"/>
                      <a:pt x="32610" y="7669"/>
                    </a:cubicBezTo>
                    <a:cubicBezTo>
                      <a:pt x="32486" y="7498"/>
                      <a:pt x="32860" y="7779"/>
                      <a:pt x="32766" y="7669"/>
                    </a:cubicBezTo>
                    <a:cubicBezTo>
                      <a:pt x="32514" y="7656"/>
                      <a:pt x="32275" y="7551"/>
                      <a:pt x="32096" y="7373"/>
                    </a:cubicBezTo>
                    <a:cubicBezTo>
                      <a:pt x="32423" y="7514"/>
                      <a:pt x="32096" y="7373"/>
                      <a:pt x="32096" y="7295"/>
                    </a:cubicBezTo>
                    <a:lnTo>
                      <a:pt x="32096" y="7295"/>
                    </a:lnTo>
                    <a:cubicBezTo>
                      <a:pt x="31659" y="6765"/>
                      <a:pt x="33655" y="8059"/>
                      <a:pt x="33000" y="7560"/>
                    </a:cubicBezTo>
                    <a:cubicBezTo>
                      <a:pt x="33249" y="7742"/>
                      <a:pt x="33522" y="7889"/>
                      <a:pt x="33811" y="7997"/>
                    </a:cubicBezTo>
                    <a:cubicBezTo>
                      <a:pt x="33530" y="7810"/>
                      <a:pt x="33811" y="7888"/>
                      <a:pt x="33966" y="7997"/>
                    </a:cubicBezTo>
                    <a:cubicBezTo>
                      <a:pt x="33873" y="7903"/>
                      <a:pt x="33608" y="7794"/>
                      <a:pt x="33670" y="7903"/>
                    </a:cubicBezTo>
                    <a:cubicBezTo>
                      <a:pt x="33187" y="7685"/>
                      <a:pt x="32688" y="7311"/>
                      <a:pt x="32111" y="7077"/>
                    </a:cubicBezTo>
                    <a:cubicBezTo>
                      <a:pt x="31956" y="7077"/>
                      <a:pt x="31223" y="6719"/>
                      <a:pt x="31332" y="6563"/>
                    </a:cubicBezTo>
                    <a:cubicBezTo>
                      <a:pt x="31114" y="6282"/>
                      <a:pt x="31488" y="6656"/>
                      <a:pt x="31628" y="6641"/>
                    </a:cubicBezTo>
                    <a:cubicBezTo>
                      <a:pt x="31426" y="6641"/>
                      <a:pt x="31301" y="6391"/>
                      <a:pt x="31098" y="6360"/>
                    </a:cubicBezTo>
                    <a:cubicBezTo>
                      <a:pt x="30896" y="6329"/>
                      <a:pt x="30911" y="6360"/>
                      <a:pt x="30880" y="6282"/>
                    </a:cubicBezTo>
                    <a:cubicBezTo>
                      <a:pt x="30849" y="6204"/>
                      <a:pt x="30974" y="6282"/>
                      <a:pt x="30880" y="6282"/>
                    </a:cubicBezTo>
                    <a:cubicBezTo>
                      <a:pt x="30786" y="6282"/>
                      <a:pt x="30709" y="6204"/>
                      <a:pt x="30740" y="6282"/>
                    </a:cubicBezTo>
                    <a:cubicBezTo>
                      <a:pt x="30771" y="6360"/>
                      <a:pt x="30568" y="6173"/>
                      <a:pt x="30740" y="6282"/>
                    </a:cubicBezTo>
                    <a:lnTo>
                      <a:pt x="30506" y="6142"/>
                    </a:lnTo>
                    <a:cubicBezTo>
                      <a:pt x="30506" y="6142"/>
                      <a:pt x="30506" y="6142"/>
                      <a:pt x="30506" y="6142"/>
                    </a:cubicBezTo>
                    <a:lnTo>
                      <a:pt x="30101" y="5861"/>
                    </a:lnTo>
                    <a:lnTo>
                      <a:pt x="30101" y="5861"/>
                    </a:lnTo>
                    <a:cubicBezTo>
                      <a:pt x="30026" y="5804"/>
                      <a:pt x="29948" y="5752"/>
                      <a:pt x="29867" y="5705"/>
                    </a:cubicBezTo>
                    <a:lnTo>
                      <a:pt x="29867" y="5705"/>
                    </a:lnTo>
                    <a:lnTo>
                      <a:pt x="29867" y="5705"/>
                    </a:lnTo>
                    <a:lnTo>
                      <a:pt x="29867" y="5705"/>
                    </a:lnTo>
                    <a:lnTo>
                      <a:pt x="29664" y="5612"/>
                    </a:lnTo>
                    <a:lnTo>
                      <a:pt x="29664" y="5612"/>
                    </a:lnTo>
                    <a:cubicBezTo>
                      <a:pt x="29664" y="5612"/>
                      <a:pt x="29508" y="5612"/>
                      <a:pt x="29664" y="5612"/>
                    </a:cubicBezTo>
                    <a:lnTo>
                      <a:pt x="29664" y="5612"/>
                    </a:lnTo>
                    <a:lnTo>
                      <a:pt x="29664" y="5612"/>
                    </a:lnTo>
                    <a:lnTo>
                      <a:pt x="29914" y="5705"/>
                    </a:lnTo>
                    <a:lnTo>
                      <a:pt x="29711" y="5612"/>
                    </a:lnTo>
                    <a:lnTo>
                      <a:pt x="29851" y="5612"/>
                    </a:lnTo>
                    <a:lnTo>
                      <a:pt x="29773" y="5612"/>
                    </a:lnTo>
                    <a:cubicBezTo>
                      <a:pt x="29732" y="5603"/>
                      <a:pt x="29690" y="5603"/>
                      <a:pt x="29649" y="5612"/>
                    </a:cubicBezTo>
                    <a:lnTo>
                      <a:pt x="29649" y="5612"/>
                    </a:lnTo>
                    <a:cubicBezTo>
                      <a:pt x="29607" y="5620"/>
                      <a:pt x="29565" y="5620"/>
                      <a:pt x="29524" y="5612"/>
                    </a:cubicBezTo>
                    <a:lnTo>
                      <a:pt x="29836" y="5721"/>
                    </a:lnTo>
                    <a:cubicBezTo>
                      <a:pt x="29722" y="5665"/>
                      <a:pt x="29601" y="5623"/>
                      <a:pt x="29477" y="5596"/>
                    </a:cubicBezTo>
                    <a:lnTo>
                      <a:pt x="29477" y="5596"/>
                    </a:lnTo>
                    <a:cubicBezTo>
                      <a:pt x="29477" y="5596"/>
                      <a:pt x="29306" y="5596"/>
                      <a:pt x="29352" y="5596"/>
                    </a:cubicBezTo>
                    <a:cubicBezTo>
                      <a:pt x="29399" y="5596"/>
                      <a:pt x="29352" y="5596"/>
                      <a:pt x="29352" y="5596"/>
                    </a:cubicBezTo>
                    <a:lnTo>
                      <a:pt x="29352" y="5596"/>
                    </a:lnTo>
                    <a:lnTo>
                      <a:pt x="29228" y="5596"/>
                    </a:lnTo>
                    <a:lnTo>
                      <a:pt x="29228" y="5596"/>
                    </a:lnTo>
                    <a:lnTo>
                      <a:pt x="28807" y="5471"/>
                    </a:lnTo>
                    <a:lnTo>
                      <a:pt x="28807" y="5471"/>
                    </a:lnTo>
                    <a:cubicBezTo>
                      <a:pt x="28651" y="5471"/>
                      <a:pt x="27918" y="5191"/>
                      <a:pt x="28090" y="5222"/>
                    </a:cubicBezTo>
                    <a:lnTo>
                      <a:pt x="28090" y="5222"/>
                    </a:lnTo>
                    <a:lnTo>
                      <a:pt x="28183" y="5222"/>
                    </a:lnTo>
                    <a:lnTo>
                      <a:pt x="28183" y="5222"/>
                    </a:lnTo>
                    <a:cubicBezTo>
                      <a:pt x="28355" y="5222"/>
                      <a:pt x="28511" y="5316"/>
                      <a:pt x="28682" y="5362"/>
                    </a:cubicBezTo>
                    <a:lnTo>
                      <a:pt x="28511" y="5362"/>
                    </a:lnTo>
                    <a:lnTo>
                      <a:pt x="28667" y="5362"/>
                    </a:lnTo>
                    <a:lnTo>
                      <a:pt x="28573" y="5362"/>
                    </a:lnTo>
                    <a:cubicBezTo>
                      <a:pt x="28667" y="5362"/>
                      <a:pt x="28464" y="5362"/>
                      <a:pt x="28573" y="5362"/>
                    </a:cubicBezTo>
                    <a:lnTo>
                      <a:pt x="28573" y="5362"/>
                    </a:lnTo>
                    <a:cubicBezTo>
                      <a:pt x="28854" y="5440"/>
                      <a:pt x="29477" y="5627"/>
                      <a:pt x="28869" y="5362"/>
                    </a:cubicBezTo>
                    <a:lnTo>
                      <a:pt x="28869" y="5362"/>
                    </a:lnTo>
                    <a:lnTo>
                      <a:pt x="28776" y="5362"/>
                    </a:lnTo>
                    <a:lnTo>
                      <a:pt x="28776" y="5362"/>
                    </a:lnTo>
                    <a:lnTo>
                      <a:pt x="28776" y="5362"/>
                    </a:lnTo>
                    <a:lnTo>
                      <a:pt x="28776" y="5362"/>
                    </a:lnTo>
                    <a:lnTo>
                      <a:pt x="28776" y="5362"/>
                    </a:lnTo>
                    <a:lnTo>
                      <a:pt x="29306" y="5487"/>
                    </a:lnTo>
                    <a:lnTo>
                      <a:pt x="29087" y="5487"/>
                    </a:lnTo>
                    <a:lnTo>
                      <a:pt x="29384" y="5487"/>
                    </a:lnTo>
                    <a:lnTo>
                      <a:pt x="29617" y="5487"/>
                    </a:lnTo>
                    <a:lnTo>
                      <a:pt x="29617" y="5487"/>
                    </a:lnTo>
                    <a:cubicBezTo>
                      <a:pt x="29415" y="5487"/>
                      <a:pt x="29617" y="5487"/>
                      <a:pt x="29742" y="5487"/>
                    </a:cubicBezTo>
                    <a:lnTo>
                      <a:pt x="29742" y="5487"/>
                    </a:lnTo>
                    <a:lnTo>
                      <a:pt x="29742" y="5487"/>
                    </a:lnTo>
                    <a:cubicBezTo>
                      <a:pt x="30128" y="5587"/>
                      <a:pt x="30504" y="5722"/>
                      <a:pt x="30864" y="5892"/>
                    </a:cubicBezTo>
                    <a:cubicBezTo>
                      <a:pt x="30864" y="5892"/>
                      <a:pt x="30864" y="5892"/>
                      <a:pt x="30864" y="5892"/>
                    </a:cubicBezTo>
                    <a:cubicBezTo>
                      <a:pt x="30864" y="5892"/>
                      <a:pt x="31270" y="6048"/>
                      <a:pt x="31441" y="6142"/>
                    </a:cubicBezTo>
                    <a:lnTo>
                      <a:pt x="31441" y="6142"/>
                    </a:lnTo>
                    <a:lnTo>
                      <a:pt x="32189" y="6500"/>
                    </a:lnTo>
                    <a:cubicBezTo>
                      <a:pt x="31956" y="6376"/>
                      <a:pt x="31722" y="6235"/>
                      <a:pt x="31457" y="6111"/>
                    </a:cubicBezTo>
                    <a:lnTo>
                      <a:pt x="31457" y="6111"/>
                    </a:lnTo>
                    <a:lnTo>
                      <a:pt x="31176" y="5986"/>
                    </a:lnTo>
                    <a:lnTo>
                      <a:pt x="31301" y="5986"/>
                    </a:lnTo>
                    <a:cubicBezTo>
                      <a:pt x="31301" y="5986"/>
                      <a:pt x="30896" y="5846"/>
                      <a:pt x="31083" y="5892"/>
                    </a:cubicBezTo>
                    <a:lnTo>
                      <a:pt x="30958" y="5892"/>
                    </a:lnTo>
                    <a:lnTo>
                      <a:pt x="31239" y="5986"/>
                    </a:lnTo>
                    <a:cubicBezTo>
                      <a:pt x="31152" y="5934"/>
                      <a:pt x="31057" y="5897"/>
                      <a:pt x="30958" y="5877"/>
                    </a:cubicBezTo>
                    <a:cubicBezTo>
                      <a:pt x="31116" y="5914"/>
                      <a:pt x="31273" y="5961"/>
                      <a:pt x="31426" y="6017"/>
                    </a:cubicBezTo>
                    <a:lnTo>
                      <a:pt x="31285" y="6017"/>
                    </a:lnTo>
                    <a:lnTo>
                      <a:pt x="31285" y="6017"/>
                    </a:lnTo>
                    <a:lnTo>
                      <a:pt x="30584" y="4380"/>
                    </a:lnTo>
                    <a:cubicBezTo>
                      <a:pt x="38732" y="7070"/>
                      <a:pt x="44371" y="14514"/>
                      <a:pt x="44753" y="23086"/>
                    </a:cubicBezTo>
                    <a:cubicBezTo>
                      <a:pt x="44742" y="23396"/>
                      <a:pt x="44700" y="23704"/>
                      <a:pt x="44629" y="24006"/>
                    </a:cubicBezTo>
                    <a:cubicBezTo>
                      <a:pt x="44691" y="23912"/>
                      <a:pt x="44613" y="24084"/>
                      <a:pt x="44613" y="241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9" name="Google Shape;199;p24"/>
              <p:cNvSpPr/>
              <p:nvPr/>
            </p:nvSpPr>
            <p:spPr>
              <a:xfrm rot="-5400000">
                <a:off x="10654635" y="7242900"/>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0" name="Google Shape;200;p24"/>
              <p:cNvSpPr/>
              <p:nvPr/>
            </p:nvSpPr>
            <p:spPr>
              <a:xfrm rot="-5400000">
                <a:off x="10647776" y="7212394"/>
                <a:ext cx="41027" cy="46516"/>
              </a:xfrm>
              <a:custGeom>
                <a:avLst/>
                <a:gdLst/>
                <a:ahLst/>
                <a:cxnLst/>
                <a:rect l="l" t="t" r="r" b="b"/>
                <a:pathLst>
                  <a:path w="41027" h="46516" extrusionOk="0">
                    <a:moveTo>
                      <a:pt x="36554" y="3664"/>
                    </a:moveTo>
                    <a:cubicBezTo>
                      <a:pt x="39537" y="6127"/>
                      <a:pt x="41028" y="10206"/>
                      <a:pt x="41028" y="15901"/>
                    </a:cubicBezTo>
                    <a:lnTo>
                      <a:pt x="41028" y="46517"/>
                    </a:lnTo>
                    <a:lnTo>
                      <a:pt x="28854" y="46517"/>
                    </a:lnTo>
                    <a:lnTo>
                      <a:pt x="28854" y="18863"/>
                    </a:lnTo>
                    <a:cubicBezTo>
                      <a:pt x="28943" y="16981"/>
                      <a:pt x="28618" y="15103"/>
                      <a:pt x="27903" y="13360"/>
                    </a:cubicBezTo>
                    <a:cubicBezTo>
                      <a:pt x="26734" y="11038"/>
                      <a:pt x="24536" y="9869"/>
                      <a:pt x="21278" y="9869"/>
                    </a:cubicBezTo>
                    <a:cubicBezTo>
                      <a:pt x="17705" y="9597"/>
                      <a:pt x="14368" y="11672"/>
                      <a:pt x="13032" y="14997"/>
                    </a:cubicBezTo>
                    <a:cubicBezTo>
                      <a:pt x="12195" y="17206"/>
                      <a:pt x="11803" y="19558"/>
                      <a:pt x="11878" y="21918"/>
                    </a:cubicBezTo>
                    <a:lnTo>
                      <a:pt x="11878" y="46517"/>
                    </a:lnTo>
                    <a:lnTo>
                      <a:pt x="0" y="46517"/>
                    </a:lnTo>
                    <a:lnTo>
                      <a:pt x="0" y="1155"/>
                    </a:lnTo>
                    <a:lnTo>
                      <a:pt x="11504" y="1155"/>
                    </a:lnTo>
                    <a:lnTo>
                      <a:pt x="11504" y="7811"/>
                    </a:lnTo>
                    <a:cubicBezTo>
                      <a:pt x="12650" y="5897"/>
                      <a:pt x="14110" y="4190"/>
                      <a:pt x="15822" y="2760"/>
                    </a:cubicBezTo>
                    <a:cubicBezTo>
                      <a:pt x="18522" y="851"/>
                      <a:pt x="21777" y="-114"/>
                      <a:pt x="25081" y="17"/>
                    </a:cubicBezTo>
                    <a:cubicBezTo>
                      <a:pt x="29217" y="-165"/>
                      <a:pt x="33283" y="1128"/>
                      <a:pt x="36554"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1" name="Google Shape;201;p24"/>
              <p:cNvSpPr/>
              <p:nvPr/>
            </p:nvSpPr>
            <p:spPr>
              <a:xfrm rot="-5400000">
                <a:off x="10647372" y="7164586"/>
                <a:ext cx="26265" cy="62088"/>
              </a:xfrm>
              <a:custGeom>
                <a:avLst/>
                <a:gdLst/>
                <a:ahLst/>
                <a:cxnLst/>
                <a:rect l="l" t="t" r="r" b="b"/>
                <a:pathLst>
                  <a:path w="26265" h="62088" extrusionOk="0">
                    <a:moveTo>
                      <a:pt x="23476" y="0"/>
                    </a:moveTo>
                    <a:lnTo>
                      <a:pt x="25970" y="187"/>
                    </a:lnTo>
                    <a:lnTo>
                      <a:pt x="25970" y="9930"/>
                    </a:lnTo>
                    <a:cubicBezTo>
                      <a:pt x="24857" y="9809"/>
                      <a:pt x="23738" y="9746"/>
                      <a:pt x="22618" y="9743"/>
                    </a:cubicBezTo>
                    <a:cubicBezTo>
                      <a:pt x="21432" y="9564"/>
                      <a:pt x="20229" y="9943"/>
                      <a:pt x="19360" y="10771"/>
                    </a:cubicBezTo>
                    <a:cubicBezTo>
                      <a:pt x="18789" y="11459"/>
                      <a:pt x="18475" y="12325"/>
                      <a:pt x="18472" y="13219"/>
                    </a:cubicBezTo>
                    <a:lnTo>
                      <a:pt x="18472" y="17054"/>
                    </a:lnTo>
                    <a:lnTo>
                      <a:pt x="26266" y="17054"/>
                    </a:lnTo>
                    <a:lnTo>
                      <a:pt x="26266" y="25440"/>
                    </a:lnTo>
                    <a:lnTo>
                      <a:pt x="18472" y="25440"/>
                    </a:lnTo>
                    <a:lnTo>
                      <a:pt x="18472" y="62088"/>
                    </a:lnTo>
                    <a:lnTo>
                      <a:pt x="6672" y="62088"/>
                    </a:lnTo>
                    <a:lnTo>
                      <a:pt x="6672" y="25440"/>
                    </a:lnTo>
                    <a:lnTo>
                      <a:pt x="0" y="25440"/>
                    </a:lnTo>
                    <a:lnTo>
                      <a:pt x="0" y="17054"/>
                    </a:lnTo>
                    <a:lnTo>
                      <a:pt x="6500" y="17054"/>
                    </a:lnTo>
                    <a:lnTo>
                      <a:pt x="6500" y="14139"/>
                    </a:lnTo>
                    <a:cubicBezTo>
                      <a:pt x="6500" y="9275"/>
                      <a:pt x="7321" y="5924"/>
                      <a:pt x="8963" y="4084"/>
                    </a:cubicBezTo>
                    <a:cubicBezTo>
                      <a:pt x="10693" y="1356"/>
                      <a:pt x="14840" y="0"/>
                      <a:pt x="21434" y="0"/>
                    </a:cubicBezTo>
                    <a:cubicBezTo>
                      <a:pt x="22182" y="0"/>
                      <a:pt x="22868" y="0"/>
                      <a:pt x="2347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2" name="Google Shape;202;p24"/>
              <p:cNvSpPr/>
              <p:nvPr/>
            </p:nvSpPr>
            <p:spPr>
              <a:xfrm rot="-5400000">
                <a:off x="10646133" y="6877843"/>
                <a:ext cx="44501" cy="46328"/>
              </a:xfrm>
              <a:custGeom>
                <a:avLst/>
                <a:gdLst/>
                <a:ahLst/>
                <a:cxnLst/>
                <a:rect l="l" t="t" r="r" b="b"/>
                <a:pathLst>
                  <a:path w="44501" h="46328" extrusionOk="0">
                    <a:moveTo>
                      <a:pt x="38977" y="39516"/>
                    </a:moveTo>
                    <a:cubicBezTo>
                      <a:pt x="35309" y="44047"/>
                      <a:pt x="29733" y="46318"/>
                      <a:pt x="22251" y="46328"/>
                    </a:cubicBezTo>
                    <a:cubicBezTo>
                      <a:pt x="14769" y="46339"/>
                      <a:pt x="9188" y="44068"/>
                      <a:pt x="5510" y="39516"/>
                    </a:cubicBezTo>
                    <a:cubicBezTo>
                      <a:pt x="1815" y="34897"/>
                      <a:pt x="-132" y="29124"/>
                      <a:pt x="7" y="23211"/>
                    </a:cubicBezTo>
                    <a:cubicBezTo>
                      <a:pt x="-118" y="17296"/>
                      <a:pt x="1829" y="11523"/>
                      <a:pt x="5510" y="6890"/>
                    </a:cubicBezTo>
                    <a:cubicBezTo>
                      <a:pt x="9188" y="2286"/>
                      <a:pt x="14769" y="-10"/>
                      <a:pt x="22251" y="0"/>
                    </a:cubicBezTo>
                    <a:cubicBezTo>
                      <a:pt x="29733" y="10"/>
                      <a:pt x="35309" y="2307"/>
                      <a:pt x="38977" y="6890"/>
                    </a:cubicBezTo>
                    <a:cubicBezTo>
                      <a:pt x="42662" y="11521"/>
                      <a:pt x="44614" y="17294"/>
                      <a:pt x="44495" y="23211"/>
                    </a:cubicBezTo>
                    <a:cubicBezTo>
                      <a:pt x="44629" y="29126"/>
                      <a:pt x="42675" y="34898"/>
                      <a:pt x="38977" y="39516"/>
                    </a:cubicBezTo>
                    <a:close/>
                    <a:moveTo>
                      <a:pt x="29874" y="33281"/>
                    </a:moveTo>
                    <a:cubicBezTo>
                      <a:pt x="31833" y="30303"/>
                      <a:pt x="32775" y="26769"/>
                      <a:pt x="32555" y="23211"/>
                    </a:cubicBezTo>
                    <a:cubicBezTo>
                      <a:pt x="32782" y="19652"/>
                      <a:pt x="31841" y="16116"/>
                      <a:pt x="29874" y="13141"/>
                    </a:cubicBezTo>
                    <a:cubicBezTo>
                      <a:pt x="26221" y="8901"/>
                      <a:pt x="19824" y="8424"/>
                      <a:pt x="15584" y="12076"/>
                    </a:cubicBezTo>
                    <a:cubicBezTo>
                      <a:pt x="15204" y="12404"/>
                      <a:pt x="14847" y="12760"/>
                      <a:pt x="14519" y="13141"/>
                    </a:cubicBezTo>
                    <a:cubicBezTo>
                      <a:pt x="12548" y="16114"/>
                      <a:pt x="11600" y="19650"/>
                      <a:pt x="11823" y="23211"/>
                    </a:cubicBezTo>
                    <a:cubicBezTo>
                      <a:pt x="11600" y="26782"/>
                      <a:pt x="12546" y="30328"/>
                      <a:pt x="14519" y="33312"/>
                    </a:cubicBezTo>
                    <a:cubicBezTo>
                      <a:pt x="18145" y="37552"/>
                      <a:pt x="24521" y="38050"/>
                      <a:pt x="28761" y="34425"/>
                    </a:cubicBezTo>
                    <a:cubicBezTo>
                      <a:pt x="29160" y="34083"/>
                      <a:pt x="29532" y="33711"/>
                      <a:pt x="29874" y="333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3" name="Google Shape;203;p24"/>
              <p:cNvSpPr/>
              <p:nvPr/>
            </p:nvSpPr>
            <p:spPr>
              <a:xfrm rot="-5400000">
                <a:off x="10635737" y="7067825"/>
                <a:ext cx="65151" cy="46470"/>
              </a:xfrm>
              <a:custGeom>
                <a:avLst/>
                <a:gdLst/>
                <a:ahLst/>
                <a:cxnLst/>
                <a:rect l="l" t="t" r="r" b="b"/>
                <a:pathLst>
                  <a:path w="65151" h="46470" extrusionOk="0">
                    <a:moveTo>
                      <a:pt x="56850" y="1186"/>
                    </a:moveTo>
                    <a:cubicBezTo>
                      <a:pt x="58932" y="2071"/>
                      <a:pt x="60753" y="3478"/>
                      <a:pt x="62134" y="5271"/>
                    </a:cubicBezTo>
                    <a:cubicBezTo>
                      <a:pt x="63468" y="6974"/>
                      <a:pt x="64359" y="8983"/>
                      <a:pt x="64722" y="11116"/>
                    </a:cubicBezTo>
                    <a:cubicBezTo>
                      <a:pt x="65051" y="13335"/>
                      <a:pt x="65191" y="15577"/>
                      <a:pt x="65143" y="17819"/>
                    </a:cubicBezTo>
                    <a:lnTo>
                      <a:pt x="65143" y="46470"/>
                    </a:lnTo>
                    <a:lnTo>
                      <a:pt x="52953" y="46470"/>
                    </a:lnTo>
                    <a:lnTo>
                      <a:pt x="52953" y="17523"/>
                    </a:lnTo>
                    <a:cubicBezTo>
                      <a:pt x="53012" y="16064"/>
                      <a:pt x="52728" y="14612"/>
                      <a:pt x="52127" y="13283"/>
                    </a:cubicBezTo>
                    <a:cubicBezTo>
                      <a:pt x="50992" y="11152"/>
                      <a:pt x="48682" y="9920"/>
                      <a:pt x="46281" y="10165"/>
                    </a:cubicBezTo>
                    <a:cubicBezTo>
                      <a:pt x="43382" y="9944"/>
                      <a:pt x="40660" y="11583"/>
                      <a:pt x="39500" y="14249"/>
                    </a:cubicBezTo>
                    <a:cubicBezTo>
                      <a:pt x="38811" y="15902"/>
                      <a:pt x="38482" y="17682"/>
                      <a:pt x="38534" y="19471"/>
                    </a:cubicBezTo>
                    <a:lnTo>
                      <a:pt x="38534" y="46470"/>
                    </a:lnTo>
                    <a:lnTo>
                      <a:pt x="26562" y="46470"/>
                    </a:lnTo>
                    <a:lnTo>
                      <a:pt x="26562" y="19409"/>
                    </a:lnTo>
                    <a:cubicBezTo>
                      <a:pt x="26671" y="17415"/>
                      <a:pt x="26391" y="15419"/>
                      <a:pt x="25736" y="13532"/>
                    </a:cubicBezTo>
                    <a:cubicBezTo>
                      <a:pt x="24678" y="11295"/>
                      <a:pt x="22321" y="9970"/>
                      <a:pt x="19859" y="10228"/>
                    </a:cubicBezTo>
                    <a:cubicBezTo>
                      <a:pt x="16461" y="10228"/>
                      <a:pt x="14180" y="11329"/>
                      <a:pt x="13016" y="13532"/>
                    </a:cubicBezTo>
                    <a:cubicBezTo>
                      <a:pt x="12276" y="15295"/>
                      <a:pt x="11945" y="17204"/>
                      <a:pt x="12050" y="19113"/>
                    </a:cubicBezTo>
                    <a:lnTo>
                      <a:pt x="12050" y="46470"/>
                    </a:lnTo>
                    <a:lnTo>
                      <a:pt x="0" y="46470"/>
                    </a:lnTo>
                    <a:lnTo>
                      <a:pt x="0" y="1108"/>
                    </a:lnTo>
                    <a:lnTo>
                      <a:pt x="11551" y="1108"/>
                    </a:lnTo>
                    <a:lnTo>
                      <a:pt x="11551" y="7765"/>
                    </a:lnTo>
                    <a:cubicBezTo>
                      <a:pt x="12642" y="5853"/>
                      <a:pt x="14056" y="4144"/>
                      <a:pt x="15728" y="2714"/>
                    </a:cubicBezTo>
                    <a:cubicBezTo>
                      <a:pt x="20982" y="-698"/>
                      <a:pt x="27714" y="-843"/>
                      <a:pt x="33109" y="2340"/>
                    </a:cubicBezTo>
                    <a:cubicBezTo>
                      <a:pt x="34832" y="3792"/>
                      <a:pt x="36157" y="5659"/>
                      <a:pt x="36959" y="7765"/>
                    </a:cubicBezTo>
                    <a:cubicBezTo>
                      <a:pt x="38303" y="5303"/>
                      <a:pt x="40306" y="3263"/>
                      <a:pt x="42743" y="1872"/>
                    </a:cubicBezTo>
                    <a:cubicBezTo>
                      <a:pt x="45282" y="604"/>
                      <a:pt x="48088" y="-38"/>
                      <a:pt x="50926" y="2"/>
                    </a:cubicBezTo>
                    <a:cubicBezTo>
                      <a:pt x="52959" y="13"/>
                      <a:pt x="54970" y="415"/>
                      <a:pt x="56850" y="11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4"/>
              <p:cNvSpPr/>
              <p:nvPr/>
            </p:nvSpPr>
            <p:spPr>
              <a:xfrm rot="-5400000">
                <a:off x="10654635" y="7010498"/>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5" name="Google Shape;205;p24"/>
              <p:cNvSpPr/>
              <p:nvPr/>
            </p:nvSpPr>
            <p:spPr>
              <a:xfrm rot="-5400000">
                <a:off x="10647776" y="6979991"/>
                <a:ext cx="41027" cy="46516"/>
              </a:xfrm>
              <a:custGeom>
                <a:avLst/>
                <a:gdLst/>
                <a:ahLst/>
                <a:cxnLst/>
                <a:rect l="l" t="t" r="r" b="b"/>
                <a:pathLst>
                  <a:path w="41027" h="46516" extrusionOk="0">
                    <a:moveTo>
                      <a:pt x="36570" y="3664"/>
                    </a:moveTo>
                    <a:cubicBezTo>
                      <a:pt x="39531" y="6127"/>
                      <a:pt x="41028" y="10211"/>
                      <a:pt x="41028" y="15901"/>
                    </a:cubicBezTo>
                    <a:lnTo>
                      <a:pt x="41028" y="46517"/>
                    </a:lnTo>
                    <a:lnTo>
                      <a:pt x="28854" y="46517"/>
                    </a:lnTo>
                    <a:lnTo>
                      <a:pt x="28854" y="18863"/>
                    </a:lnTo>
                    <a:cubicBezTo>
                      <a:pt x="28950" y="16981"/>
                      <a:pt x="28626" y="15101"/>
                      <a:pt x="27903" y="13360"/>
                    </a:cubicBezTo>
                    <a:cubicBezTo>
                      <a:pt x="26734" y="11038"/>
                      <a:pt x="24536" y="9869"/>
                      <a:pt x="21278" y="9869"/>
                    </a:cubicBezTo>
                    <a:cubicBezTo>
                      <a:pt x="17707" y="9588"/>
                      <a:pt x="14369" y="11668"/>
                      <a:pt x="13047" y="14997"/>
                    </a:cubicBezTo>
                    <a:cubicBezTo>
                      <a:pt x="12196" y="17202"/>
                      <a:pt x="11799" y="19556"/>
                      <a:pt x="11878" y="21918"/>
                    </a:cubicBezTo>
                    <a:lnTo>
                      <a:pt x="11878" y="46517"/>
                    </a:lnTo>
                    <a:lnTo>
                      <a:pt x="0" y="46517"/>
                    </a:lnTo>
                    <a:lnTo>
                      <a:pt x="0" y="1155"/>
                    </a:lnTo>
                    <a:lnTo>
                      <a:pt x="11504" y="1155"/>
                    </a:lnTo>
                    <a:lnTo>
                      <a:pt x="11504" y="7811"/>
                    </a:lnTo>
                    <a:cubicBezTo>
                      <a:pt x="12656" y="5901"/>
                      <a:pt x="14115" y="4195"/>
                      <a:pt x="15822" y="2760"/>
                    </a:cubicBezTo>
                    <a:cubicBezTo>
                      <a:pt x="18522" y="851"/>
                      <a:pt x="21777" y="-114"/>
                      <a:pt x="25081" y="17"/>
                    </a:cubicBezTo>
                    <a:cubicBezTo>
                      <a:pt x="29221" y="-164"/>
                      <a:pt x="33292" y="1128"/>
                      <a:pt x="36570"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6" name="Google Shape;206;p24"/>
              <p:cNvSpPr/>
              <p:nvPr/>
            </p:nvSpPr>
            <p:spPr>
              <a:xfrm rot="-5400000">
                <a:off x="10646435" y="6930030"/>
                <a:ext cx="43636" cy="46747"/>
              </a:xfrm>
              <a:custGeom>
                <a:avLst/>
                <a:gdLst/>
                <a:ahLst/>
                <a:cxnLst/>
                <a:rect l="l" t="t" r="r" b="b"/>
                <a:pathLst>
                  <a:path w="43636" h="46747" extrusionOk="0">
                    <a:moveTo>
                      <a:pt x="32111" y="2070"/>
                    </a:moveTo>
                    <a:cubicBezTo>
                      <a:pt x="35215" y="3467"/>
                      <a:pt x="37854" y="5723"/>
                      <a:pt x="39718" y="8570"/>
                    </a:cubicBezTo>
                    <a:cubicBezTo>
                      <a:pt x="41567" y="11297"/>
                      <a:pt x="42768" y="14411"/>
                      <a:pt x="43226" y="17674"/>
                    </a:cubicBezTo>
                    <a:cubicBezTo>
                      <a:pt x="43580" y="20569"/>
                      <a:pt x="43706" y="23488"/>
                      <a:pt x="43600" y="26403"/>
                    </a:cubicBezTo>
                    <a:lnTo>
                      <a:pt x="11535" y="26403"/>
                    </a:lnTo>
                    <a:cubicBezTo>
                      <a:pt x="11707" y="30815"/>
                      <a:pt x="13250" y="33917"/>
                      <a:pt x="16134" y="35756"/>
                    </a:cubicBezTo>
                    <a:cubicBezTo>
                      <a:pt x="18045" y="36908"/>
                      <a:pt x="20247" y="37487"/>
                      <a:pt x="22478" y="37424"/>
                    </a:cubicBezTo>
                    <a:cubicBezTo>
                      <a:pt x="24782" y="37530"/>
                      <a:pt x="27047" y="36812"/>
                      <a:pt x="28869" y="35398"/>
                    </a:cubicBezTo>
                    <a:cubicBezTo>
                      <a:pt x="29850" y="34559"/>
                      <a:pt x="30651" y="33530"/>
                      <a:pt x="31223" y="32374"/>
                    </a:cubicBezTo>
                    <a:lnTo>
                      <a:pt x="43023" y="32374"/>
                    </a:lnTo>
                    <a:cubicBezTo>
                      <a:pt x="42488" y="35413"/>
                      <a:pt x="40992" y="38200"/>
                      <a:pt x="38752" y="40324"/>
                    </a:cubicBezTo>
                    <a:cubicBezTo>
                      <a:pt x="34808" y="44611"/>
                      <a:pt x="29306" y="46746"/>
                      <a:pt x="22197" y="46746"/>
                    </a:cubicBezTo>
                    <a:cubicBezTo>
                      <a:pt x="16558" y="46814"/>
                      <a:pt x="11074" y="44900"/>
                      <a:pt x="6703" y="41337"/>
                    </a:cubicBezTo>
                    <a:cubicBezTo>
                      <a:pt x="2234" y="37721"/>
                      <a:pt x="0" y="31849"/>
                      <a:pt x="0" y="23722"/>
                    </a:cubicBezTo>
                    <a:cubicBezTo>
                      <a:pt x="0" y="16105"/>
                      <a:pt x="2022" y="10259"/>
                      <a:pt x="6064" y="6185"/>
                    </a:cubicBezTo>
                    <a:cubicBezTo>
                      <a:pt x="10212" y="2046"/>
                      <a:pt x="15889" y="-189"/>
                      <a:pt x="21745" y="13"/>
                    </a:cubicBezTo>
                    <a:cubicBezTo>
                      <a:pt x="25307" y="-48"/>
                      <a:pt x="28843" y="654"/>
                      <a:pt x="32111" y="2070"/>
                    </a:cubicBezTo>
                    <a:close/>
                    <a:moveTo>
                      <a:pt x="14965" y="12000"/>
                    </a:moveTo>
                    <a:cubicBezTo>
                      <a:pt x="13208" y="13893"/>
                      <a:pt x="12115" y="16306"/>
                      <a:pt x="11847" y="18874"/>
                    </a:cubicBezTo>
                    <a:lnTo>
                      <a:pt x="31659" y="18874"/>
                    </a:lnTo>
                    <a:cubicBezTo>
                      <a:pt x="31622" y="16226"/>
                      <a:pt x="30493" y="13711"/>
                      <a:pt x="28542" y="11922"/>
                    </a:cubicBezTo>
                    <a:cubicBezTo>
                      <a:pt x="26648" y="10316"/>
                      <a:pt x="24229" y="9462"/>
                      <a:pt x="21745" y="9521"/>
                    </a:cubicBezTo>
                    <a:cubicBezTo>
                      <a:pt x="19240" y="9381"/>
                      <a:pt x="16788" y="10278"/>
                      <a:pt x="14965" y="120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07" name="Google Shape;207;p24"/>
            <p:cNvSpPr txBox="1"/>
            <p:nvPr/>
          </p:nvSpPr>
          <p:spPr>
            <a:xfrm rot="-5400000">
              <a:off x="9874832" y="6107266"/>
              <a:ext cx="1384995" cy="97271"/>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IN" sz="702" b="0" i="0" u="none" strike="noStrike" cap="none">
                  <a:solidFill>
                    <a:schemeClr val="lt2"/>
                  </a:solidFill>
                  <a:latin typeface="Calibri"/>
                  <a:ea typeface="Calibri"/>
                  <a:cs typeface="Calibri"/>
                  <a:sym typeface="Calibri"/>
                </a:rPr>
                <a:t>Copyright © 2022. All rights reserved.</a:t>
              </a:r>
              <a:endParaRPr/>
            </a:p>
          </p:txBody>
        </p:sp>
      </p:gr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Custom Layout">
  <p:cSld name="6_Custom Layout">
    <p:spTree>
      <p:nvGrpSpPr>
        <p:cNvPr id="1" name="Shape 208"/>
        <p:cNvGrpSpPr/>
        <p:nvPr/>
      </p:nvGrpSpPr>
      <p:grpSpPr>
        <a:xfrm>
          <a:off x="0" y="0"/>
          <a:ext cx="0" cy="0"/>
          <a:chOff x="0" y="0"/>
          <a:chExt cx="0" cy="0"/>
        </a:xfrm>
      </p:grpSpPr>
      <p:sp>
        <p:nvSpPr>
          <p:cNvPr id="209" name="Google Shape;209;p25"/>
          <p:cNvSpPr/>
          <p:nvPr/>
        </p:nvSpPr>
        <p:spPr>
          <a:xfrm>
            <a:off x="7133806" y="-1"/>
            <a:ext cx="3560233" cy="7559676"/>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210" name="Google Shape;210;p25"/>
          <p:cNvSpPr txBox="1">
            <a:spLocks noGrp="1"/>
          </p:cNvSpPr>
          <p:nvPr>
            <p:ph type="sldNum" idx="12"/>
          </p:nvPr>
        </p:nvSpPr>
        <p:spPr>
          <a:xfrm>
            <a:off x="10075683" y="7135906"/>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sp>
        <p:nvSpPr>
          <p:cNvPr id="211" name="Google Shape;211;p25"/>
          <p:cNvSpPr txBox="1">
            <a:spLocks noGrp="1"/>
          </p:cNvSpPr>
          <p:nvPr>
            <p:ph type="ftr" idx="11"/>
          </p:nvPr>
        </p:nvSpPr>
        <p:spPr>
          <a:xfrm>
            <a:off x="483080" y="7158305"/>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2" name="Google Shape;212;p25"/>
          <p:cNvSpPr txBox="1">
            <a:spLocks noGrp="1"/>
          </p:cNvSpPr>
          <p:nvPr>
            <p:ph type="title"/>
          </p:nvPr>
        </p:nvSpPr>
        <p:spPr>
          <a:xfrm>
            <a:off x="483827" y="484188"/>
            <a:ext cx="6444098"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grpSp>
        <p:nvGrpSpPr>
          <p:cNvPr id="213" name="Google Shape;213;p25"/>
          <p:cNvGrpSpPr/>
          <p:nvPr/>
        </p:nvGrpSpPr>
        <p:grpSpPr>
          <a:xfrm>
            <a:off x="10518694" y="5440544"/>
            <a:ext cx="97271" cy="1816408"/>
            <a:chOff x="10518694" y="5463404"/>
            <a:chExt cx="97271" cy="1816408"/>
          </a:xfrm>
        </p:grpSpPr>
        <p:grpSp>
          <p:nvGrpSpPr>
            <p:cNvPr id="214" name="Google Shape;214;p25"/>
            <p:cNvGrpSpPr/>
            <p:nvPr/>
          </p:nvGrpSpPr>
          <p:grpSpPr>
            <a:xfrm>
              <a:off x="10530628" y="6878757"/>
              <a:ext cx="62166" cy="401056"/>
              <a:chOff x="10629461" y="6878757"/>
              <a:chExt cx="62166" cy="401056"/>
            </a:xfrm>
          </p:grpSpPr>
          <p:sp>
            <p:nvSpPr>
              <p:cNvPr id="215" name="Google Shape;215;p25"/>
              <p:cNvSpPr/>
              <p:nvPr/>
            </p:nvSpPr>
            <p:spPr>
              <a:xfrm rot="-5400000">
                <a:off x="10688095" y="7163862"/>
                <a:ext cx="15" cy="1558"/>
              </a:xfrm>
              <a:custGeom>
                <a:avLst/>
                <a:gdLst/>
                <a:ahLst/>
                <a:cxnLst/>
                <a:rect l="l" t="t" r="r" b="b"/>
                <a:pathLst>
                  <a:path w="15" h="1558" extrusionOk="0">
                    <a:moveTo>
                      <a:pt x="0" y="0"/>
                    </a:moveTo>
                    <a:lnTo>
                      <a:pt x="16" y="0"/>
                    </a:lnTo>
                    <a:lnTo>
                      <a:pt x="16" y="0"/>
                    </a:lnTo>
                    <a:lnTo>
                      <a:pt x="0" y="0"/>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 name="Google Shape;216;p25"/>
              <p:cNvSpPr/>
              <p:nvPr/>
            </p:nvSpPr>
            <p:spPr>
              <a:xfrm rot="-5400000">
                <a:off x="10652401" y="7145302"/>
                <a:ext cx="411" cy="246"/>
              </a:xfrm>
              <a:custGeom>
                <a:avLst/>
                <a:gdLst/>
                <a:ahLst/>
                <a:cxnLst/>
                <a:rect l="l" t="t" r="r" b="b"/>
                <a:pathLst>
                  <a:path w="411" h="246" extrusionOk="0">
                    <a:moveTo>
                      <a:pt x="0" y="0"/>
                    </a:moveTo>
                    <a:cubicBezTo>
                      <a:pt x="234" y="156"/>
                      <a:pt x="452" y="312"/>
                      <a:pt x="405" y="218"/>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7" name="Google Shape;217;p25"/>
              <p:cNvSpPr/>
              <p:nvPr/>
            </p:nvSpPr>
            <p:spPr>
              <a:xfrm rot="-5400000">
                <a:off x="10652556" y="7165151"/>
                <a:ext cx="13" cy="69"/>
              </a:xfrm>
              <a:custGeom>
                <a:avLst/>
                <a:gdLst/>
                <a:ahLst/>
                <a:cxnLst/>
                <a:rect l="l" t="t" r="r" b="b"/>
                <a:pathLst>
                  <a:path w="13" h="69" extrusionOk="0">
                    <a:moveTo>
                      <a:pt x="14" y="35"/>
                    </a:moveTo>
                    <a:cubicBezTo>
                      <a:pt x="14" y="35"/>
                      <a:pt x="14" y="-43"/>
                      <a:pt x="14" y="35"/>
                    </a:cubicBezTo>
                    <a:cubicBezTo>
                      <a:pt x="14" y="113"/>
                      <a:pt x="-17" y="35"/>
                      <a:pt x="14" y="35"/>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8" name="Google Shape;218;p25"/>
              <p:cNvSpPr/>
              <p:nvPr/>
            </p:nvSpPr>
            <p:spPr>
              <a:xfrm rot="-5400000">
                <a:off x="10650495" y="7161416"/>
                <a:ext cx="237" cy="93"/>
              </a:xfrm>
              <a:custGeom>
                <a:avLst/>
                <a:gdLst/>
                <a:ahLst/>
                <a:cxnLst/>
                <a:rect l="l" t="t" r="r" b="b"/>
                <a:pathLst>
                  <a:path w="237" h="93" extrusionOk="0">
                    <a:moveTo>
                      <a:pt x="238" y="0"/>
                    </a:moveTo>
                    <a:lnTo>
                      <a:pt x="50" y="94"/>
                    </a:lnTo>
                    <a:cubicBezTo>
                      <a:pt x="160" y="94"/>
                      <a:pt x="-105" y="94"/>
                      <a:pt x="50" y="9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9" name="Google Shape;219;p25"/>
              <p:cNvSpPr/>
              <p:nvPr/>
            </p:nvSpPr>
            <p:spPr>
              <a:xfrm rot="-5400000">
                <a:off x="10645049" y="7132879"/>
                <a:ext cx="46577" cy="46577"/>
              </a:xfrm>
              <a:custGeom>
                <a:avLst/>
                <a:gdLst/>
                <a:ahLst/>
                <a:cxnLst/>
                <a:rect l="l" t="t" r="r" b="b"/>
                <a:pathLst>
                  <a:path w="46577" h="46577" extrusionOk="0">
                    <a:moveTo>
                      <a:pt x="23289" y="0"/>
                    </a:moveTo>
                    <a:cubicBezTo>
                      <a:pt x="10427" y="0"/>
                      <a:pt x="0" y="10427"/>
                      <a:pt x="0" y="23289"/>
                    </a:cubicBezTo>
                    <a:cubicBezTo>
                      <a:pt x="0" y="36151"/>
                      <a:pt x="10427" y="46578"/>
                      <a:pt x="23289" y="46578"/>
                    </a:cubicBezTo>
                    <a:cubicBezTo>
                      <a:pt x="36151" y="46578"/>
                      <a:pt x="46577" y="36151"/>
                      <a:pt x="46577" y="23289"/>
                    </a:cubicBezTo>
                    <a:cubicBezTo>
                      <a:pt x="46577" y="23273"/>
                      <a:pt x="46577" y="23258"/>
                      <a:pt x="46577" y="23242"/>
                    </a:cubicBezTo>
                    <a:cubicBezTo>
                      <a:pt x="46569" y="10397"/>
                      <a:pt x="36149" y="-9"/>
                      <a:pt x="23304" y="0"/>
                    </a:cubicBezTo>
                    <a:cubicBezTo>
                      <a:pt x="23299" y="0"/>
                      <a:pt x="23294" y="0"/>
                      <a:pt x="23289" y="0"/>
                    </a:cubicBezTo>
                    <a:close/>
                    <a:moveTo>
                      <a:pt x="24473" y="14201"/>
                    </a:moveTo>
                    <a:cubicBezTo>
                      <a:pt x="24380" y="14201"/>
                      <a:pt x="24473" y="14326"/>
                      <a:pt x="24473" y="14372"/>
                    </a:cubicBezTo>
                    <a:cubicBezTo>
                      <a:pt x="24407" y="14358"/>
                      <a:pt x="24337" y="14358"/>
                      <a:pt x="24271" y="14372"/>
                    </a:cubicBezTo>
                    <a:cubicBezTo>
                      <a:pt x="24411" y="14372"/>
                      <a:pt x="24629" y="14559"/>
                      <a:pt x="24442" y="14669"/>
                    </a:cubicBezTo>
                    <a:cubicBezTo>
                      <a:pt x="24255" y="14778"/>
                      <a:pt x="24520" y="14669"/>
                      <a:pt x="24536" y="14669"/>
                    </a:cubicBezTo>
                    <a:cubicBezTo>
                      <a:pt x="24660" y="14388"/>
                      <a:pt x="25034" y="14778"/>
                      <a:pt x="24769" y="14965"/>
                    </a:cubicBezTo>
                    <a:lnTo>
                      <a:pt x="24769" y="14965"/>
                    </a:lnTo>
                    <a:cubicBezTo>
                      <a:pt x="24769" y="14965"/>
                      <a:pt x="24769" y="14965"/>
                      <a:pt x="24769" y="14965"/>
                    </a:cubicBezTo>
                    <a:lnTo>
                      <a:pt x="24769" y="14965"/>
                    </a:lnTo>
                    <a:cubicBezTo>
                      <a:pt x="24769" y="14965"/>
                      <a:pt x="24676" y="14965"/>
                      <a:pt x="24645" y="14965"/>
                    </a:cubicBezTo>
                    <a:cubicBezTo>
                      <a:pt x="24614" y="14965"/>
                      <a:pt x="24645" y="14965"/>
                      <a:pt x="24645" y="15058"/>
                    </a:cubicBezTo>
                    <a:cubicBezTo>
                      <a:pt x="24645" y="15152"/>
                      <a:pt x="24754" y="15058"/>
                      <a:pt x="24645" y="15058"/>
                    </a:cubicBezTo>
                    <a:cubicBezTo>
                      <a:pt x="24536" y="15058"/>
                      <a:pt x="24769" y="15058"/>
                      <a:pt x="24847" y="15058"/>
                    </a:cubicBezTo>
                    <a:cubicBezTo>
                      <a:pt x="24925" y="15058"/>
                      <a:pt x="24754" y="15167"/>
                      <a:pt x="24754" y="15245"/>
                    </a:cubicBezTo>
                    <a:cubicBezTo>
                      <a:pt x="24754" y="15323"/>
                      <a:pt x="24317" y="15370"/>
                      <a:pt x="24271" y="15245"/>
                    </a:cubicBezTo>
                    <a:cubicBezTo>
                      <a:pt x="24224" y="15121"/>
                      <a:pt x="23865" y="15245"/>
                      <a:pt x="23663" y="15339"/>
                    </a:cubicBezTo>
                    <a:cubicBezTo>
                      <a:pt x="23460" y="15432"/>
                      <a:pt x="23663" y="15542"/>
                      <a:pt x="23476" y="15417"/>
                    </a:cubicBezTo>
                    <a:cubicBezTo>
                      <a:pt x="23289" y="15292"/>
                      <a:pt x="23242" y="15417"/>
                      <a:pt x="23195" y="15557"/>
                    </a:cubicBezTo>
                    <a:cubicBezTo>
                      <a:pt x="23148" y="15697"/>
                      <a:pt x="23195" y="15557"/>
                      <a:pt x="23055" y="15557"/>
                    </a:cubicBezTo>
                    <a:cubicBezTo>
                      <a:pt x="23189" y="15454"/>
                      <a:pt x="23315" y="15339"/>
                      <a:pt x="23429" y="15214"/>
                    </a:cubicBezTo>
                    <a:cubicBezTo>
                      <a:pt x="23429" y="15058"/>
                      <a:pt x="23647" y="15214"/>
                      <a:pt x="23772" y="15214"/>
                    </a:cubicBezTo>
                    <a:cubicBezTo>
                      <a:pt x="23897" y="15214"/>
                      <a:pt x="23865" y="15074"/>
                      <a:pt x="23912" y="15012"/>
                    </a:cubicBezTo>
                    <a:cubicBezTo>
                      <a:pt x="23959" y="14949"/>
                      <a:pt x="23678" y="15214"/>
                      <a:pt x="23600" y="15089"/>
                    </a:cubicBezTo>
                    <a:cubicBezTo>
                      <a:pt x="23522" y="14965"/>
                      <a:pt x="23367" y="15089"/>
                      <a:pt x="23507" y="15089"/>
                    </a:cubicBezTo>
                    <a:cubicBezTo>
                      <a:pt x="23647" y="15089"/>
                      <a:pt x="23382" y="15089"/>
                      <a:pt x="23289" y="15089"/>
                    </a:cubicBezTo>
                    <a:lnTo>
                      <a:pt x="23289" y="15089"/>
                    </a:lnTo>
                    <a:cubicBezTo>
                      <a:pt x="23289" y="15089"/>
                      <a:pt x="23289" y="15089"/>
                      <a:pt x="23289" y="15089"/>
                    </a:cubicBezTo>
                    <a:cubicBezTo>
                      <a:pt x="23522" y="15012"/>
                      <a:pt x="23632" y="14949"/>
                      <a:pt x="23600" y="14715"/>
                    </a:cubicBezTo>
                    <a:lnTo>
                      <a:pt x="23444" y="14715"/>
                    </a:lnTo>
                    <a:cubicBezTo>
                      <a:pt x="23554" y="14606"/>
                      <a:pt x="23709" y="14466"/>
                      <a:pt x="23865" y="14575"/>
                    </a:cubicBezTo>
                    <a:cubicBezTo>
                      <a:pt x="23741" y="14419"/>
                      <a:pt x="23865" y="14575"/>
                      <a:pt x="23865" y="14575"/>
                    </a:cubicBezTo>
                    <a:cubicBezTo>
                      <a:pt x="23865" y="14575"/>
                      <a:pt x="23772" y="14372"/>
                      <a:pt x="23865" y="14326"/>
                    </a:cubicBezTo>
                    <a:cubicBezTo>
                      <a:pt x="23959" y="14279"/>
                      <a:pt x="23865" y="14201"/>
                      <a:pt x="23772" y="14326"/>
                    </a:cubicBezTo>
                    <a:lnTo>
                      <a:pt x="23772" y="14326"/>
                    </a:lnTo>
                    <a:cubicBezTo>
                      <a:pt x="23647" y="14326"/>
                      <a:pt x="23772" y="14045"/>
                      <a:pt x="23772" y="14061"/>
                    </a:cubicBezTo>
                    <a:cubicBezTo>
                      <a:pt x="23616" y="14061"/>
                      <a:pt x="23585" y="14170"/>
                      <a:pt x="23444" y="14061"/>
                    </a:cubicBezTo>
                    <a:cubicBezTo>
                      <a:pt x="23304" y="13952"/>
                      <a:pt x="23444" y="14061"/>
                      <a:pt x="23444" y="14154"/>
                    </a:cubicBezTo>
                    <a:cubicBezTo>
                      <a:pt x="23444" y="14248"/>
                      <a:pt x="23289" y="14029"/>
                      <a:pt x="23335" y="14154"/>
                    </a:cubicBezTo>
                    <a:cubicBezTo>
                      <a:pt x="23382" y="14279"/>
                      <a:pt x="23335" y="14061"/>
                      <a:pt x="23335" y="14029"/>
                    </a:cubicBezTo>
                    <a:lnTo>
                      <a:pt x="23335" y="14029"/>
                    </a:lnTo>
                    <a:cubicBezTo>
                      <a:pt x="23335" y="14029"/>
                      <a:pt x="23335" y="13874"/>
                      <a:pt x="23429" y="13827"/>
                    </a:cubicBezTo>
                    <a:cubicBezTo>
                      <a:pt x="23522" y="13780"/>
                      <a:pt x="23335" y="13640"/>
                      <a:pt x="23429" y="13671"/>
                    </a:cubicBezTo>
                    <a:cubicBezTo>
                      <a:pt x="23522" y="13702"/>
                      <a:pt x="23429" y="13671"/>
                      <a:pt x="23429" y="13577"/>
                    </a:cubicBezTo>
                    <a:cubicBezTo>
                      <a:pt x="23429" y="13484"/>
                      <a:pt x="23429" y="13655"/>
                      <a:pt x="23429" y="13687"/>
                    </a:cubicBezTo>
                    <a:lnTo>
                      <a:pt x="23429" y="13687"/>
                    </a:lnTo>
                    <a:cubicBezTo>
                      <a:pt x="23429" y="13687"/>
                      <a:pt x="23429" y="13687"/>
                      <a:pt x="23429" y="13687"/>
                    </a:cubicBezTo>
                    <a:cubicBezTo>
                      <a:pt x="23429" y="13687"/>
                      <a:pt x="23429" y="13687"/>
                      <a:pt x="23429" y="13687"/>
                    </a:cubicBezTo>
                    <a:cubicBezTo>
                      <a:pt x="23425" y="13770"/>
                      <a:pt x="23425" y="13853"/>
                      <a:pt x="23429" y="13936"/>
                    </a:cubicBezTo>
                    <a:cubicBezTo>
                      <a:pt x="23335" y="13936"/>
                      <a:pt x="23429" y="13811"/>
                      <a:pt x="23429" y="13764"/>
                    </a:cubicBezTo>
                    <a:cubicBezTo>
                      <a:pt x="23429" y="13718"/>
                      <a:pt x="23429" y="13484"/>
                      <a:pt x="23522" y="13453"/>
                    </a:cubicBezTo>
                    <a:cubicBezTo>
                      <a:pt x="23616" y="13422"/>
                      <a:pt x="23522" y="13453"/>
                      <a:pt x="23522" y="13453"/>
                    </a:cubicBezTo>
                    <a:cubicBezTo>
                      <a:pt x="23522" y="13453"/>
                      <a:pt x="23413" y="13593"/>
                      <a:pt x="23351" y="13453"/>
                    </a:cubicBezTo>
                    <a:cubicBezTo>
                      <a:pt x="23289" y="13312"/>
                      <a:pt x="23351" y="13453"/>
                      <a:pt x="23351" y="13453"/>
                    </a:cubicBezTo>
                    <a:cubicBezTo>
                      <a:pt x="23351" y="13453"/>
                      <a:pt x="23351" y="13328"/>
                      <a:pt x="23476" y="13375"/>
                    </a:cubicBezTo>
                    <a:cubicBezTo>
                      <a:pt x="23600" y="13422"/>
                      <a:pt x="23476" y="13375"/>
                      <a:pt x="23476" y="13375"/>
                    </a:cubicBezTo>
                    <a:cubicBezTo>
                      <a:pt x="23476" y="13375"/>
                      <a:pt x="23476" y="13375"/>
                      <a:pt x="23476" y="13375"/>
                    </a:cubicBezTo>
                    <a:cubicBezTo>
                      <a:pt x="23476" y="13375"/>
                      <a:pt x="23476" y="13375"/>
                      <a:pt x="23476" y="13375"/>
                    </a:cubicBezTo>
                    <a:cubicBezTo>
                      <a:pt x="23476" y="13375"/>
                      <a:pt x="23476" y="13375"/>
                      <a:pt x="23476" y="13375"/>
                    </a:cubicBezTo>
                    <a:lnTo>
                      <a:pt x="23476" y="13375"/>
                    </a:lnTo>
                    <a:lnTo>
                      <a:pt x="23476" y="13297"/>
                    </a:lnTo>
                    <a:cubicBezTo>
                      <a:pt x="23476" y="13297"/>
                      <a:pt x="23476" y="13297"/>
                      <a:pt x="23476" y="13297"/>
                    </a:cubicBezTo>
                    <a:cubicBezTo>
                      <a:pt x="23476" y="13297"/>
                      <a:pt x="23476" y="13219"/>
                      <a:pt x="23476" y="13172"/>
                    </a:cubicBezTo>
                    <a:lnTo>
                      <a:pt x="23476" y="13172"/>
                    </a:lnTo>
                    <a:cubicBezTo>
                      <a:pt x="23476" y="13172"/>
                      <a:pt x="23476" y="13172"/>
                      <a:pt x="23476" y="13172"/>
                    </a:cubicBezTo>
                    <a:cubicBezTo>
                      <a:pt x="23476" y="13172"/>
                      <a:pt x="23476" y="13172"/>
                      <a:pt x="23569" y="13172"/>
                    </a:cubicBezTo>
                    <a:cubicBezTo>
                      <a:pt x="23574" y="13146"/>
                      <a:pt x="23574" y="13120"/>
                      <a:pt x="23569" y="13094"/>
                    </a:cubicBezTo>
                    <a:cubicBezTo>
                      <a:pt x="23569" y="13094"/>
                      <a:pt x="23678" y="12782"/>
                      <a:pt x="23709" y="12969"/>
                    </a:cubicBezTo>
                    <a:cubicBezTo>
                      <a:pt x="23741" y="13157"/>
                      <a:pt x="23709" y="12969"/>
                      <a:pt x="23709" y="12969"/>
                    </a:cubicBezTo>
                    <a:cubicBezTo>
                      <a:pt x="24084" y="12829"/>
                      <a:pt x="23990" y="12969"/>
                      <a:pt x="23709" y="13188"/>
                    </a:cubicBezTo>
                    <a:lnTo>
                      <a:pt x="23709" y="13188"/>
                    </a:lnTo>
                    <a:cubicBezTo>
                      <a:pt x="23507" y="13375"/>
                      <a:pt x="23928" y="13188"/>
                      <a:pt x="24037" y="13188"/>
                    </a:cubicBezTo>
                    <a:cubicBezTo>
                      <a:pt x="24146" y="13188"/>
                      <a:pt x="24037" y="13640"/>
                      <a:pt x="23834" y="13609"/>
                    </a:cubicBezTo>
                    <a:cubicBezTo>
                      <a:pt x="23632" y="13577"/>
                      <a:pt x="23834" y="13609"/>
                      <a:pt x="23834" y="13609"/>
                    </a:cubicBezTo>
                    <a:cubicBezTo>
                      <a:pt x="23834" y="13609"/>
                      <a:pt x="23694" y="13733"/>
                      <a:pt x="23600" y="13609"/>
                    </a:cubicBezTo>
                    <a:cubicBezTo>
                      <a:pt x="23654" y="13665"/>
                      <a:pt x="23743" y="13666"/>
                      <a:pt x="23799" y="13613"/>
                    </a:cubicBezTo>
                    <a:cubicBezTo>
                      <a:pt x="23800" y="13612"/>
                      <a:pt x="23802" y="13610"/>
                      <a:pt x="23803" y="13609"/>
                    </a:cubicBezTo>
                    <a:cubicBezTo>
                      <a:pt x="24037" y="13702"/>
                      <a:pt x="24052" y="13952"/>
                      <a:pt x="24130" y="14139"/>
                    </a:cubicBezTo>
                    <a:cubicBezTo>
                      <a:pt x="24208" y="14326"/>
                      <a:pt x="24349" y="14107"/>
                      <a:pt x="24473" y="14170"/>
                    </a:cubicBezTo>
                    <a:close/>
                    <a:moveTo>
                      <a:pt x="16461" y="43086"/>
                    </a:moveTo>
                    <a:lnTo>
                      <a:pt x="16461" y="43086"/>
                    </a:lnTo>
                    <a:lnTo>
                      <a:pt x="16461" y="43086"/>
                    </a:lnTo>
                    <a:lnTo>
                      <a:pt x="16461" y="43086"/>
                    </a:lnTo>
                    <a:lnTo>
                      <a:pt x="16539" y="43086"/>
                    </a:lnTo>
                    <a:lnTo>
                      <a:pt x="16539" y="43086"/>
                    </a:lnTo>
                    <a:lnTo>
                      <a:pt x="16321" y="42961"/>
                    </a:lnTo>
                    <a:lnTo>
                      <a:pt x="16321" y="42961"/>
                    </a:lnTo>
                    <a:lnTo>
                      <a:pt x="16321" y="42961"/>
                    </a:lnTo>
                    <a:lnTo>
                      <a:pt x="16399" y="42961"/>
                    </a:lnTo>
                    <a:lnTo>
                      <a:pt x="16399" y="42961"/>
                    </a:lnTo>
                    <a:lnTo>
                      <a:pt x="16399" y="42961"/>
                    </a:lnTo>
                    <a:lnTo>
                      <a:pt x="16149" y="42852"/>
                    </a:lnTo>
                    <a:lnTo>
                      <a:pt x="16149" y="42852"/>
                    </a:lnTo>
                    <a:cubicBezTo>
                      <a:pt x="16149" y="42852"/>
                      <a:pt x="16149" y="42852"/>
                      <a:pt x="16149" y="42852"/>
                    </a:cubicBezTo>
                    <a:cubicBezTo>
                      <a:pt x="16120" y="42838"/>
                      <a:pt x="16085" y="42838"/>
                      <a:pt x="16056" y="42852"/>
                    </a:cubicBezTo>
                    <a:lnTo>
                      <a:pt x="16056" y="42852"/>
                    </a:lnTo>
                    <a:lnTo>
                      <a:pt x="16056" y="42852"/>
                    </a:lnTo>
                    <a:lnTo>
                      <a:pt x="16056" y="42852"/>
                    </a:lnTo>
                    <a:lnTo>
                      <a:pt x="16212" y="42852"/>
                    </a:lnTo>
                    <a:lnTo>
                      <a:pt x="16025" y="42852"/>
                    </a:lnTo>
                    <a:lnTo>
                      <a:pt x="16025" y="42852"/>
                    </a:lnTo>
                    <a:lnTo>
                      <a:pt x="15806" y="42759"/>
                    </a:lnTo>
                    <a:lnTo>
                      <a:pt x="15806" y="42759"/>
                    </a:lnTo>
                    <a:lnTo>
                      <a:pt x="15806" y="42759"/>
                    </a:lnTo>
                    <a:lnTo>
                      <a:pt x="15682" y="42759"/>
                    </a:lnTo>
                    <a:lnTo>
                      <a:pt x="15853" y="42852"/>
                    </a:lnTo>
                    <a:lnTo>
                      <a:pt x="15604" y="42727"/>
                    </a:lnTo>
                    <a:lnTo>
                      <a:pt x="15604" y="42727"/>
                    </a:lnTo>
                    <a:lnTo>
                      <a:pt x="15760" y="42727"/>
                    </a:lnTo>
                    <a:lnTo>
                      <a:pt x="15635" y="42727"/>
                    </a:lnTo>
                    <a:lnTo>
                      <a:pt x="15760" y="42727"/>
                    </a:lnTo>
                    <a:lnTo>
                      <a:pt x="15526" y="42618"/>
                    </a:lnTo>
                    <a:lnTo>
                      <a:pt x="15526" y="42618"/>
                    </a:lnTo>
                    <a:lnTo>
                      <a:pt x="15432" y="42618"/>
                    </a:lnTo>
                    <a:lnTo>
                      <a:pt x="15432" y="42618"/>
                    </a:lnTo>
                    <a:lnTo>
                      <a:pt x="15230" y="42525"/>
                    </a:lnTo>
                    <a:lnTo>
                      <a:pt x="15230" y="42525"/>
                    </a:lnTo>
                    <a:lnTo>
                      <a:pt x="15152" y="42525"/>
                    </a:lnTo>
                    <a:lnTo>
                      <a:pt x="15152" y="42525"/>
                    </a:lnTo>
                    <a:cubicBezTo>
                      <a:pt x="15026" y="42475"/>
                      <a:pt x="14906" y="42412"/>
                      <a:pt x="14793" y="42338"/>
                    </a:cubicBezTo>
                    <a:lnTo>
                      <a:pt x="14793" y="42338"/>
                    </a:lnTo>
                    <a:lnTo>
                      <a:pt x="14637" y="42244"/>
                    </a:lnTo>
                    <a:lnTo>
                      <a:pt x="14778" y="42338"/>
                    </a:lnTo>
                    <a:lnTo>
                      <a:pt x="14466" y="42166"/>
                    </a:lnTo>
                    <a:lnTo>
                      <a:pt x="14466" y="42166"/>
                    </a:lnTo>
                    <a:lnTo>
                      <a:pt x="14372" y="42166"/>
                    </a:lnTo>
                    <a:lnTo>
                      <a:pt x="14372" y="42166"/>
                    </a:lnTo>
                    <a:lnTo>
                      <a:pt x="14216" y="42073"/>
                    </a:lnTo>
                    <a:lnTo>
                      <a:pt x="14216" y="42073"/>
                    </a:lnTo>
                    <a:lnTo>
                      <a:pt x="14216" y="42073"/>
                    </a:lnTo>
                    <a:lnTo>
                      <a:pt x="14216" y="42073"/>
                    </a:lnTo>
                    <a:lnTo>
                      <a:pt x="14076" y="41995"/>
                    </a:lnTo>
                    <a:lnTo>
                      <a:pt x="14076" y="41995"/>
                    </a:lnTo>
                    <a:lnTo>
                      <a:pt x="13920" y="41886"/>
                    </a:lnTo>
                    <a:lnTo>
                      <a:pt x="13920" y="41886"/>
                    </a:lnTo>
                    <a:lnTo>
                      <a:pt x="13795" y="41886"/>
                    </a:lnTo>
                    <a:lnTo>
                      <a:pt x="13795" y="41886"/>
                    </a:lnTo>
                    <a:cubicBezTo>
                      <a:pt x="13760" y="41896"/>
                      <a:pt x="13722" y="41896"/>
                      <a:pt x="13686" y="41886"/>
                    </a:cubicBezTo>
                    <a:lnTo>
                      <a:pt x="13686" y="41886"/>
                    </a:lnTo>
                    <a:lnTo>
                      <a:pt x="13811" y="41964"/>
                    </a:lnTo>
                    <a:lnTo>
                      <a:pt x="13686" y="41886"/>
                    </a:lnTo>
                    <a:lnTo>
                      <a:pt x="13686" y="41886"/>
                    </a:lnTo>
                    <a:lnTo>
                      <a:pt x="13577" y="41886"/>
                    </a:lnTo>
                    <a:lnTo>
                      <a:pt x="13577" y="41886"/>
                    </a:lnTo>
                    <a:lnTo>
                      <a:pt x="13453" y="41808"/>
                    </a:lnTo>
                    <a:cubicBezTo>
                      <a:pt x="13513" y="41833"/>
                      <a:pt x="13570" y="41864"/>
                      <a:pt x="13624" y="41901"/>
                    </a:cubicBezTo>
                    <a:cubicBezTo>
                      <a:pt x="13624" y="41901"/>
                      <a:pt x="13749" y="41995"/>
                      <a:pt x="13780" y="41995"/>
                    </a:cubicBezTo>
                    <a:lnTo>
                      <a:pt x="13359" y="41699"/>
                    </a:lnTo>
                    <a:lnTo>
                      <a:pt x="13359" y="41699"/>
                    </a:lnTo>
                    <a:cubicBezTo>
                      <a:pt x="13110" y="41496"/>
                      <a:pt x="12829" y="41324"/>
                      <a:pt x="12595" y="41122"/>
                    </a:cubicBezTo>
                    <a:lnTo>
                      <a:pt x="12689" y="41122"/>
                    </a:lnTo>
                    <a:lnTo>
                      <a:pt x="12548" y="41013"/>
                    </a:lnTo>
                    <a:lnTo>
                      <a:pt x="12548" y="41013"/>
                    </a:lnTo>
                    <a:cubicBezTo>
                      <a:pt x="12548" y="41013"/>
                      <a:pt x="12548" y="41013"/>
                      <a:pt x="12455" y="41013"/>
                    </a:cubicBezTo>
                    <a:lnTo>
                      <a:pt x="12455" y="41013"/>
                    </a:lnTo>
                    <a:lnTo>
                      <a:pt x="12455" y="41013"/>
                    </a:lnTo>
                    <a:lnTo>
                      <a:pt x="12455" y="41013"/>
                    </a:lnTo>
                    <a:cubicBezTo>
                      <a:pt x="12251" y="40890"/>
                      <a:pt x="12063" y="40743"/>
                      <a:pt x="11894" y="40576"/>
                    </a:cubicBezTo>
                    <a:lnTo>
                      <a:pt x="11894" y="40576"/>
                    </a:lnTo>
                    <a:cubicBezTo>
                      <a:pt x="11675" y="40342"/>
                      <a:pt x="11410" y="40171"/>
                      <a:pt x="11177" y="39953"/>
                    </a:cubicBezTo>
                    <a:cubicBezTo>
                      <a:pt x="11177" y="39953"/>
                      <a:pt x="11177" y="39953"/>
                      <a:pt x="11177" y="39953"/>
                    </a:cubicBezTo>
                    <a:cubicBezTo>
                      <a:pt x="10229" y="38961"/>
                      <a:pt x="9393" y="37869"/>
                      <a:pt x="8683" y="36695"/>
                    </a:cubicBezTo>
                    <a:lnTo>
                      <a:pt x="8683" y="36695"/>
                    </a:lnTo>
                    <a:cubicBezTo>
                      <a:pt x="8363" y="35817"/>
                      <a:pt x="7887" y="35004"/>
                      <a:pt x="7280" y="34294"/>
                    </a:cubicBezTo>
                    <a:lnTo>
                      <a:pt x="7280" y="34294"/>
                    </a:lnTo>
                    <a:cubicBezTo>
                      <a:pt x="6307" y="33179"/>
                      <a:pt x="5626" y="31840"/>
                      <a:pt x="5300" y="30397"/>
                    </a:cubicBezTo>
                    <a:cubicBezTo>
                      <a:pt x="5300" y="30397"/>
                      <a:pt x="5300" y="30397"/>
                      <a:pt x="5300" y="30475"/>
                    </a:cubicBezTo>
                    <a:cubicBezTo>
                      <a:pt x="5309" y="30444"/>
                      <a:pt x="5309" y="30412"/>
                      <a:pt x="5300" y="30382"/>
                    </a:cubicBezTo>
                    <a:cubicBezTo>
                      <a:pt x="5300" y="30382"/>
                      <a:pt x="5300" y="30475"/>
                      <a:pt x="5300" y="30506"/>
                    </a:cubicBezTo>
                    <a:cubicBezTo>
                      <a:pt x="5082" y="30132"/>
                      <a:pt x="5160" y="25830"/>
                      <a:pt x="4739" y="27498"/>
                    </a:cubicBezTo>
                    <a:cubicBezTo>
                      <a:pt x="4739" y="27498"/>
                      <a:pt x="4739" y="27311"/>
                      <a:pt x="4739" y="27264"/>
                    </a:cubicBezTo>
                    <a:cubicBezTo>
                      <a:pt x="4739" y="27217"/>
                      <a:pt x="4739" y="27264"/>
                      <a:pt x="4739" y="27342"/>
                    </a:cubicBezTo>
                    <a:cubicBezTo>
                      <a:pt x="4739" y="27420"/>
                      <a:pt x="4739" y="27124"/>
                      <a:pt x="4598" y="27030"/>
                    </a:cubicBezTo>
                    <a:cubicBezTo>
                      <a:pt x="4458" y="26937"/>
                      <a:pt x="4598" y="27030"/>
                      <a:pt x="4598" y="27030"/>
                    </a:cubicBezTo>
                    <a:lnTo>
                      <a:pt x="4598" y="27030"/>
                    </a:lnTo>
                    <a:cubicBezTo>
                      <a:pt x="4598" y="27030"/>
                      <a:pt x="4598" y="26874"/>
                      <a:pt x="4598" y="26812"/>
                    </a:cubicBezTo>
                    <a:cubicBezTo>
                      <a:pt x="4598" y="26749"/>
                      <a:pt x="4598" y="26921"/>
                      <a:pt x="4598" y="26968"/>
                    </a:cubicBezTo>
                    <a:cubicBezTo>
                      <a:pt x="4598" y="26734"/>
                      <a:pt x="4489" y="26469"/>
                      <a:pt x="4396" y="26235"/>
                    </a:cubicBezTo>
                    <a:cubicBezTo>
                      <a:pt x="4396" y="26313"/>
                      <a:pt x="4396" y="26391"/>
                      <a:pt x="4396" y="26484"/>
                    </a:cubicBezTo>
                    <a:cubicBezTo>
                      <a:pt x="4256" y="26095"/>
                      <a:pt x="4240" y="25674"/>
                      <a:pt x="4131" y="25269"/>
                    </a:cubicBezTo>
                    <a:cubicBezTo>
                      <a:pt x="4131" y="25347"/>
                      <a:pt x="4131" y="25269"/>
                      <a:pt x="4131" y="25175"/>
                    </a:cubicBezTo>
                    <a:cubicBezTo>
                      <a:pt x="4131" y="25082"/>
                      <a:pt x="4131" y="25175"/>
                      <a:pt x="4131" y="25175"/>
                    </a:cubicBezTo>
                    <a:cubicBezTo>
                      <a:pt x="4131" y="25175"/>
                      <a:pt x="4131" y="25175"/>
                      <a:pt x="4131" y="25175"/>
                    </a:cubicBezTo>
                    <a:cubicBezTo>
                      <a:pt x="4131" y="25175"/>
                      <a:pt x="4131" y="25175"/>
                      <a:pt x="4131" y="25175"/>
                    </a:cubicBezTo>
                    <a:cubicBezTo>
                      <a:pt x="3941" y="24764"/>
                      <a:pt x="3835" y="24318"/>
                      <a:pt x="3819" y="23866"/>
                    </a:cubicBezTo>
                    <a:cubicBezTo>
                      <a:pt x="3828" y="23928"/>
                      <a:pt x="3828" y="23991"/>
                      <a:pt x="3819" y="24053"/>
                    </a:cubicBezTo>
                    <a:cubicBezTo>
                      <a:pt x="3828" y="23991"/>
                      <a:pt x="3828" y="23928"/>
                      <a:pt x="3819" y="23866"/>
                    </a:cubicBezTo>
                    <a:lnTo>
                      <a:pt x="3819" y="23866"/>
                    </a:lnTo>
                    <a:cubicBezTo>
                      <a:pt x="3819" y="23866"/>
                      <a:pt x="3819" y="23866"/>
                      <a:pt x="3819" y="23866"/>
                    </a:cubicBezTo>
                    <a:lnTo>
                      <a:pt x="3819" y="23866"/>
                    </a:lnTo>
                    <a:lnTo>
                      <a:pt x="3819" y="23866"/>
                    </a:lnTo>
                    <a:cubicBezTo>
                      <a:pt x="3819" y="23866"/>
                      <a:pt x="3819" y="23866"/>
                      <a:pt x="3819" y="23959"/>
                    </a:cubicBezTo>
                    <a:cubicBezTo>
                      <a:pt x="3819" y="24053"/>
                      <a:pt x="3819" y="23959"/>
                      <a:pt x="3819" y="23959"/>
                    </a:cubicBezTo>
                    <a:lnTo>
                      <a:pt x="3819" y="23959"/>
                    </a:lnTo>
                    <a:lnTo>
                      <a:pt x="3819" y="23959"/>
                    </a:lnTo>
                    <a:cubicBezTo>
                      <a:pt x="3819" y="23881"/>
                      <a:pt x="3819" y="23772"/>
                      <a:pt x="3819" y="23679"/>
                    </a:cubicBezTo>
                    <a:lnTo>
                      <a:pt x="3819" y="23679"/>
                    </a:lnTo>
                    <a:cubicBezTo>
                      <a:pt x="3811" y="23627"/>
                      <a:pt x="3811" y="23574"/>
                      <a:pt x="3819" y="23523"/>
                    </a:cubicBezTo>
                    <a:lnTo>
                      <a:pt x="3819" y="23523"/>
                    </a:lnTo>
                    <a:cubicBezTo>
                      <a:pt x="3803" y="23305"/>
                      <a:pt x="3803" y="23086"/>
                      <a:pt x="3819" y="22868"/>
                    </a:cubicBezTo>
                    <a:lnTo>
                      <a:pt x="3819" y="22868"/>
                    </a:lnTo>
                    <a:cubicBezTo>
                      <a:pt x="3819" y="22868"/>
                      <a:pt x="3819" y="22790"/>
                      <a:pt x="3819" y="22759"/>
                    </a:cubicBezTo>
                    <a:lnTo>
                      <a:pt x="3819" y="22759"/>
                    </a:lnTo>
                    <a:cubicBezTo>
                      <a:pt x="4323" y="14291"/>
                      <a:pt x="9917" y="6976"/>
                      <a:pt x="17957" y="4271"/>
                    </a:cubicBezTo>
                    <a:lnTo>
                      <a:pt x="17957" y="4271"/>
                    </a:lnTo>
                    <a:lnTo>
                      <a:pt x="18145" y="4271"/>
                    </a:lnTo>
                    <a:lnTo>
                      <a:pt x="18145" y="4271"/>
                    </a:lnTo>
                    <a:lnTo>
                      <a:pt x="18347" y="4271"/>
                    </a:lnTo>
                    <a:lnTo>
                      <a:pt x="18207" y="4271"/>
                    </a:lnTo>
                    <a:lnTo>
                      <a:pt x="18456" y="4271"/>
                    </a:lnTo>
                    <a:lnTo>
                      <a:pt x="18363" y="4271"/>
                    </a:lnTo>
                    <a:lnTo>
                      <a:pt x="18363" y="4271"/>
                    </a:lnTo>
                    <a:lnTo>
                      <a:pt x="18534" y="4271"/>
                    </a:lnTo>
                    <a:lnTo>
                      <a:pt x="18534" y="4271"/>
                    </a:lnTo>
                    <a:lnTo>
                      <a:pt x="19703" y="4006"/>
                    </a:lnTo>
                    <a:lnTo>
                      <a:pt x="19703" y="4006"/>
                    </a:lnTo>
                    <a:lnTo>
                      <a:pt x="20000" y="4006"/>
                    </a:lnTo>
                    <a:lnTo>
                      <a:pt x="19797" y="4006"/>
                    </a:lnTo>
                    <a:lnTo>
                      <a:pt x="19797" y="4006"/>
                    </a:lnTo>
                    <a:lnTo>
                      <a:pt x="20342" y="4006"/>
                    </a:lnTo>
                    <a:lnTo>
                      <a:pt x="20342" y="4006"/>
                    </a:lnTo>
                    <a:lnTo>
                      <a:pt x="20062" y="4006"/>
                    </a:lnTo>
                    <a:lnTo>
                      <a:pt x="20327" y="4006"/>
                    </a:lnTo>
                    <a:lnTo>
                      <a:pt x="20327" y="4006"/>
                    </a:lnTo>
                    <a:lnTo>
                      <a:pt x="20592" y="4006"/>
                    </a:lnTo>
                    <a:lnTo>
                      <a:pt x="20498" y="4006"/>
                    </a:lnTo>
                    <a:lnTo>
                      <a:pt x="20405" y="4006"/>
                    </a:lnTo>
                    <a:lnTo>
                      <a:pt x="20623" y="4006"/>
                    </a:lnTo>
                    <a:lnTo>
                      <a:pt x="20280" y="4006"/>
                    </a:lnTo>
                    <a:lnTo>
                      <a:pt x="20187" y="4006"/>
                    </a:lnTo>
                    <a:lnTo>
                      <a:pt x="20015" y="4006"/>
                    </a:lnTo>
                    <a:lnTo>
                      <a:pt x="20342" y="4006"/>
                    </a:lnTo>
                    <a:lnTo>
                      <a:pt x="19984" y="4006"/>
                    </a:lnTo>
                    <a:lnTo>
                      <a:pt x="19984" y="4006"/>
                    </a:lnTo>
                    <a:lnTo>
                      <a:pt x="19610" y="4006"/>
                    </a:lnTo>
                    <a:lnTo>
                      <a:pt x="19610" y="4006"/>
                    </a:lnTo>
                    <a:lnTo>
                      <a:pt x="19251" y="4084"/>
                    </a:lnTo>
                    <a:lnTo>
                      <a:pt x="19407" y="4084"/>
                    </a:lnTo>
                    <a:lnTo>
                      <a:pt x="19407" y="4084"/>
                    </a:lnTo>
                    <a:cubicBezTo>
                      <a:pt x="19286" y="4123"/>
                      <a:pt x="19160" y="4150"/>
                      <a:pt x="19033" y="4162"/>
                    </a:cubicBezTo>
                    <a:lnTo>
                      <a:pt x="19189" y="4162"/>
                    </a:lnTo>
                    <a:lnTo>
                      <a:pt x="19017" y="4162"/>
                    </a:lnTo>
                    <a:lnTo>
                      <a:pt x="19017" y="4162"/>
                    </a:lnTo>
                    <a:lnTo>
                      <a:pt x="18908" y="4162"/>
                    </a:lnTo>
                    <a:lnTo>
                      <a:pt x="18908" y="4162"/>
                    </a:lnTo>
                    <a:lnTo>
                      <a:pt x="18908" y="4162"/>
                    </a:lnTo>
                    <a:cubicBezTo>
                      <a:pt x="18908" y="4162"/>
                      <a:pt x="18908" y="4162"/>
                      <a:pt x="18908" y="4162"/>
                    </a:cubicBezTo>
                    <a:lnTo>
                      <a:pt x="18908" y="4162"/>
                    </a:lnTo>
                    <a:lnTo>
                      <a:pt x="18752" y="4162"/>
                    </a:lnTo>
                    <a:lnTo>
                      <a:pt x="18752" y="4162"/>
                    </a:lnTo>
                    <a:lnTo>
                      <a:pt x="18752" y="4162"/>
                    </a:lnTo>
                    <a:lnTo>
                      <a:pt x="18752" y="4162"/>
                    </a:lnTo>
                    <a:lnTo>
                      <a:pt x="18659" y="4162"/>
                    </a:lnTo>
                    <a:lnTo>
                      <a:pt x="18659" y="4162"/>
                    </a:lnTo>
                    <a:lnTo>
                      <a:pt x="18254" y="4271"/>
                    </a:lnTo>
                    <a:lnTo>
                      <a:pt x="18254" y="4271"/>
                    </a:lnTo>
                    <a:lnTo>
                      <a:pt x="17957" y="4380"/>
                    </a:lnTo>
                    <a:lnTo>
                      <a:pt x="17957" y="4380"/>
                    </a:lnTo>
                    <a:lnTo>
                      <a:pt x="17599" y="4489"/>
                    </a:lnTo>
                    <a:lnTo>
                      <a:pt x="17599" y="4489"/>
                    </a:lnTo>
                    <a:lnTo>
                      <a:pt x="17334" y="4676"/>
                    </a:lnTo>
                    <a:lnTo>
                      <a:pt x="17334" y="4676"/>
                    </a:lnTo>
                    <a:lnTo>
                      <a:pt x="17240" y="4676"/>
                    </a:lnTo>
                    <a:lnTo>
                      <a:pt x="17240" y="4676"/>
                    </a:lnTo>
                    <a:lnTo>
                      <a:pt x="16726" y="4864"/>
                    </a:lnTo>
                    <a:lnTo>
                      <a:pt x="16851" y="4864"/>
                    </a:lnTo>
                    <a:lnTo>
                      <a:pt x="16851" y="4864"/>
                    </a:lnTo>
                    <a:cubicBezTo>
                      <a:pt x="17028" y="4797"/>
                      <a:pt x="17211" y="4745"/>
                      <a:pt x="17396" y="4708"/>
                    </a:cubicBezTo>
                    <a:lnTo>
                      <a:pt x="17396" y="4708"/>
                    </a:lnTo>
                    <a:lnTo>
                      <a:pt x="17552" y="4708"/>
                    </a:lnTo>
                    <a:lnTo>
                      <a:pt x="17661" y="4708"/>
                    </a:lnTo>
                    <a:lnTo>
                      <a:pt x="17412" y="4708"/>
                    </a:lnTo>
                    <a:lnTo>
                      <a:pt x="17412" y="4708"/>
                    </a:lnTo>
                    <a:lnTo>
                      <a:pt x="17272" y="4708"/>
                    </a:lnTo>
                    <a:lnTo>
                      <a:pt x="17272" y="4708"/>
                    </a:lnTo>
                    <a:lnTo>
                      <a:pt x="17162" y="4708"/>
                    </a:lnTo>
                    <a:lnTo>
                      <a:pt x="17162" y="4708"/>
                    </a:lnTo>
                    <a:lnTo>
                      <a:pt x="17007" y="4708"/>
                    </a:lnTo>
                    <a:lnTo>
                      <a:pt x="17007" y="4708"/>
                    </a:lnTo>
                    <a:lnTo>
                      <a:pt x="17147" y="4708"/>
                    </a:lnTo>
                    <a:lnTo>
                      <a:pt x="17147" y="4708"/>
                    </a:lnTo>
                    <a:lnTo>
                      <a:pt x="17287" y="4708"/>
                    </a:lnTo>
                    <a:lnTo>
                      <a:pt x="17287" y="4708"/>
                    </a:lnTo>
                    <a:lnTo>
                      <a:pt x="17116" y="4708"/>
                    </a:lnTo>
                    <a:cubicBezTo>
                      <a:pt x="17240" y="4708"/>
                      <a:pt x="17599" y="4599"/>
                      <a:pt x="17272" y="4708"/>
                    </a:cubicBezTo>
                    <a:lnTo>
                      <a:pt x="17412" y="4708"/>
                    </a:lnTo>
                    <a:lnTo>
                      <a:pt x="17505" y="4708"/>
                    </a:lnTo>
                    <a:lnTo>
                      <a:pt x="17833" y="4614"/>
                    </a:lnTo>
                    <a:cubicBezTo>
                      <a:pt x="17472" y="4715"/>
                      <a:pt x="17118" y="4840"/>
                      <a:pt x="16773" y="4988"/>
                    </a:cubicBezTo>
                    <a:lnTo>
                      <a:pt x="16929" y="4988"/>
                    </a:lnTo>
                    <a:lnTo>
                      <a:pt x="16929" y="4988"/>
                    </a:lnTo>
                    <a:cubicBezTo>
                      <a:pt x="16929" y="4988"/>
                      <a:pt x="17116" y="4988"/>
                      <a:pt x="17007" y="4988"/>
                    </a:cubicBezTo>
                    <a:lnTo>
                      <a:pt x="17147" y="4988"/>
                    </a:lnTo>
                    <a:lnTo>
                      <a:pt x="17147" y="4988"/>
                    </a:lnTo>
                    <a:lnTo>
                      <a:pt x="17272" y="4988"/>
                    </a:lnTo>
                    <a:cubicBezTo>
                      <a:pt x="17178" y="4988"/>
                      <a:pt x="17069" y="4988"/>
                      <a:pt x="16991" y="5097"/>
                    </a:cubicBezTo>
                    <a:lnTo>
                      <a:pt x="16991" y="5097"/>
                    </a:lnTo>
                    <a:lnTo>
                      <a:pt x="16866" y="5097"/>
                    </a:lnTo>
                    <a:lnTo>
                      <a:pt x="16866" y="5097"/>
                    </a:lnTo>
                    <a:lnTo>
                      <a:pt x="16710" y="5097"/>
                    </a:lnTo>
                    <a:cubicBezTo>
                      <a:pt x="16793" y="5104"/>
                      <a:pt x="16877" y="5104"/>
                      <a:pt x="16960" y="5097"/>
                    </a:cubicBezTo>
                    <a:cubicBezTo>
                      <a:pt x="16695" y="5238"/>
                      <a:pt x="16367" y="5362"/>
                      <a:pt x="16103" y="5534"/>
                    </a:cubicBezTo>
                    <a:lnTo>
                      <a:pt x="16103" y="5534"/>
                    </a:lnTo>
                    <a:lnTo>
                      <a:pt x="15931" y="5627"/>
                    </a:lnTo>
                    <a:lnTo>
                      <a:pt x="16103" y="5627"/>
                    </a:lnTo>
                    <a:lnTo>
                      <a:pt x="16103" y="5627"/>
                    </a:lnTo>
                    <a:cubicBezTo>
                      <a:pt x="16103" y="5627"/>
                      <a:pt x="16103" y="5627"/>
                      <a:pt x="16103" y="5627"/>
                    </a:cubicBezTo>
                    <a:cubicBezTo>
                      <a:pt x="15934" y="5726"/>
                      <a:pt x="15756" y="5810"/>
                      <a:pt x="15573" y="5877"/>
                    </a:cubicBezTo>
                    <a:cubicBezTo>
                      <a:pt x="15573" y="5877"/>
                      <a:pt x="15573" y="5877"/>
                      <a:pt x="15573" y="5877"/>
                    </a:cubicBezTo>
                    <a:cubicBezTo>
                      <a:pt x="15573" y="5877"/>
                      <a:pt x="15479" y="5877"/>
                      <a:pt x="15463" y="5877"/>
                    </a:cubicBezTo>
                    <a:lnTo>
                      <a:pt x="15463" y="5877"/>
                    </a:lnTo>
                    <a:cubicBezTo>
                      <a:pt x="15406" y="5898"/>
                      <a:pt x="15353" y="5930"/>
                      <a:pt x="15308" y="5970"/>
                    </a:cubicBezTo>
                    <a:lnTo>
                      <a:pt x="15308" y="5970"/>
                    </a:lnTo>
                    <a:cubicBezTo>
                      <a:pt x="15308" y="5970"/>
                      <a:pt x="15089" y="6126"/>
                      <a:pt x="15183" y="6095"/>
                    </a:cubicBezTo>
                    <a:lnTo>
                      <a:pt x="15183" y="6095"/>
                    </a:lnTo>
                    <a:lnTo>
                      <a:pt x="15183" y="6095"/>
                    </a:lnTo>
                    <a:lnTo>
                      <a:pt x="15183" y="6095"/>
                    </a:lnTo>
                    <a:cubicBezTo>
                      <a:pt x="15183" y="6095"/>
                      <a:pt x="15183" y="6095"/>
                      <a:pt x="15183" y="6095"/>
                    </a:cubicBezTo>
                    <a:lnTo>
                      <a:pt x="15323" y="6095"/>
                    </a:lnTo>
                    <a:lnTo>
                      <a:pt x="15089" y="6220"/>
                    </a:lnTo>
                    <a:lnTo>
                      <a:pt x="15089" y="6220"/>
                    </a:lnTo>
                    <a:cubicBezTo>
                      <a:pt x="15089" y="6220"/>
                      <a:pt x="14933" y="6220"/>
                      <a:pt x="14871" y="6344"/>
                    </a:cubicBezTo>
                    <a:cubicBezTo>
                      <a:pt x="14809" y="6469"/>
                      <a:pt x="14980" y="6344"/>
                      <a:pt x="15027" y="6344"/>
                    </a:cubicBezTo>
                    <a:cubicBezTo>
                      <a:pt x="14873" y="6412"/>
                      <a:pt x="14727" y="6496"/>
                      <a:pt x="14590" y="6594"/>
                    </a:cubicBezTo>
                    <a:lnTo>
                      <a:pt x="14590" y="6594"/>
                    </a:lnTo>
                    <a:lnTo>
                      <a:pt x="14590" y="6594"/>
                    </a:lnTo>
                    <a:cubicBezTo>
                      <a:pt x="14808" y="6458"/>
                      <a:pt x="15037" y="6343"/>
                      <a:pt x="15276" y="6251"/>
                    </a:cubicBezTo>
                    <a:lnTo>
                      <a:pt x="15276" y="6251"/>
                    </a:lnTo>
                    <a:cubicBezTo>
                      <a:pt x="15276" y="6251"/>
                      <a:pt x="15276" y="6251"/>
                      <a:pt x="15276" y="6251"/>
                    </a:cubicBezTo>
                    <a:lnTo>
                      <a:pt x="15276" y="6251"/>
                    </a:lnTo>
                    <a:lnTo>
                      <a:pt x="15370" y="6251"/>
                    </a:lnTo>
                    <a:lnTo>
                      <a:pt x="15276" y="6251"/>
                    </a:lnTo>
                    <a:cubicBezTo>
                      <a:pt x="15276" y="6251"/>
                      <a:pt x="15417" y="6157"/>
                      <a:pt x="15479" y="6157"/>
                    </a:cubicBezTo>
                    <a:lnTo>
                      <a:pt x="15479" y="6157"/>
                    </a:lnTo>
                    <a:cubicBezTo>
                      <a:pt x="15479" y="6157"/>
                      <a:pt x="15713" y="6064"/>
                      <a:pt x="15573" y="6157"/>
                    </a:cubicBezTo>
                    <a:lnTo>
                      <a:pt x="15463" y="6157"/>
                    </a:lnTo>
                    <a:cubicBezTo>
                      <a:pt x="15494" y="6149"/>
                      <a:pt x="15526" y="6149"/>
                      <a:pt x="15557" y="6157"/>
                    </a:cubicBezTo>
                    <a:lnTo>
                      <a:pt x="15448" y="6157"/>
                    </a:lnTo>
                    <a:lnTo>
                      <a:pt x="15448" y="6157"/>
                    </a:lnTo>
                    <a:cubicBezTo>
                      <a:pt x="15448" y="6157"/>
                      <a:pt x="15448" y="6157"/>
                      <a:pt x="15323" y="6157"/>
                    </a:cubicBezTo>
                    <a:cubicBezTo>
                      <a:pt x="15198" y="6157"/>
                      <a:pt x="15495" y="6157"/>
                      <a:pt x="15432" y="6157"/>
                    </a:cubicBezTo>
                    <a:cubicBezTo>
                      <a:pt x="15522" y="6121"/>
                      <a:pt x="15623" y="6121"/>
                      <a:pt x="15713" y="6157"/>
                    </a:cubicBezTo>
                    <a:lnTo>
                      <a:pt x="15713" y="6157"/>
                    </a:lnTo>
                    <a:cubicBezTo>
                      <a:pt x="15541" y="6282"/>
                      <a:pt x="15339" y="6376"/>
                      <a:pt x="15152" y="6485"/>
                    </a:cubicBezTo>
                    <a:lnTo>
                      <a:pt x="15152" y="6485"/>
                    </a:lnTo>
                    <a:lnTo>
                      <a:pt x="15152" y="6485"/>
                    </a:lnTo>
                    <a:lnTo>
                      <a:pt x="15152" y="6485"/>
                    </a:lnTo>
                    <a:cubicBezTo>
                      <a:pt x="15152" y="6485"/>
                      <a:pt x="15152" y="6485"/>
                      <a:pt x="15152" y="6485"/>
                    </a:cubicBezTo>
                    <a:lnTo>
                      <a:pt x="15152" y="6485"/>
                    </a:lnTo>
                    <a:lnTo>
                      <a:pt x="15152" y="6485"/>
                    </a:lnTo>
                    <a:lnTo>
                      <a:pt x="14933" y="6625"/>
                    </a:lnTo>
                    <a:lnTo>
                      <a:pt x="14933" y="6625"/>
                    </a:lnTo>
                    <a:cubicBezTo>
                      <a:pt x="14933" y="6625"/>
                      <a:pt x="14933" y="6625"/>
                      <a:pt x="14933" y="6703"/>
                    </a:cubicBezTo>
                    <a:lnTo>
                      <a:pt x="15074" y="6703"/>
                    </a:lnTo>
                    <a:lnTo>
                      <a:pt x="15074" y="6703"/>
                    </a:lnTo>
                    <a:lnTo>
                      <a:pt x="15074" y="6796"/>
                    </a:lnTo>
                    <a:cubicBezTo>
                      <a:pt x="15074" y="6796"/>
                      <a:pt x="15074" y="6796"/>
                      <a:pt x="15074" y="6796"/>
                    </a:cubicBezTo>
                    <a:lnTo>
                      <a:pt x="15074" y="6796"/>
                    </a:lnTo>
                    <a:cubicBezTo>
                      <a:pt x="15385" y="6594"/>
                      <a:pt x="15167" y="6796"/>
                      <a:pt x="15074" y="6890"/>
                    </a:cubicBezTo>
                    <a:cubicBezTo>
                      <a:pt x="15183" y="6890"/>
                      <a:pt x="15276" y="6703"/>
                      <a:pt x="15401" y="6656"/>
                    </a:cubicBezTo>
                    <a:lnTo>
                      <a:pt x="15401" y="6656"/>
                    </a:lnTo>
                    <a:cubicBezTo>
                      <a:pt x="15401" y="6656"/>
                      <a:pt x="15682" y="6485"/>
                      <a:pt x="15526" y="6656"/>
                    </a:cubicBezTo>
                    <a:lnTo>
                      <a:pt x="15650" y="6656"/>
                    </a:lnTo>
                    <a:lnTo>
                      <a:pt x="15557" y="6656"/>
                    </a:lnTo>
                    <a:cubicBezTo>
                      <a:pt x="15557" y="6656"/>
                      <a:pt x="15557" y="6656"/>
                      <a:pt x="15557" y="6656"/>
                    </a:cubicBezTo>
                    <a:cubicBezTo>
                      <a:pt x="15557" y="6656"/>
                      <a:pt x="15448" y="6656"/>
                      <a:pt x="15417" y="6750"/>
                    </a:cubicBezTo>
                    <a:lnTo>
                      <a:pt x="15417" y="6750"/>
                    </a:lnTo>
                    <a:cubicBezTo>
                      <a:pt x="15417" y="6750"/>
                      <a:pt x="15323" y="6750"/>
                      <a:pt x="15308" y="6750"/>
                    </a:cubicBezTo>
                    <a:cubicBezTo>
                      <a:pt x="15619" y="6641"/>
                      <a:pt x="15198" y="6750"/>
                      <a:pt x="15074" y="6874"/>
                    </a:cubicBezTo>
                    <a:lnTo>
                      <a:pt x="15074" y="6874"/>
                    </a:lnTo>
                    <a:lnTo>
                      <a:pt x="14902" y="6968"/>
                    </a:lnTo>
                    <a:lnTo>
                      <a:pt x="14902" y="6968"/>
                    </a:lnTo>
                    <a:lnTo>
                      <a:pt x="14778" y="6968"/>
                    </a:lnTo>
                    <a:cubicBezTo>
                      <a:pt x="14918" y="6968"/>
                      <a:pt x="14778" y="6968"/>
                      <a:pt x="14778" y="6968"/>
                    </a:cubicBezTo>
                    <a:lnTo>
                      <a:pt x="14778" y="6968"/>
                    </a:lnTo>
                    <a:lnTo>
                      <a:pt x="14637" y="6968"/>
                    </a:lnTo>
                    <a:lnTo>
                      <a:pt x="14637" y="6968"/>
                    </a:lnTo>
                    <a:lnTo>
                      <a:pt x="14637" y="6968"/>
                    </a:lnTo>
                    <a:lnTo>
                      <a:pt x="14637" y="6968"/>
                    </a:lnTo>
                    <a:cubicBezTo>
                      <a:pt x="14544" y="6968"/>
                      <a:pt x="14450" y="7108"/>
                      <a:pt x="14357" y="7139"/>
                    </a:cubicBezTo>
                    <a:cubicBezTo>
                      <a:pt x="14263" y="7171"/>
                      <a:pt x="14497" y="7046"/>
                      <a:pt x="14559" y="7030"/>
                    </a:cubicBezTo>
                    <a:cubicBezTo>
                      <a:pt x="14622" y="7015"/>
                      <a:pt x="14559" y="7030"/>
                      <a:pt x="14559" y="7030"/>
                    </a:cubicBezTo>
                    <a:cubicBezTo>
                      <a:pt x="14640" y="6992"/>
                      <a:pt x="14723" y="6961"/>
                      <a:pt x="14809" y="6937"/>
                    </a:cubicBezTo>
                    <a:lnTo>
                      <a:pt x="14700" y="6937"/>
                    </a:lnTo>
                    <a:cubicBezTo>
                      <a:pt x="14871" y="6859"/>
                      <a:pt x="15027" y="6734"/>
                      <a:pt x="15198" y="6672"/>
                    </a:cubicBezTo>
                    <a:lnTo>
                      <a:pt x="15198" y="6672"/>
                    </a:lnTo>
                    <a:lnTo>
                      <a:pt x="15198" y="6672"/>
                    </a:lnTo>
                    <a:cubicBezTo>
                      <a:pt x="15406" y="6614"/>
                      <a:pt x="15605" y="6531"/>
                      <a:pt x="15791" y="6422"/>
                    </a:cubicBezTo>
                    <a:cubicBezTo>
                      <a:pt x="15791" y="6422"/>
                      <a:pt x="15791" y="6422"/>
                      <a:pt x="15666" y="6422"/>
                    </a:cubicBezTo>
                    <a:lnTo>
                      <a:pt x="15666" y="6422"/>
                    </a:lnTo>
                    <a:cubicBezTo>
                      <a:pt x="15760" y="6422"/>
                      <a:pt x="16118" y="6204"/>
                      <a:pt x="15900" y="6344"/>
                    </a:cubicBezTo>
                    <a:cubicBezTo>
                      <a:pt x="16056" y="6344"/>
                      <a:pt x="16056" y="6189"/>
                      <a:pt x="16196" y="6142"/>
                    </a:cubicBezTo>
                    <a:cubicBezTo>
                      <a:pt x="16056" y="6142"/>
                      <a:pt x="16196" y="6142"/>
                      <a:pt x="16196" y="6142"/>
                    </a:cubicBezTo>
                    <a:lnTo>
                      <a:pt x="16196" y="6142"/>
                    </a:lnTo>
                    <a:cubicBezTo>
                      <a:pt x="16368" y="6015"/>
                      <a:pt x="16564" y="5925"/>
                      <a:pt x="16773" y="5877"/>
                    </a:cubicBezTo>
                    <a:lnTo>
                      <a:pt x="16773" y="5877"/>
                    </a:lnTo>
                    <a:cubicBezTo>
                      <a:pt x="16936" y="5775"/>
                      <a:pt x="17115" y="5701"/>
                      <a:pt x="17303" y="5659"/>
                    </a:cubicBezTo>
                    <a:lnTo>
                      <a:pt x="17162" y="5736"/>
                    </a:lnTo>
                    <a:cubicBezTo>
                      <a:pt x="17334" y="5736"/>
                      <a:pt x="17459" y="5581"/>
                      <a:pt x="17630" y="5549"/>
                    </a:cubicBezTo>
                    <a:lnTo>
                      <a:pt x="17459" y="5674"/>
                    </a:lnTo>
                    <a:cubicBezTo>
                      <a:pt x="18410" y="5097"/>
                      <a:pt x="20000" y="4536"/>
                      <a:pt x="18425" y="5362"/>
                    </a:cubicBezTo>
                    <a:cubicBezTo>
                      <a:pt x="18675" y="5284"/>
                      <a:pt x="19267" y="4910"/>
                      <a:pt x="19080" y="5129"/>
                    </a:cubicBezTo>
                    <a:cubicBezTo>
                      <a:pt x="19766" y="4895"/>
                      <a:pt x="18721" y="5456"/>
                      <a:pt x="18425" y="5581"/>
                    </a:cubicBezTo>
                    <a:cubicBezTo>
                      <a:pt x="18784" y="5456"/>
                      <a:pt x="18425" y="5581"/>
                      <a:pt x="18425" y="5581"/>
                    </a:cubicBezTo>
                    <a:cubicBezTo>
                      <a:pt x="18425" y="5581"/>
                      <a:pt x="18659" y="5425"/>
                      <a:pt x="18519" y="5581"/>
                    </a:cubicBezTo>
                    <a:cubicBezTo>
                      <a:pt x="18752" y="5316"/>
                      <a:pt x="18986" y="5581"/>
                      <a:pt x="18597" y="5659"/>
                    </a:cubicBezTo>
                    <a:cubicBezTo>
                      <a:pt x="18557" y="5643"/>
                      <a:pt x="18512" y="5643"/>
                      <a:pt x="18472" y="5659"/>
                    </a:cubicBezTo>
                    <a:cubicBezTo>
                      <a:pt x="18706" y="5659"/>
                      <a:pt x="18378" y="5736"/>
                      <a:pt x="18300" y="5768"/>
                    </a:cubicBezTo>
                    <a:cubicBezTo>
                      <a:pt x="18893" y="5581"/>
                      <a:pt x="17802" y="6033"/>
                      <a:pt x="18456" y="5768"/>
                    </a:cubicBezTo>
                    <a:cubicBezTo>
                      <a:pt x="17630" y="6126"/>
                      <a:pt x="18830" y="5768"/>
                      <a:pt x="18020" y="6095"/>
                    </a:cubicBezTo>
                    <a:cubicBezTo>
                      <a:pt x="18020" y="6189"/>
                      <a:pt x="18020" y="6095"/>
                      <a:pt x="18238" y="6095"/>
                    </a:cubicBezTo>
                    <a:cubicBezTo>
                      <a:pt x="18120" y="6184"/>
                      <a:pt x="17989" y="6252"/>
                      <a:pt x="17848" y="6298"/>
                    </a:cubicBezTo>
                    <a:cubicBezTo>
                      <a:pt x="17755" y="6298"/>
                      <a:pt x="18534" y="6298"/>
                      <a:pt x="17692" y="6485"/>
                    </a:cubicBezTo>
                    <a:cubicBezTo>
                      <a:pt x="17599" y="6485"/>
                      <a:pt x="18113" y="6485"/>
                      <a:pt x="17568" y="6594"/>
                    </a:cubicBezTo>
                    <a:cubicBezTo>
                      <a:pt x="18020" y="6438"/>
                      <a:pt x="18082" y="6594"/>
                      <a:pt x="17568" y="6672"/>
                    </a:cubicBezTo>
                    <a:cubicBezTo>
                      <a:pt x="17770" y="6843"/>
                      <a:pt x="17474" y="6890"/>
                      <a:pt x="17568" y="6828"/>
                    </a:cubicBezTo>
                    <a:cubicBezTo>
                      <a:pt x="17318" y="6828"/>
                      <a:pt x="17568" y="7030"/>
                      <a:pt x="17287" y="6921"/>
                    </a:cubicBezTo>
                    <a:cubicBezTo>
                      <a:pt x="17116" y="7217"/>
                      <a:pt x="17412" y="7046"/>
                      <a:pt x="17116" y="7186"/>
                    </a:cubicBezTo>
                    <a:cubicBezTo>
                      <a:pt x="17350" y="7108"/>
                      <a:pt x="16929" y="7436"/>
                      <a:pt x="17116" y="7295"/>
                    </a:cubicBezTo>
                    <a:cubicBezTo>
                      <a:pt x="16820" y="7591"/>
                      <a:pt x="17381" y="7124"/>
                      <a:pt x="16975" y="7623"/>
                    </a:cubicBezTo>
                    <a:cubicBezTo>
                      <a:pt x="16773" y="7732"/>
                      <a:pt x="17303" y="7623"/>
                      <a:pt x="16835" y="7794"/>
                    </a:cubicBezTo>
                    <a:cubicBezTo>
                      <a:pt x="17178" y="7654"/>
                      <a:pt x="16913" y="8137"/>
                      <a:pt x="16695" y="8012"/>
                    </a:cubicBezTo>
                    <a:cubicBezTo>
                      <a:pt x="16695" y="8137"/>
                      <a:pt x="16555" y="8231"/>
                      <a:pt x="16508" y="8137"/>
                    </a:cubicBezTo>
                    <a:cubicBezTo>
                      <a:pt x="16461" y="8044"/>
                      <a:pt x="16352" y="8309"/>
                      <a:pt x="16508" y="8137"/>
                    </a:cubicBezTo>
                    <a:cubicBezTo>
                      <a:pt x="16664" y="7966"/>
                      <a:pt x="16056" y="8574"/>
                      <a:pt x="16196" y="8309"/>
                    </a:cubicBezTo>
                    <a:cubicBezTo>
                      <a:pt x="16071" y="8137"/>
                      <a:pt x="16492" y="7903"/>
                      <a:pt x="16539" y="7810"/>
                    </a:cubicBezTo>
                    <a:cubicBezTo>
                      <a:pt x="16258" y="7966"/>
                      <a:pt x="16430" y="7810"/>
                      <a:pt x="16539" y="7654"/>
                    </a:cubicBezTo>
                    <a:cubicBezTo>
                      <a:pt x="16648" y="7498"/>
                      <a:pt x="16305" y="7841"/>
                      <a:pt x="16383" y="7654"/>
                    </a:cubicBezTo>
                    <a:cubicBezTo>
                      <a:pt x="16118" y="7903"/>
                      <a:pt x="15962" y="7934"/>
                      <a:pt x="15869" y="8309"/>
                    </a:cubicBezTo>
                    <a:cubicBezTo>
                      <a:pt x="15775" y="8683"/>
                      <a:pt x="15261" y="9135"/>
                      <a:pt x="15198" y="8932"/>
                    </a:cubicBezTo>
                    <a:cubicBezTo>
                      <a:pt x="15136" y="8729"/>
                      <a:pt x="15308" y="8823"/>
                      <a:pt x="15198" y="8527"/>
                    </a:cubicBezTo>
                    <a:cubicBezTo>
                      <a:pt x="14996" y="8885"/>
                      <a:pt x="14996" y="9353"/>
                      <a:pt x="14996" y="9353"/>
                    </a:cubicBezTo>
                    <a:cubicBezTo>
                      <a:pt x="14357" y="9493"/>
                      <a:pt x="15105" y="8262"/>
                      <a:pt x="15245" y="8231"/>
                    </a:cubicBezTo>
                    <a:cubicBezTo>
                      <a:pt x="14996" y="8324"/>
                      <a:pt x="15245" y="8231"/>
                      <a:pt x="15027" y="8231"/>
                    </a:cubicBezTo>
                    <a:cubicBezTo>
                      <a:pt x="15136" y="8075"/>
                      <a:pt x="14871" y="8309"/>
                      <a:pt x="14793" y="8231"/>
                    </a:cubicBezTo>
                    <a:cubicBezTo>
                      <a:pt x="14715" y="8153"/>
                      <a:pt x="15432" y="7607"/>
                      <a:pt x="15292" y="7981"/>
                    </a:cubicBezTo>
                    <a:cubicBezTo>
                      <a:pt x="16617" y="7701"/>
                      <a:pt x="17427" y="6422"/>
                      <a:pt x="17724" y="6111"/>
                    </a:cubicBezTo>
                    <a:cubicBezTo>
                      <a:pt x="17272" y="6485"/>
                      <a:pt x="17396" y="6111"/>
                      <a:pt x="17225" y="6111"/>
                    </a:cubicBezTo>
                    <a:cubicBezTo>
                      <a:pt x="17053" y="6111"/>
                      <a:pt x="17459" y="5970"/>
                      <a:pt x="17225" y="5955"/>
                    </a:cubicBezTo>
                    <a:cubicBezTo>
                      <a:pt x="17427" y="5736"/>
                      <a:pt x="17225" y="5955"/>
                      <a:pt x="17225" y="5783"/>
                    </a:cubicBezTo>
                    <a:lnTo>
                      <a:pt x="17318" y="5783"/>
                    </a:lnTo>
                    <a:lnTo>
                      <a:pt x="17178" y="5861"/>
                    </a:lnTo>
                    <a:cubicBezTo>
                      <a:pt x="16944" y="5970"/>
                      <a:pt x="16726" y="6111"/>
                      <a:pt x="16492" y="6235"/>
                    </a:cubicBezTo>
                    <a:lnTo>
                      <a:pt x="16492" y="6235"/>
                    </a:lnTo>
                    <a:lnTo>
                      <a:pt x="16601" y="6235"/>
                    </a:lnTo>
                    <a:lnTo>
                      <a:pt x="16555" y="6235"/>
                    </a:lnTo>
                    <a:lnTo>
                      <a:pt x="16555" y="6235"/>
                    </a:lnTo>
                    <a:cubicBezTo>
                      <a:pt x="16555" y="6313"/>
                      <a:pt x="16321" y="6235"/>
                      <a:pt x="16243" y="6376"/>
                    </a:cubicBezTo>
                    <a:lnTo>
                      <a:pt x="16243" y="6376"/>
                    </a:lnTo>
                    <a:lnTo>
                      <a:pt x="16243" y="6376"/>
                    </a:lnTo>
                    <a:lnTo>
                      <a:pt x="16336" y="6376"/>
                    </a:lnTo>
                    <a:cubicBezTo>
                      <a:pt x="16336" y="6376"/>
                      <a:pt x="16336" y="6376"/>
                      <a:pt x="16336" y="6376"/>
                    </a:cubicBezTo>
                    <a:lnTo>
                      <a:pt x="16336" y="6376"/>
                    </a:lnTo>
                    <a:cubicBezTo>
                      <a:pt x="16336" y="6376"/>
                      <a:pt x="16227" y="6376"/>
                      <a:pt x="16180" y="6376"/>
                    </a:cubicBezTo>
                    <a:lnTo>
                      <a:pt x="16180" y="6376"/>
                    </a:lnTo>
                    <a:lnTo>
                      <a:pt x="16180" y="6376"/>
                    </a:lnTo>
                    <a:cubicBezTo>
                      <a:pt x="15993" y="6516"/>
                      <a:pt x="15791" y="6625"/>
                      <a:pt x="15588" y="6750"/>
                    </a:cubicBezTo>
                    <a:lnTo>
                      <a:pt x="15822" y="6656"/>
                    </a:lnTo>
                    <a:lnTo>
                      <a:pt x="15822" y="6656"/>
                    </a:lnTo>
                    <a:lnTo>
                      <a:pt x="16212" y="6454"/>
                    </a:lnTo>
                    <a:cubicBezTo>
                      <a:pt x="16065" y="6587"/>
                      <a:pt x="15903" y="6702"/>
                      <a:pt x="15728" y="6796"/>
                    </a:cubicBezTo>
                    <a:lnTo>
                      <a:pt x="15728" y="6796"/>
                    </a:lnTo>
                    <a:cubicBezTo>
                      <a:pt x="15496" y="6904"/>
                      <a:pt x="15285" y="7052"/>
                      <a:pt x="15105" y="7233"/>
                    </a:cubicBezTo>
                    <a:cubicBezTo>
                      <a:pt x="15105" y="7233"/>
                      <a:pt x="15198" y="7155"/>
                      <a:pt x="15245" y="7155"/>
                    </a:cubicBezTo>
                    <a:lnTo>
                      <a:pt x="15245" y="7155"/>
                    </a:lnTo>
                    <a:lnTo>
                      <a:pt x="16040" y="6750"/>
                    </a:lnTo>
                    <a:lnTo>
                      <a:pt x="16040" y="6750"/>
                    </a:lnTo>
                    <a:lnTo>
                      <a:pt x="16040" y="6750"/>
                    </a:lnTo>
                    <a:cubicBezTo>
                      <a:pt x="16040" y="6750"/>
                      <a:pt x="16040" y="6656"/>
                      <a:pt x="16165" y="6672"/>
                    </a:cubicBezTo>
                    <a:lnTo>
                      <a:pt x="16165" y="6672"/>
                    </a:lnTo>
                    <a:cubicBezTo>
                      <a:pt x="16165" y="6672"/>
                      <a:pt x="16165" y="6672"/>
                      <a:pt x="16274" y="6672"/>
                    </a:cubicBezTo>
                    <a:lnTo>
                      <a:pt x="16274" y="6672"/>
                    </a:lnTo>
                    <a:lnTo>
                      <a:pt x="16664" y="6454"/>
                    </a:lnTo>
                    <a:cubicBezTo>
                      <a:pt x="16664" y="6454"/>
                      <a:pt x="16664" y="6454"/>
                      <a:pt x="16664" y="6594"/>
                    </a:cubicBezTo>
                    <a:lnTo>
                      <a:pt x="16664" y="6594"/>
                    </a:lnTo>
                    <a:cubicBezTo>
                      <a:pt x="16645" y="6644"/>
                      <a:pt x="16605" y="6684"/>
                      <a:pt x="16555" y="6703"/>
                    </a:cubicBezTo>
                    <a:cubicBezTo>
                      <a:pt x="16555" y="6625"/>
                      <a:pt x="16555" y="6781"/>
                      <a:pt x="16430" y="6796"/>
                    </a:cubicBezTo>
                    <a:cubicBezTo>
                      <a:pt x="16305" y="6812"/>
                      <a:pt x="16305" y="6921"/>
                      <a:pt x="16243" y="6921"/>
                    </a:cubicBezTo>
                    <a:cubicBezTo>
                      <a:pt x="16180" y="6921"/>
                      <a:pt x="16243" y="6921"/>
                      <a:pt x="16243" y="6921"/>
                    </a:cubicBezTo>
                    <a:lnTo>
                      <a:pt x="16243" y="6921"/>
                    </a:lnTo>
                    <a:cubicBezTo>
                      <a:pt x="16243" y="6921"/>
                      <a:pt x="15978" y="7046"/>
                      <a:pt x="16056" y="6921"/>
                    </a:cubicBezTo>
                    <a:lnTo>
                      <a:pt x="16056" y="6921"/>
                    </a:lnTo>
                    <a:cubicBezTo>
                      <a:pt x="16056" y="6921"/>
                      <a:pt x="16056" y="6999"/>
                      <a:pt x="15915" y="7015"/>
                    </a:cubicBezTo>
                    <a:lnTo>
                      <a:pt x="15915" y="7015"/>
                    </a:lnTo>
                    <a:cubicBezTo>
                      <a:pt x="15915" y="7015"/>
                      <a:pt x="15806" y="7015"/>
                      <a:pt x="15915" y="7015"/>
                    </a:cubicBezTo>
                    <a:cubicBezTo>
                      <a:pt x="15629" y="7264"/>
                      <a:pt x="15287" y="7441"/>
                      <a:pt x="14918" y="7529"/>
                    </a:cubicBezTo>
                    <a:cubicBezTo>
                      <a:pt x="14943" y="7513"/>
                      <a:pt x="14969" y="7497"/>
                      <a:pt x="14996" y="7482"/>
                    </a:cubicBezTo>
                    <a:lnTo>
                      <a:pt x="14996" y="7482"/>
                    </a:lnTo>
                    <a:lnTo>
                      <a:pt x="15120" y="7373"/>
                    </a:lnTo>
                    <a:lnTo>
                      <a:pt x="15120" y="7373"/>
                    </a:lnTo>
                    <a:cubicBezTo>
                      <a:pt x="15120" y="7373"/>
                      <a:pt x="14965" y="7451"/>
                      <a:pt x="15120" y="7373"/>
                    </a:cubicBezTo>
                    <a:cubicBezTo>
                      <a:pt x="15026" y="7487"/>
                      <a:pt x="14916" y="7587"/>
                      <a:pt x="14793" y="7669"/>
                    </a:cubicBezTo>
                    <a:lnTo>
                      <a:pt x="14887" y="7529"/>
                    </a:lnTo>
                    <a:cubicBezTo>
                      <a:pt x="14887" y="7529"/>
                      <a:pt x="14887" y="7607"/>
                      <a:pt x="14778" y="7623"/>
                    </a:cubicBezTo>
                    <a:cubicBezTo>
                      <a:pt x="14668" y="7638"/>
                      <a:pt x="14778" y="7623"/>
                      <a:pt x="14778" y="7623"/>
                    </a:cubicBezTo>
                    <a:lnTo>
                      <a:pt x="14778" y="7623"/>
                    </a:lnTo>
                    <a:lnTo>
                      <a:pt x="14918" y="7514"/>
                    </a:lnTo>
                    <a:cubicBezTo>
                      <a:pt x="14918" y="7514"/>
                      <a:pt x="14824" y="7514"/>
                      <a:pt x="14918" y="7514"/>
                    </a:cubicBezTo>
                    <a:lnTo>
                      <a:pt x="14918" y="7514"/>
                    </a:lnTo>
                    <a:lnTo>
                      <a:pt x="14918" y="7514"/>
                    </a:lnTo>
                    <a:cubicBezTo>
                      <a:pt x="14757" y="7658"/>
                      <a:pt x="14572" y="7774"/>
                      <a:pt x="14372" y="7856"/>
                    </a:cubicBezTo>
                    <a:lnTo>
                      <a:pt x="14372" y="7856"/>
                    </a:lnTo>
                    <a:cubicBezTo>
                      <a:pt x="14076" y="8028"/>
                      <a:pt x="14372" y="7732"/>
                      <a:pt x="14372" y="7591"/>
                    </a:cubicBezTo>
                    <a:cubicBezTo>
                      <a:pt x="14107" y="7747"/>
                      <a:pt x="14170" y="8028"/>
                      <a:pt x="13873" y="8106"/>
                    </a:cubicBezTo>
                    <a:lnTo>
                      <a:pt x="13873" y="8106"/>
                    </a:lnTo>
                    <a:lnTo>
                      <a:pt x="13468" y="8293"/>
                    </a:lnTo>
                    <a:cubicBezTo>
                      <a:pt x="13468" y="8293"/>
                      <a:pt x="13468" y="8293"/>
                      <a:pt x="13468" y="8293"/>
                    </a:cubicBezTo>
                    <a:lnTo>
                      <a:pt x="13468" y="8293"/>
                    </a:lnTo>
                    <a:lnTo>
                      <a:pt x="13468" y="8293"/>
                    </a:lnTo>
                    <a:cubicBezTo>
                      <a:pt x="13468" y="8293"/>
                      <a:pt x="13468" y="8293"/>
                      <a:pt x="13577" y="8199"/>
                    </a:cubicBezTo>
                    <a:cubicBezTo>
                      <a:pt x="13686" y="8106"/>
                      <a:pt x="13468" y="8199"/>
                      <a:pt x="13437" y="8277"/>
                    </a:cubicBezTo>
                    <a:cubicBezTo>
                      <a:pt x="13475" y="8255"/>
                      <a:pt x="13508" y="8223"/>
                      <a:pt x="13530" y="8184"/>
                    </a:cubicBezTo>
                    <a:cubicBezTo>
                      <a:pt x="13530" y="8184"/>
                      <a:pt x="13172" y="8480"/>
                      <a:pt x="13328" y="8293"/>
                    </a:cubicBezTo>
                    <a:lnTo>
                      <a:pt x="13188" y="8402"/>
                    </a:lnTo>
                    <a:cubicBezTo>
                      <a:pt x="13251" y="8269"/>
                      <a:pt x="13329" y="8143"/>
                      <a:pt x="13421" y="8028"/>
                    </a:cubicBezTo>
                    <a:lnTo>
                      <a:pt x="13421" y="8028"/>
                    </a:lnTo>
                    <a:lnTo>
                      <a:pt x="13421" y="8028"/>
                    </a:lnTo>
                    <a:lnTo>
                      <a:pt x="13343" y="8121"/>
                    </a:lnTo>
                    <a:cubicBezTo>
                      <a:pt x="13530" y="7981"/>
                      <a:pt x="13250" y="8293"/>
                      <a:pt x="13203" y="8277"/>
                    </a:cubicBezTo>
                    <a:lnTo>
                      <a:pt x="13328" y="8277"/>
                    </a:lnTo>
                    <a:cubicBezTo>
                      <a:pt x="13203" y="8496"/>
                      <a:pt x="12704" y="8761"/>
                      <a:pt x="13078" y="8277"/>
                    </a:cubicBezTo>
                    <a:cubicBezTo>
                      <a:pt x="12954" y="8355"/>
                      <a:pt x="12891" y="8496"/>
                      <a:pt x="12782" y="8574"/>
                    </a:cubicBezTo>
                    <a:lnTo>
                      <a:pt x="12782" y="8574"/>
                    </a:lnTo>
                    <a:lnTo>
                      <a:pt x="12782" y="8574"/>
                    </a:lnTo>
                    <a:lnTo>
                      <a:pt x="12782" y="8574"/>
                    </a:lnTo>
                    <a:lnTo>
                      <a:pt x="12642" y="8698"/>
                    </a:lnTo>
                    <a:cubicBezTo>
                      <a:pt x="12642" y="8698"/>
                      <a:pt x="12642" y="8698"/>
                      <a:pt x="12642" y="8698"/>
                    </a:cubicBezTo>
                    <a:cubicBezTo>
                      <a:pt x="12642" y="8698"/>
                      <a:pt x="12533" y="8698"/>
                      <a:pt x="12502" y="8698"/>
                    </a:cubicBezTo>
                    <a:cubicBezTo>
                      <a:pt x="12470" y="8698"/>
                      <a:pt x="12034" y="8994"/>
                      <a:pt x="11909" y="9026"/>
                    </a:cubicBezTo>
                    <a:lnTo>
                      <a:pt x="11909" y="9026"/>
                    </a:lnTo>
                    <a:cubicBezTo>
                      <a:pt x="11559" y="9339"/>
                      <a:pt x="11189" y="9631"/>
                      <a:pt x="10803" y="9899"/>
                    </a:cubicBezTo>
                    <a:cubicBezTo>
                      <a:pt x="11707" y="9306"/>
                      <a:pt x="10662" y="10351"/>
                      <a:pt x="10460" y="10351"/>
                    </a:cubicBezTo>
                    <a:cubicBezTo>
                      <a:pt x="10865" y="10351"/>
                      <a:pt x="10647" y="10694"/>
                      <a:pt x="10460" y="10974"/>
                    </a:cubicBezTo>
                    <a:lnTo>
                      <a:pt x="10460" y="10974"/>
                    </a:lnTo>
                    <a:cubicBezTo>
                      <a:pt x="10447" y="11120"/>
                      <a:pt x="10410" y="11262"/>
                      <a:pt x="10350" y="11395"/>
                    </a:cubicBezTo>
                    <a:cubicBezTo>
                      <a:pt x="10460" y="11395"/>
                      <a:pt x="10444" y="11520"/>
                      <a:pt x="10553" y="11520"/>
                    </a:cubicBezTo>
                    <a:lnTo>
                      <a:pt x="10553" y="11520"/>
                    </a:lnTo>
                    <a:cubicBezTo>
                      <a:pt x="10113" y="11959"/>
                      <a:pt x="9735" y="12458"/>
                      <a:pt x="9431" y="13001"/>
                    </a:cubicBezTo>
                    <a:cubicBezTo>
                      <a:pt x="9618" y="13001"/>
                      <a:pt x="9571" y="13001"/>
                      <a:pt x="9758" y="12876"/>
                    </a:cubicBezTo>
                    <a:cubicBezTo>
                      <a:pt x="9758" y="12954"/>
                      <a:pt x="9571" y="13110"/>
                      <a:pt x="9665" y="13172"/>
                    </a:cubicBezTo>
                    <a:cubicBezTo>
                      <a:pt x="10043" y="12406"/>
                      <a:pt x="10669" y="11791"/>
                      <a:pt x="11442" y="11426"/>
                    </a:cubicBezTo>
                    <a:cubicBezTo>
                      <a:pt x="11894" y="10912"/>
                      <a:pt x="12237" y="10288"/>
                      <a:pt x="12704" y="10117"/>
                    </a:cubicBezTo>
                    <a:lnTo>
                      <a:pt x="12704" y="10117"/>
                    </a:lnTo>
                    <a:cubicBezTo>
                      <a:pt x="12782" y="10117"/>
                      <a:pt x="12813" y="9961"/>
                      <a:pt x="12891" y="9961"/>
                    </a:cubicBezTo>
                    <a:cubicBezTo>
                      <a:pt x="12969" y="9961"/>
                      <a:pt x="12891" y="9867"/>
                      <a:pt x="13000" y="9852"/>
                    </a:cubicBezTo>
                    <a:cubicBezTo>
                      <a:pt x="13110" y="9836"/>
                      <a:pt x="14060" y="8901"/>
                      <a:pt x="13686" y="9446"/>
                    </a:cubicBezTo>
                    <a:cubicBezTo>
                      <a:pt x="13686" y="9446"/>
                      <a:pt x="13842" y="9446"/>
                      <a:pt x="13795" y="9446"/>
                    </a:cubicBezTo>
                    <a:lnTo>
                      <a:pt x="13795" y="9446"/>
                    </a:lnTo>
                    <a:cubicBezTo>
                      <a:pt x="14076" y="9446"/>
                      <a:pt x="13795" y="9446"/>
                      <a:pt x="13889" y="9587"/>
                    </a:cubicBezTo>
                    <a:cubicBezTo>
                      <a:pt x="13983" y="9727"/>
                      <a:pt x="13795" y="9665"/>
                      <a:pt x="13764" y="9711"/>
                    </a:cubicBezTo>
                    <a:lnTo>
                      <a:pt x="13764" y="9711"/>
                    </a:lnTo>
                    <a:cubicBezTo>
                      <a:pt x="13764" y="9711"/>
                      <a:pt x="13764" y="9805"/>
                      <a:pt x="13764" y="9852"/>
                    </a:cubicBezTo>
                    <a:lnTo>
                      <a:pt x="13764" y="9852"/>
                    </a:lnTo>
                    <a:cubicBezTo>
                      <a:pt x="13764" y="9852"/>
                      <a:pt x="13764" y="9930"/>
                      <a:pt x="13764" y="9930"/>
                    </a:cubicBezTo>
                    <a:lnTo>
                      <a:pt x="13764" y="9930"/>
                    </a:lnTo>
                    <a:cubicBezTo>
                      <a:pt x="13764" y="9930"/>
                      <a:pt x="13764" y="10008"/>
                      <a:pt x="13655" y="10054"/>
                    </a:cubicBezTo>
                    <a:lnTo>
                      <a:pt x="13655" y="10054"/>
                    </a:lnTo>
                    <a:lnTo>
                      <a:pt x="13655" y="10054"/>
                    </a:lnTo>
                    <a:lnTo>
                      <a:pt x="13655" y="10054"/>
                    </a:lnTo>
                    <a:lnTo>
                      <a:pt x="13655" y="10054"/>
                    </a:lnTo>
                    <a:lnTo>
                      <a:pt x="13655" y="10054"/>
                    </a:lnTo>
                    <a:cubicBezTo>
                      <a:pt x="13795" y="10054"/>
                      <a:pt x="13655" y="10132"/>
                      <a:pt x="13655" y="10179"/>
                    </a:cubicBezTo>
                    <a:cubicBezTo>
                      <a:pt x="13655" y="10226"/>
                      <a:pt x="13749" y="10086"/>
                      <a:pt x="13795" y="10101"/>
                    </a:cubicBezTo>
                    <a:cubicBezTo>
                      <a:pt x="13842" y="10117"/>
                      <a:pt x="13530" y="10288"/>
                      <a:pt x="13421" y="10444"/>
                    </a:cubicBezTo>
                    <a:lnTo>
                      <a:pt x="13421" y="10444"/>
                    </a:lnTo>
                    <a:cubicBezTo>
                      <a:pt x="13421" y="10444"/>
                      <a:pt x="13297" y="10553"/>
                      <a:pt x="13234" y="10444"/>
                    </a:cubicBezTo>
                    <a:cubicBezTo>
                      <a:pt x="13406" y="10600"/>
                      <a:pt x="12985" y="10927"/>
                      <a:pt x="13000" y="10881"/>
                    </a:cubicBezTo>
                    <a:cubicBezTo>
                      <a:pt x="13016" y="10834"/>
                      <a:pt x="13000" y="11021"/>
                      <a:pt x="13000" y="10881"/>
                    </a:cubicBezTo>
                    <a:cubicBezTo>
                      <a:pt x="13000" y="10740"/>
                      <a:pt x="12813" y="11130"/>
                      <a:pt x="12720" y="11224"/>
                    </a:cubicBezTo>
                    <a:cubicBezTo>
                      <a:pt x="12969" y="11052"/>
                      <a:pt x="13032" y="11021"/>
                      <a:pt x="12720" y="11224"/>
                    </a:cubicBezTo>
                    <a:cubicBezTo>
                      <a:pt x="12720" y="11224"/>
                      <a:pt x="12985" y="11005"/>
                      <a:pt x="12985" y="11099"/>
                    </a:cubicBezTo>
                    <a:cubicBezTo>
                      <a:pt x="12985" y="11192"/>
                      <a:pt x="13125" y="10990"/>
                      <a:pt x="13203" y="10959"/>
                    </a:cubicBezTo>
                    <a:cubicBezTo>
                      <a:pt x="13217" y="11010"/>
                      <a:pt x="13217" y="11063"/>
                      <a:pt x="13203" y="11114"/>
                    </a:cubicBezTo>
                    <a:cubicBezTo>
                      <a:pt x="13203" y="11037"/>
                      <a:pt x="13577" y="10709"/>
                      <a:pt x="13608" y="10818"/>
                    </a:cubicBezTo>
                    <a:cubicBezTo>
                      <a:pt x="13640" y="10927"/>
                      <a:pt x="13608" y="10818"/>
                      <a:pt x="13608" y="10818"/>
                    </a:cubicBezTo>
                    <a:cubicBezTo>
                      <a:pt x="13608" y="10818"/>
                      <a:pt x="13608" y="10725"/>
                      <a:pt x="13733" y="10725"/>
                    </a:cubicBezTo>
                    <a:lnTo>
                      <a:pt x="13733" y="10725"/>
                    </a:lnTo>
                    <a:cubicBezTo>
                      <a:pt x="13733" y="10647"/>
                      <a:pt x="14138" y="10397"/>
                      <a:pt x="14014" y="10507"/>
                    </a:cubicBezTo>
                    <a:lnTo>
                      <a:pt x="14014" y="10507"/>
                    </a:lnTo>
                    <a:cubicBezTo>
                      <a:pt x="14014" y="10507"/>
                      <a:pt x="14014" y="10616"/>
                      <a:pt x="13905" y="10616"/>
                    </a:cubicBezTo>
                    <a:cubicBezTo>
                      <a:pt x="13795" y="10616"/>
                      <a:pt x="13905" y="10616"/>
                      <a:pt x="13905" y="10694"/>
                    </a:cubicBezTo>
                    <a:lnTo>
                      <a:pt x="13905" y="10694"/>
                    </a:lnTo>
                    <a:cubicBezTo>
                      <a:pt x="13811" y="10694"/>
                      <a:pt x="13905" y="10849"/>
                      <a:pt x="13749" y="10896"/>
                    </a:cubicBezTo>
                    <a:cubicBezTo>
                      <a:pt x="13593" y="10943"/>
                      <a:pt x="13749" y="11005"/>
                      <a:pt x="13749" y="10896"/>
                    </a:cubicBezTo>
                    <a:cubicBezTo>
                      <a:pt x="13749" y="10787"/>
                      <a:pt x="13421" y="11037"/>
                      <a:pt x="13749" y="11021"/>
                    </a:cubicBezTo>
                    <a:cubicBezTo>
                      <a:pt x="14076" y="11005"/>
                      <a:pt x="13577" y="11161"/>
                      <a:pt x="13749" y="11114"/>
                    </a:cubicBezTo>
                    <a:cubicBezTo>
                      <a:pt x="13920" y="11068"/>
                      <a:pt x="13608" y="11270"/>
                      <a:pt x="13593" y="11114"/>
                    </a:cubicBezTo>
                    <a:cubicBezTo>
                      <a:pt x="13577" y="10959"/>
                      <a:pt x="13593" y="11192"/>
                      <a:pt x="13593" y="11208"/>
                    </a:cubicBezTo>
                    <a:cubicBezTo>
                      <a:pt x="13593" y="11224"/>
                      <a:pt x="13702" y="11208"/>
                      <a:pt x="13749" y="11208"/>
                    </a:cubicBezTo>
                    <a:cubicBezTo>
                      <a:pt x="13795" y="11208"/>
                      <a:pt x="13577" y="11208"/>
                      <a:pt x="13515" y="11348"/>
                    </a:cubicBezTo>
                    <a:cubicBezTo>
                      <a:pt x="13733" y="11348"/>
                      <a:pt x="13655" y="11348"/>
                      <a:pt x="13515" y="11442"/>
                    </a:cubicBezTo>
                    <a:cubicBezTo>
                      <a:pt x="13375" y="11535"/>
                      <a:pt x="13515" y="11442"/>
                      <a:pt x="13608" y="11442"/>
                    </a:cubicBezTo>
                    <a:cubicBezTo>
                      <a:pt x="13623" y="11509"/>
                      <a:pt x="13580" y="11575"/>
                      <a:pt x="13512" y="11590"/>
                    </a:cubicBezTo>
                    <a:cubicBezTo>
                      <a:pt x="13487" y="11595"/>
                      <a:pt x="13461" y="11592"/>
                      <a:pt x="13437" y="11582"/>
                    </a:cubicBezTo>
                    <a:cubicBezTo>
                      <a:pt x="13437" y="11582"/>
                      <a:pt x="13577" y="11660"/>
                      <a:pt x="13437" y="11722"/>
                    </a:cubicBezTo>
                    <a:cubicBezTo>
                      <a:pt x="13608" y="11816"/>
                      <a:pt x="13250" y="11941"/>
                      <a:pt x="13219" y="11878"/>
                    </a:cubicBezTo>
                    <a:cubicBezTo>
                      <a:pt x="13188" y="11816"/>
                      <a:pt x="13219" y="12128"/>
                      <a:pt x="13078" y="12081"/>
                    </a:cubicBezTo>
                    <a:cubicBezTo>
                      <a:pt x="12938" y="12034"/>
                      <a:pt x="13312" y="12081"/>
                      <a:pt x="13188" y="12174"/>
                    </a:cubicBezTo>
                    <a:cubicBezTo>
                      <a:pt x="13063" y="12268"/>
                      <a:pt x="13188" y="12174"/>
                      <a:pt x="13188" y="12252"/>
                    </a:cubicBezTo>
                    <a:cubicBezTo>
                      <a:pt x="13188" y="12330"/>
                      <a:pt x="13188" y="12252"/>
                      <a:pt x="13188" y="12362"/>
                    </a:cubicBezTo>
                    <a:lnTo>
                      <a:pt x="13281" y="12362"/>
                    </a:lnTo>
                    <a:cubicBezTo>
                      <a:pt x="13281" y="12439"/>
                      <a:pt x="13094" y="12595"/>
                      <a:pt x="13000" y="12564"/>
                    </a:cubicBezTo>
                    <a:cubicBezTo>
                      <a:pt x="12907" y="12533"/>
                      <a:pt x="13141" y="12564"/>
                      <a:pt x="13203" y="12564"/>
                    </a:cubicBezTo>
                    <a:cubicBezTo>
                      <a:pt x="13000" y="12751"/>
                      <a:pt x="13203" y="12564"/>
                      <a:pt x="13203" y="12564"/>
                    </a:cubicBezTo>
                    <a:cubicBezTo>
                      <a:pt x="13203" y="12564"/>
                      <a:pt x="13203" y="12564"/>
                      <a:pt x="13063" y="12704"/>
                    </a:cubicBezTo>
                    <a:cubicBezTo>
                      <a:pt x="13063" y="12704"/>
                      <a:pt x="13328" y="12533"/>
                      <a:pt x="13203" y="12704"/>
                    </a:cubicBezTo>
                    <a:lnTo>
                      <a:pt x="13203" y="12704"/>
                    </a:lnTo>
                    <a:cubicBezTo>
                      <a:pt x="13203" y="12704"/>
                      <a:pt x="13125" y="12798"/>
                      <a:pt x="13110" y="12845"/>
                    </a:cubicBezTo>
                    <a:cubicBezTo>
                      <a:pt x="13094" y="12892"/>
                      <a:pt x="13390" y="12845"/>
                      <a:pt x="13203" y="12845"/>
                    </a:cubicBezTo>
                    <a:cubicBezTo>
                      <a:pt x="13437" y="13016"/>
                      <a:pt x="12891" y="12923"/>
                      <a:pt x="12813" y="13032"/>
                    </a:cubicBezTo>
                    <a:cubicBezTo>
                      <a:pt x="13219" y="13032"/>
                      <a:pt x="12689" y="13032"/>
                      <a:pt x="12611" y="13157"/>
                    </a:cubicBezTo>
                    <a:cubicBezTo>
                      <a:pt x="12587" y="13102"/>
                      <a:pt x="12587" y="13040"/>
                      <a:pt x="12611" y="12985"/>
                    </a:cubicBezTo>
                    <a:cubicBezTo>
                      <a:pt x="12611" y="13110"/>
                      <a:pt x="12611" y="13188"/>
                      <a:pt x="12517" y="13281"/>
                    </a:cubicBezTo>
                    <a:cubicBezTo>
                      <a:pt x="12689" y="13281"/>
                      <a:pt x="12876" y="13016"/>
                      <a:pt x="13094" y="13079"/>
                    </a:cubicBezTo>
                    <a:cubicBezTo>
                      <a:pt x="12985" y="12938"/>
                      <a:pt x="13437" y="13079"/>
                      <a:pt x="13094" y="13266"/>
                    </a:cubicBezTo>
                    <a:cubicBezTo>
                      <a:pt x="13094" y="13266"/>
                      <a:pt x="13094" y="13266"/>
                      <a:pt x="13094" y="13266"/>
                    </a:cubicBezTo>
                    <a:cubicBezTo>
                      <a:pt x="13094" y="13266"/>
                      <a:pt x="13343" y="13125"/>
                      <a:pt x="13219" y="13266"/>
                    </a:cubicBezTo>
                    <a:cubicBezTo>
                      <a:pt x="13094" y="13406"/>
                      <a:pt x="13312" y="13266"/>
                      <a:pt x="13297" y="13266"/>
                    </a:cubicBezTo>
                    <a:cubicBezTo>
                      <a:pt x="13281" y="13266"/>
                      <a:pt x="13297" y="13422"/>
                      <a:pt x="13156" y="13406"/>
                    </a:cubicBezTo>
                    <a:cubicBezTo>
                      <a:pt x="13250" y="13406"/>
                      <a:pt x="13032" y="13609"/>
                      <a:pt x="13032" y="13499"/>
                    </a:cubicBezTo>
                    <a:cubicBezTo>
                      <a:pt x="13032" y="13390"/>
                      <a:pt x="13203" y="13655"/>
                      <a:pt x="13032" y="13624"/>
                    </a:cubicBezTo>
                    <a:cubicBezTo>
                      <a:pt x="13234" y="13718"/>
                      <a:pt x="12595" y="13983"/>
                      <a:pt x="12564" y="13874"/>
                    </a:cubicBezTo>
                    <a:cubicBezTo>
                      <a:pt x="12533" y="13764"/>
                      <a:pt x="12455" y="13874"/>
                      <a:pt x="12564" y="13874"/>
                    </a:cubicBezTo>
                    <a:cubicBezTo>
                      <a:pt x="12143" y="14232"/>
                      <a:pt x="11800" y="14279"/>
                      <a:pt x="11426" y="13983"/>
                    </a:cubicBezTo>
                    <a:cubicBezTo>
                      <a:pt x="11426" y="13983"/>
                      <a:pt x="11083" y="13983"/>
                      <a:pt x="11114" y="13842"/>
                    </a:cubicBezTo>
                    <a:cubicBezTo>
                      <a:pt x="10553" y="14185"/>
                      <a:pt x="10039" y="14544"/>
                      <a:pt x="9462" y="14856"/>
                    </a:cubicBezTo>
                    <a:cubicBezTo>
                      <a:pt x="9846" y="14695"/>
                      <a:pt x="10278" y="14695"/>
                      <a:pt x="10662" y="14856"/>
                    </a:cubicBezTo>
                    <a:cubicBezTo>
                      <a:pt x="10622" y="14910"/>
                      <a:pt x="10568" y="14953"/>
                      <a:pt x="10506" y="14980"/>
                    </a:cubicBezTo>
                    <a:cubicBezTo>
                      <a:pt x="10662" y="14980"/>
                      <a:pt x="10304" y="15323"/>
                      <a:pt x="10506" y="15370"/>
                    </a:cubicBezTo>
                    <a:cubicBezTo>
                      <a:pt x="10350" y="15448"/>
                      <a:pt x="10647" y="15666"/>
                      <a:pt x="10740" y="15542"/>
                    </a:cubicBezTo>
                    <a:cubicBezTo>
                      <a:pt x="10740" y="15542"/>
                      <a:pt x="10865" y="15666"/>
                      <a:pt x="10740" y="15651"/>
                    </a:cubicBezTo>
                    <a:cubicBezTo>
                      <a:pt x="10958" y="15651"/>
                      <a:pt x="10148" y="15900"/>
                      <a:pt x="10210" y="15760"/>
                    </a:cubicBezTo>
                    <a:cubicBezTo>
                      <a:pt x="10075" y="15886"/>
                      <a:pt x="9929" y="16001"/>
                      <a:pt x="9774" y="16103"/>
                    </a:cubicBezTo>
                    <a:lnTo>
                      <a:pt x="9774" y="16103"/>
                    </a:lnTo>
                    <a:cubicBezTo>
                      <a:pt x="9680" y="16103"/>
                      <a:pt x="9774" y="15962"/>
                      <a:pt x="9774" y="16009"/>
                    </a:cubicBezTo>
                    <a:cubicBezTo>
                      <a:pt x="9774" y="15807"/>
                      <a:pt x="10319" y="15417"/>
                      <a:pt x="10319" y="15682"/>
                    </a:cubicBezTo>
                    <a:cubicBezTo>
                      <a:pt x="10319" y="15588"/>
                      <a:pt x="10428" y="15682"/>
                      <a:pt x="10475" y="15604"/>
                    </a:cubicBezTo>
                    <a:cubicBezTo>
                      <a:pt x="10195" y="15495"/>
                      <a:pt x="10195" y="15604"/>
                      <a:pt x="10475" y="15401"/>
                    </a:cubicBezTo>
                    <a:lnTo>
                      <a:pt x="10475" y="15401"/>
                    </a:lnTo>
                    <a:lnTo>
                      <a:pt x="10475" y="15401"/>
                    </a:lnTo>
                    <a:cubicBezTo>
                      <a:pt x="10475" y="15495"/>
                      <a:pt x="10023" y="15651"/>
                      <a:pt x="10195" y="15401"/>
                    </a:cubicBezTo>
                    <a:cubicBezTo>
                      <a:pt x="10070" y="15542"/>
                      <a:pt x="10023" y="15495"/>
                      <a:pt x="9914" y="15401"/>
                    </a:cubicBezTo>
                    <a:cubicBezTo>
                      <a:pt x="9805" y="15308"/>
                      <a:pt x="9914" y="15510"/>
                      <a:pt x="9914" y="15573"/>
                    </a:cubicBezTo>
                    <a:cubicBezTo>
                      <a:pt x="9914" y="15635"/>
                      <a:pt x="9914" y="15729"/>
                      <a:pt x="9914" y="15573"/>
                    </a:cubicBezTo>
                    <a:cubicBezTo>
                      <a:pt x="9914" y="15417"/>
                      <a:pt x="9618" y="15713"/>
                      <a:pt x="9680" y="15573"/>
                    </a:cubicBezTo>
                    <a:cubicBezTo>
                      <a:pt x="9743" y="15432"/>
                      <a:pt x="9509" y="15651"/>
                      <a:pt x="9680" y="15573"/>
                    </a:cubicBezTo>
                    <a:cubicBezTo>
                      <a:pt x="9852" y="15495"/>
                      <a:pt x="9571" y="15697"/>
                      <a:pt x="9509" y="15729"/>
                    </a:cubicBezTo>
                    <a:lnTo>
                      <a:pt x="9509" y="15729"/>
                    </a:lnTo>
                    <a:cubicBezTo>
                      <a:pt x="9509" y="15729"/>
                      <a:pt x="9509" y="15807"/>
                      <a:pt x="9509" y="15729"/>
                    </a:cubicBezTo>
                    <a:cubicBezTo>
                      <a:pt x="9509" y="15651"/>
                      <a:pt x="9400" y="15853"/>
                      <a:pt x="9509" y="15729"/>
                    </a:cubicBezTo>
                    <a:cubicBezTo>
                      <a:pt x="9306" y="15729"/>
                      <a:pt x="8823" y="16648"/>
                      <a:pt x="9150" y="16337"/>
                    </a:cubicBezTo>
                    <a:cubicBezTo>
                      <a:pt x="9150" y="16461"/>
                      <a:pt x="8932" y="16633"/>
                      <a:pt x="8994" y="16414"/>
                    </a:cubicBezTo>
                    <a:cubicBezTo>
                      <a:pt x="8870" y="16570"/>
                      <a:pt x="8885" y="16555"/>
                      <a:pt x="8901" y="16414"/>
                    </a:cubicBezTo>
                    <a:cubicBezTo>
                      <a:pt x="8495" y="16565"/>
                      <a:pt x="8153" y="16851"/>
                      <a:pt x="7934" y="17225"/>
                    </a:cubicBezTo>
                    <a:lnTo>
                      <a:pt x="7934" y="17225"/>
                    </a:lnTo>
                    <a:lnTo>
                      <a:pt x="7934" y="17225"/>
                    </a:lnTo>
                    <a:cubicBezTo>
                      <a:pt x="7934" y="17225"/>
                      <a:pt x="7934" y="17085"/>
                      <a:pt x="7934" y="17007"/>
                    </a:cubicBezTo>
                    <a:cubicBezTo>
                      <a:pt x="7810" y="17225"/>
                      <a:pt x="7794" y="17506"/>
                      <a:pt x="7591" y="17693"/>
                    </a:cubicBezTo>
                    <a:lnTo>
                      <a:pt x="7591" y="17693"/>
                    </a:lnTo>
                    <a:lnTo>
                      <a:pt x="7498" y="17833"/>
                    </a:lnTo>
                    <a:cubicBezTo>
                      <a:pt x="7531" y="17730"/>
                      <a:pt x="7584" y="17635"/>
                      <a:pt x="7654" y="17552"/>
                    </a:cubicBezTo>
                    <a:cubicBezTo>
                      <a:pt x="7654" y="17552"/>
                      <a:pt x="7654" y="17474"/>
                      <a:pt x="7654" y="17443"/>
                    </a:cubicBezTo>
                    <a:lnTo>
                      <a:pt x="7654" y="17443"/>
                    </a:lnTo>
                    <a:cubicBezTo>
                      <a:pt x="7654" y="17256"/>
                      <a:pt x="7810" y="17116"/>
                      <a:pt x="7872" y="16944"/>
                    </a:cubicBezTo>
                    <a:cubicBezTo>
                      <a:pt x="7755" y="17096"/>
                      <a:pt x="7660" y="17264"/>
                      <a:pt x="7591" y="17443"/>
                    </a:cubicBezTo>
                    <a:cubicBezTo>
                      <a:pt x="7591" y="17350"/>
                      <a:pt x="7591" y="17272"/>
                      <a:pt x="7591" y="17178"/>
                    </a:cubicBezTo>
                    <a:cubicBezTo>
                      <a:pt x="7591" y="17085"/>
                      <a:pt x="7591" y="17771"/>
                      <a:pt x="7591" y="17537"/>
                    </a:cubicBezTo>
                    <a:cubicBezTo>
                      <a:pt x="7591" y="17537"/>
                      <a:pt x="7591" y="17786"/>
                      <a:pt x="7591" y="17724"/>
                    </a:cubicBezTo>
                    <a:cubicBezTo>
                      <a:pt x="7591" y="17662"/>
                      <a:pt x="7591" y="17802"/>
                      <a:pt x="7591" y="17833"/>
                    </a:cubicBezTo>
                    <a:cubicBezTo>
                      <a:pt x="7600" y="17792"/>
                      <a:pt x="7600" y="17749"/>
                      <a:pt x="7591" y="17708"/>
                    </a:cubicBezTo>
                    <a:cubicBezTo>
                      <a:pt x="7591" y="17833"/>
                      <a:pt x="7716" y="17895"/>
                      <a:pt x="7591" y="18020"/>
                    </a:cubicBezTo>
                    <a:lnTo>
                      <a:pt x="7591" y="18020"/>
                    </a:lnTo>
                    <a:cubicBezTo>
                      <a:pt x="7591" y="18145"/>
                      <a:pt x="7420" y="18285"/>
                      <a:pt x="7451" y="18129"/>
                    </a:cubicBezTo>
                    <a:cubicBezTo>
                      <a:pt x="7482" y="17973"/>
                      <a:pt x="7451" y="18223"/>
                      <a:pt x="7451" y="18238"/>
                    </a:cubicBezTo>
                    <a:cubicBezTo>
                      <a:pt x="7451" y="18254"/>
                      <a:pt x="7529" y="18238"/>
                      <a:pt x="7545" y="18363"/>
                    </a:cubicBezTo>
                    <a:cubicBezTo>
                      <a:pt x="7536" y="18332"/>
                      <a:pt x="7536" y="18300"/>
                      <a:pt x="7545" y="18269"/>
                    </a:cubicBezTo>
                    <a:cubicBezTo>
                      <a:pt x="7545" y="18363"/>
                      <a:pt x="7545" y="18410"/>
                      <a:pt x="7420" y="18472"/>
                    </a:cubicBezTo>
                    <a:cubicBezTo>
                      <a:pt x="7295" y="18534"/>
                      <a:pt x="7420" y="18472"/>
                      <a:pt x="7420" y="18379"/>
                    </a:cubicBezTo>
                    <a:cubicBezTo>
                      <a:pt x="7420" y="18285"/>
                      <a:pt x="7420" y="18379"/>
                      <a:pt x="7420" y="18379"/>
                    </a:cubicBezTo>
                    <a:cubicBezTo>
                      <a:pt x="7420" y="18379"/>
                      <a:pt x="7420" y="18581"/>
                      <a:pt x="7420" y="18503"/>
                    </a:cubicBezTo>
                    <a:lnTo>
                      <a:pt x="7420" y="18503"/>
                    </a:lnTo>
                    <a:lnTo>
                      <a:pt x="7420" y="18503"/>
                    </a:lnTo>
                    <a:lnTo>
                      <a:pt x="7420" y="18503"/>
                    </a:lnTo>
                    <a:cubicBezTo>
                      <a:pt x="6344" y="18503"/>
                      <a:pt x="5861" y="22681"/>
                      <a:pt x="5970" y="20857"/>
                    </a:cubicBezTo>
                    <a:cubicBezTo>
                      <a:pt x="5970" y="20857"/>
                      <a:pt x="5970" y="20857"/>
                      <a:pt x="5970" y="20857"/>
                    </a:cubicBezTo>
                    <a:cubicBezTo>
                      <a:pt x="5970" y="20857"/>
                      <a:pt x="5970" y="20857"/>
                      <a:pt x="5970" y="20857"/>
                    </a:cubicBezTo>
                    <a:lnTo>
                      <a:pt x="5970" y="20857"/>
                    </a:lnTo>
                    <a:cubicBezTo>
                      <a:pt x="5970" y="20764"/>
                      <a:pt x="5970" y="20608"/>
                      <a:pt x="5970" y="20514"/>
                    </a:cubicBezTo>
                    <a:cubicBezTo>
                      <a:pt x="5970" y="20421"/>
                      <a:pt x="5970" y="20514"/>
                      <a:pt x="5970" y="20608"/>
                    </a:cubicBezTo>
                    <a:cubicBezTo>
                      <a:pt x="5970" y="20701"/>
                      <a:pt x="6220" y="19766"/>
                      <a:pt x="5970" y="19735"/>
                    </a:cubicBezTo>
                    <a:cubicBezTo>
                      <a:pt x="5721" y="19704"/>
                      <a:pt x="5877" y="19828"/>
                      <a:pt x="5970" y="19735"/>
                    </a:cubicBezTo>
                    <a:lnTo>
                      <a:pt x="5970" y="19735"/>
                    </a:lnTo>
                    <a:lnTo>
                      <a:pt x="5970" y="19735"/>
                    </a:lnTo>
                    <a:cubicBezTo>
                      <a:pt x="5970" y="19735"/>
                      <a:pt x="5970" y="19579"/>
                      <a:pt x="5970" y="19641"/>
                    </a:cubicBezTo>
                    <a:cubicBezTo>
                      <a:pt x="5978" y="19605"/>
                      <a:pt x="5978" y="19568"/>
                      <a:pt x="5970" y="19532"/>
                    </a:cubicBezTo>
                    <a:lnTo>
                      <a:pt x="5970" y="19532"/>
                    </a:lnTo>
                    <a:cubicBezTo>
                      <a:pt x="5970" y="19532"/>
                      <a:pt x="5970" y="19454"/>
                      <a:pt x="5970" y="19407"/>
                    </a:cubicBezTo>
                    <a:lnTo>
                      <a:pt x="5970" y="19407"/>
                    </a:lnTo>
                    <a:cubicBezTo>
                      <a:pt x="5970" y="19407"/>
                      <a:pt x="5970" y="19407"/>
                      <a:pt x="5970" y="19407"/>
                    </a:cubicBezTo>
                    <a:cubicBezTo>
                      <a:pt x="5970" y="19407"/>
                      <a:pt x="5970" y="19407"/>
                      <a:pt x="5970" y="19407"/>
                    </a:cubicBezTo>
                    <a:cubicBezTo>
                      <a:pt x="5970" y="19407"/>
                      <a:pt x="5970" y="19314"/>
                      <a:pt x="5970" y="19267"/>
                    </a:cubicBezTo>
                    <a:lnTo>
                      <a:pt x="5970" y="19361"/>
                    </a:lnTo>
                    <a:cubicBezTo>
                      <a:pt x="5970" y="19267"/>
                      <a:pt x="5799" y="19361"/>
                      <a:pt x="5783" y="19470"/>
                    </a:cubicBezTo>
                    <a:lnTo>
                      <a:pt x="5783" y="19470"/>
                    </a:lnTo>
                    <a:cubicBezTo>
                      <a:pt x="5783" y="19641"/>
                      <a:pt x="5783" y="19750"/>
                      <a:pt x="5783" y="19828"/>
                    </a:cubicBezTo>
                    <a:cubicBezTo>
                      <a:pt x="5783" y="19906"/>
                      <a:pt x="5783" y="19485"/>
                      <a:pt x="5783" y="19750"/>
                    </a:cubicBezTo>
                    <a:lnTo>
                      <a:pt x="5783" y="19657"/>
                    </a:lnTo>
                    <a:cubicBezTo>
                      <a:pt x="5783" y="19548"/>
                      <a:pt x="5783" y="19485"/>
                      <a:pt x="5783" y="19376"/>
                    </a:cubicBezTo>
                    <a:cubicBezTo>
                      <a:pt x="5783" y="19267"/>
                      <a:pt x="5783" y="19376"/>
                      <a:pt x="5783" y="19376"/>
                    </a:cubicBezTo>
                    <a:cubicBezTo>
                      <a:pt x="5783" y="19594"/>
                      <a:pt x="5783" y="19127"/>
                      <a:pt x="5612" y="19376"/>
                    </a:cubicBezTo>
                    <a:cubicBezTo>
                      <a:pt x="5612" y="19376"/>
                      <a:pt x="5612" y="19236"/>
                      <a:pt x="5612" y="19174"/>
                    </a:cubicBezTo>
                    <a:cubicBezTo>
                      <a:pt x="5612" y="19111"/>
                      <a:pt x="5612" y="19283"/>
                      <a:pt x="5612" y="19174"/>
                    </a:cubicBezTo>
                    <a:cubicBezTo>
                      <a:pt x="5621" y="19251"/>
                      <a:pt x="5621" y="19330"/>
                      <a:pt x="5612" y="19407"/>
                    </a:cubicBezTo>
                    <a:lnTo>
                      <a:pt x="5612" y="19407"/>
                    </a:lnTo>
                    <a:lnTo>
                      <a:pt x="5612" y="19517"/>
                    </a:lnTo>
                    <a:lnTo>
                      <a:pt x="5612" y="19517"/>
                    </a:lnTo>
                    <a:cubicBezTo>
                      <a:pt x="5612" y="19594"/>
                      <a:pt x="5612" y="19517"/>
                      <a:pt x="5612" y="19517"/>
                    </a:cubicBezTo>
                    <a:lnTo>
                      <a:pt x="5612" y="19517"/>
                    </a:lnTo>
                    <a:cubicBezTo>
                      <a:pt x="5612" y="19517"/>
                      <a:pt x="5612" y="19517"/>
                      <a:pt x="5612" y="19517"/>
                    </a:cubicBezTo>
                    <a:lnTo>
                      <a:pt x="5612" y="19517"/>
                    </a:lnTo>
                    <a:cubicBezTo>
                      <a:pt x="5612" y="19517"/>
                      <a:pt x="5612" y="19610"/>
                      <a:pt x="5612" y="19610"/>
                    </a:cubicBezTo>
                    <a:lnTo>
                      <a:pt x="5612" y="19610"/>
                    </a:lnTo>
                    <a:cubicBezTo>
                      <a:pt x="5523" y="19891"/>
                      <a:pt x="5450" y="20178"/>
                      <a:pt x="5393" y="20467"/>
                    </a:cubicBezTo>
                    <a:cubicBezTo>
                      <a:pt x="5393" y="20467"/>
                      <a:pt x="5393" y="20358"/>
                      <a:pt x="5393" y="20327"/>
                    </a:cubicBezTo>
                    <a:cubicBezTo>
                      <a:pt x="5393" y="20296"/>
                      <a:pt x="5300" y="20748"/>
                      <a:pt x="5393" y="20530"/>
                    </a:cubicBezTo>
                    <a:cubicBezTo>
                      <a:pt x="5298" y="20978"/>
                      <a:pt x="5225" y="21430"/>
                      <a:pt x="5175" y="21886"/>
                    </a:cubicBezTo>
                    <a:cubicBezTo>
                      <a:pt x="5144" y="22306"/>
                      <a:pt x="5144" y="22728"/>
                      <a:pt x="5175" y="23149"/>
                    </a:cubicBezTo>
                    <a:cubicBezTo>
                      <a:pt x="5175" y="23149"/>
                      <a:pt x="5175" y="23149"/>
                      <a:pt x="5175" y="23149"/>
                    </a:cubicBezTo>
                    <a:cubicBezTo>
                      <a:pt x="5181" y="23123"/>
                      <a:pt x="5181" y="23096"/>
                      <a:pt x="5175" y="23071"/>
                    </a:cubicBezTo>
                    <a:lnTo>
                      <a:pt x="5175" y="23071"/>
                    </a:lnTo>
                    <a:cubicBezTo>
                      <a:pt x="5175" y="23071"/>
                      <a:pt x="5175" y="23071"/>
                      <a:pt x="5175" y="23071"/>
                    </a:cubicBezTo>
                    <a:lnTo>
                      <a:pt x="5175" y="23071"/>
                    </a:lnTo>
                    <a:cubicBezTo>
                      <a:pt x="5175" y="23071"/>
                      <a:pt x="5175" y="23195"/>
                      <a:pt x="5175" y="23258"/>
                    </a:cubicBezTo>
                    <a:lnTo>
                      <a:pt x="5175" y="23258"/>
                    </a:lnTo>
                    <a:lnTo>
                      <a:pt x="5175" y="23258"/>
                    </a:lnTo>
                    <a:cubicBezTo>
                      <a:pt x="5183" y="23190"/>
                      <a:pt x="5183" y="23122"/>
                      <a:pt x="5175" y="23055"/>
                    </a:cubicBezTo>
                    <a:lnTo>
                      <a:pt x="5175" y="23055"/>
                    </a:lnTo>
                    <a:cubicBezTo>
                      <a:pt x="5316" y="22915"/>
                      <a:pt x="5175" y="22244"/>
                      <a:pt x="5440" y="22385"/>
                    </a:cubicBezTo>
                    <a:cubicBezTo>
                      <a:pt x="5440" y="22385"/>
                      <a:pt x="5440" y="22291"/>
                      <a:pt x="5440" y="22385"/>
                    </a:cubicBezTo>
                    <a:cubicBezTo>
                      <a:pt x="5440" y="22478"/>
                      <a:pt x="5440" y="22385"/>
                      <a:pt x="5440" y="22385"/>
                    </a:cubicBezTo>
                    <a:cubicBezTo>
                      <a:pt x="5440" y="22385"/>
                      <a:pt x="5440" y="22525"/>
                      <a:pt x="5440" y="22385"/>
                    </a:cubicBezTo>
                    <a:cubicBezTo>
                      <a:pt x="5534" y="22650"/>
                      <a:pt x="5269" y="22946"/>
                      <a:pt x="5316" y="23227"/>
                    </a:cubicBezTo>
                    <a:cubicBezTo>
                      <a:pt x="5316" y="23227"/>
                      <a:pt x="5316" y="23476"/>
                      <a:pt x="5316" y="23523"/>
                    </a:cubicBezTo>
                    <a:cubicBezTo>
                      <a:pt x="5277" y="23863"/>
                      <a:pt x="4970" y="24107"/>
                      <a:pt x="4630" y="24068"/>
                    </a:cubicBezTo>
                    <a:cubicBezTo>
                      <a:pt x="4290" y="24029"/>
                      <a:pt x="4045" y="23723"/>
                      <a:pt x="4084" y="23382"/>
                    </a:cubicBezTo>
                    <a:cubicBezTo>
                      <a:pt x="4084" y="23554"/>
                      <a:pt x="4084" y="23912"/>
                      <a:pt x="3991" y="24193"/>
                    </a:cubicBezTo>
                    <a:lnTo>
                      <a:pt x="3991" y="24193"/>
                    </a:lnTo>
                    <a:cubicBezTo>
                      <a:pt x="3975" y="24254"/>
                      <a:pt x="3975" y="24319"/>
                      <a:pt x="3991" y="24380"/>
                    </a:cubicBezTo>
                    <a:lnTo>
                      <a:pt x="3991" y="24380"/>
                    </a:lnTo>
                    <a:cubicBezTo>
                      <a:pt x="3991" y="24380"/>
                      <a:pt x="3991" y="24380"/>
                      <a:pt x="3991" y="24458"/>
                    </a:cubicBezTo>
                    <a:cubicBezTo>
                      <a:pt x="3991" y="24536"/>
                      <a:pt x="4178" y="24629"/>
                      <a:pt x="4162" y="24458"/>
                    </a:cubicBezTo>
                    <a:cubicBezTo>
                      <a:pt x="4162" y="24552"/>
                      <a:pt x="4162" y="24598"/>
                      <a:pt x="4287" y="24676"/>
                    </a:cubicBezTo>
                    <a:lnTo>
                      <a:pt x="4287" y="24676"/>
                    </a:lnTo>
                    <a:cubicBezTo>
                      <a:pt x="4300" y="24722"/>
                      <a:pt x="4300" y="24771"/>
                      <a:pt x="4287" y="24817"/>
                    </a:cubicBezTo>
                    <a:cubicBezTo>
                      <a:pt x="4287" y="24692"/>
                      <a:pt x="4287" y="24817"/>
                      <a:pt x="4287" y="24910"/>
                    </a:cubicBezTo>
                    <a:lnTo>
                      <a:pt x="4287" y="24910"/>
                    </a:lnTo>
                    <a:cubicBezTo>
                      <a:pt x="4326" y="25121"/>
                      <a:pt x="4326" y="25338"/>
                      <a:pt x="4287" y="25549"/>
                    </a:cubicBezTo>
                    <a:lnTo>
                      <a:pt x="4287" y="25549"/>
                    </a:lnTo>
                    <a:cubicBezTo>
                      <a:pt x="4295" y="25689"/>
                      <a:pt x="4295" y="25830"/>
                      <a:pt x="4287" y="25970"/>
                    </a:cubicBezTo>
                    <a:cubicBezTo>
                      <a:pt x="4287" y="25970"/>
                      <a:pt x="4287" y="25877"/>
                      <a:pt x="4287" y="25814"/>
                    </a:cubicBezTo>
                    <a:cubicBezTo>
                      <a:pt x="4279" y="25923"/>
                      <a:pt x="4279" y="26033"/>
                      <a:pt x="4287" y="26142"/>
                    </a:cubicBezTo>
                    <a:cubicBezTo>
                      <a:pt x="4296" y="26116"/>
                      <a:pt x="4296" y="26089"/>
                      <a:pt x="4287" y="26064"/>
                    </a:cubicBezTo>
                    <a:cubicBezTo>
                      <a:pt x="4262" y="26192"/>
                      <a:pt x="4262" y="26325"/>
                      <a:pt x="4287" y="26453"/>
                    </a:cubicBezTo>
                    <a:cubicBezTo>
                      <a:pt x="4287" y="26375"/>
                      <a:pt x="4489" y="27264"/>
                      <a:pt x="4474" y="26983"/>
                    </a:cubicBezTo>
                    <a:cubicBezTo>
                      <a:pt x="4661" y="27467"/>
                      <a:pt x="4692" y="26438"/>
                      <a:pt x="5113" y="27654"/>
                    </a:cubicBezTo>
                    <a:cubicBezTo>
                      <a:pt x="5113" y="27560"/>
                      <a:pt x="5113" y="26625"/>
                      <a:pt x="5409" y="26859"/>
                    </a:cubicBezTo>
                    <a:cubicBezTo>
                      <a:pt x="5409" y="27061"/>
                      <a:pt x="5409" y="26859"/>
                      <a:pt x="5409" y="26749"/>
                    </a:cubicBezTo>
                    <a:cubicBezTo>
                      <a:pt x="5409" y="26640"/>
                      <a:pt x="5674" y="26594"/>
                      <a:pt x="5768" y="26531"/>
                    </a:cubicBezTo>
                    <a:cubicBezTo>
                      <a:pt x="5877" y="26734"/>
                      <a:pt x="5768" y="27077"/>
                      <a:pt x="5768" y="27357"/>
                    </a:cubicBezTo>
                    <a:cubicBezTo>
                      <a:pt x="6017" y="28043"/>
                      <a:pt x="5768" y="26937"/>
                      <a:pt x="6048" y="26921"/>
                    </a:cubicBezTo>
                    <a:cubicBezTo>
                      <a:pt x="6329" y="26905"/>
                      <a:pt x="5923" y="26812"/>
                      <a:pt x="6048" y="26718"/>
                    </a:cubicBezTo>
                    <a:cubicBezTo>
                      <a:pt x="6173" y="26625"/>
                      <a:pt x="6048" y="26921"/>
                      <a:pt x="6157" y="26983"/>
                    </a:cubicBezTo>
                    <a:cubicBezTo>
                      <a:pt x="6292" y="26991"/>
                      <a:pt x="6399" y="27098"/>
                      <a:pt x="6407" y="27233"/>
                    </a:cubicBezTo>
                    <a:cubicBezTo>
                      <a:pt x="6298" y="27420"/>
                      <a:pt x="6672" y="27357"/>
                      <a:pt x="6781" y="27404"/>
                    </a:cubicBezTo>
                    <a:cubicBezTo>
                      <a:pt x="6859" y="27825"/>
                      <a:pt x="7342" y="27264"/>
                      <a:pt x="7498" y="27591"/>
                    </a:cubicBezTo>
                    <a:cubicBezTo>
                      <a:pt x="7264" y="27591"/>
                      <a:pt x="7326" y="27591"/>
                      <a:pt x="7498" y="27809"/>
                    </a:cubicBezTo>
                    <a:cubicBezTo>
                      <a:pt x="7498" y="27654"/>
                      <a:pt x="8043" y="28230"/>
                      <a:pt x="7654" y="28230"/>
                    </a:cubicBezTo>
                    <a:cubicBezTo>
                      <a:pt x="8064" y="28271"/>
                      <a:pt x="8367" y="28630"/>
                      <a:pt x="8340" y="29041"/>
                    </a:cubicBezTo>
                    <a:cubicBezTo>
                      <a:pt x="8340" y="28745"/>
                      <a:pt x="8667" y="29181"/>
                      <a:pt x="8667" y="29322"/>
                    </a:cubicBezTo>
                    <a:cubicBezTo>
                      <a:pt x="8589" y="29134"/>
                      <a:pt x="9493" y="29322"/>
                      <a:pt x="9275" y="29524"/>
                    </a:cubicBezTo>
                    <a:cubicBezTo>
                      <a:pt x="9478" y="29368"/>
                      <a:pt x="9961" y="29976"/>
                      <a:pt x="9852" y="30085"/>
                    </a:cubicBezTo>
                    <a:cubicBezTo>
                      <a:pt x="9992" y="29852"/>
                      <a:pt x="10101" y="30615"/>
                      <a:pt x="10257" y="30787"/>
                    </a:cubicBezTo>
                    <a:cubicBezTo>
                      <a:pt x="10413" y="30958"/>
                      <a:pt x="9961" y="31364"/>
                      <a:pt x="10023" y="31644"/>
                    </a:cubicBezTo>
                    <a:cubicBezTo>
                      <a:pt x="10023" y="31410"/>
                      <a:pt x="10195" y="31426"/>
                      <a:pt x="10117" y="31644"/>
                    </a:cubicBezTo>
                    <a:cubicBezTo>
                      <a:pt x="10117" y="31644"/>
                      <a:pt x="10226" y="31364"/>
                      <a:pt x="10288" y="31519"/>
                    </a:cubicBezTo>
                    <a:cubicBezTo>
                      <a:pt x="10350" y="31675"/>
                      <a:pt x="10288" y="31519"/>
                      <a:pt x="10288" y="31519"/>
                    </a:cubicBezTo>
                    <a:cubicBezTo>
                      <a:pt x="10288" y="31052"/>
                      <a:pt x="11255" y="31894"/>
                      <a:pt x="10288" y="31847"/>
                    </a:cubicBezTo>
                    <a:cubicBezTo>
                      <a:pt x="10662" y="31847"/>
                      <a:pt x="10475" y="32049"/>
                      <a:pt x="10600" y="32330"/>
                    </a:cubicBezTo>
                    <a:cubicBezTo>
                      <a:pt x="10475" y="31831"/>
                      <a:pt x="10958" y="31379"/>
                      <a:pt x="11270" y="31831"/>
                    </a:cubicBezTo>
                    <a:cubicBezTo>
                      <a:pt x="11270" y="31831"/>
                      <a:pt x="11442" y="31925"/>
                      <a:pt x="11473" y="32003"/>
                    </a:cubicBezTo>
                    <a:cubicBezTo>
                      <a:pt x="11504" y="32081"/>
                      <a:pt x="11785" y="32096"/>
                      <a:pt x="11691" y="32190"/>
                    </a:cubicBezTo>
                    <a:cubicBezTo>
                      <a:pt x="11598" y="32283"/>
                      <a:pt x="11691" y="32424"/>
                      <a:pt x="11769" y="32517"/>
                    </a:cubicBezTo>
                    <a:cubicBezTo>
                      <a:pt x="11847" y="32611"/>
                      <a:pt x="11769" y="32205"/>
                      <a:pt x="11769" y="32408"/>
                    </a:cubicBezTo>
                    <a:cubicBezTo>
                      <a:pt x="11769" y="32268"/>
                      <a:pt x="11894" y="32314"/>
                      <a:pt x="11769" y="32221"/>
                    </a:cubicBezTo>
                    <a:cubicBezTo>
                      <a:pt x="11644" y="32127"/>
                      <a:pt x="12128" y="32455"/>
                      <a:pt x="12128" y="32346"/>
                    </a:cubicBezTo>
                    <a:cubicBezTo>
                      <a:pt x="12128" y="32237"/>
                      <a:pt x="12128" y="32346"/>
                      <a:pt x="12221" y="32439"/>
                    </a:cubicBezTo>
                    <a:cubicBezTo>
                      <a:pt x="12315" y="32533"/>
                      <a:pt x="12221" y="32439"/>
                      <a:pt x="12221" y="32439"/>
                    </a:cubicBezTo>
                    <a:lnTo>
                      <a:pt x="12221" y="32439"/>
                    </a:lnTo>
                    <a:lnTo>
                      <a:pt x="12221" y="32439"/>
                    </a:lnTo>
                    <a:cubicBezTo>
                      <a:pt x="13468" y="32813"/>
                      <a:pt x="14918" y="33998"/>
                      <a:pt x="13546" y="35323"/>
                    </a:cubicBezTo>
                    <a:cubicBezTo>
                      <a:pt x="13546" y="35245"/>
                      <a:pt x="13546" y="35105"/>
                      <a:pt x="13546" y="35229"/>
                    </a:cubicBezTo>
                    <a:cubicBezTo>
                      <a:pt x="13546" y="35354"/>
                      <a:pt x="13453" y="35229"/>
                      <a:pt x="13437" y="35229"/>
                    </a:cubicBezTo>
                    <a:lnTo>
                      <a:pt x="13437" y="35229"/>
                    </a:lnTo>
                    <a:cubicBezTo>
                      <a:pt x="13733" y="35744"/>
                      <a:pt x="14263" y="37770"/>
                      <a:pt x="13437" y="37614"/>
                    </a:cubicBezTo>
                    <a:cubicBezTo>
                      <a:pt x="13437" y="37614"/>
                      <a:pt x="13172" y="37614"/>
                      <a:pt x="13437" y="37614"/>
                    </a:cubicBezTo>
                    <a:cubicBezTo>
                      <a:pt x="13702" y="37614"/>
                      <a:pt x="13297" y="37614"/>
                      <a:pt x="13250" y="37614"/>
                    </a:cubicBezTo>
                    <a:cubicBezTo>
                      <a:pt x="13203" y="37614"/>
                      <a:pt x="13250" y="37692"/>
                      <a:pt x="13250" y="37833"/>
                    </a:cubicBezTo>
                    <a:cubicBezTo>
                      <a:pt x="13032" y="37661"/>
                      <a:pt x="12938" y="38113"/>
                      <a:pt x="12845" y="38082"/>
                    </a:cubicBezTo>
                    <a:cubicBezTo>
                      <a:pt x="12751" y="38051"/>
                      <a:pt x="12845" y="38082"/>
                      <a:pt x="12845" y="38082"/>
                    </a:cubicBezTo>
                    <a:cubicBezTo>
                      <a:pt x="12845" y="38082"/>
                      <a:pt x="12969" y="38160"/>
                      <a:pt x="12845" y="38160"/>
                    </a:cubicBezTo>
                    <a:cubicBezTo>
                      <a:pt x="12720" y="38160"/>
                      <a:pt x="12845" y="38160"/>
                      <a:pt x="12845" y="38160"/>
                    </a:cubicBezTo>
                    <a:cubicBezTo>
                      <a:pt x="12845" y="38160"/>
                      <a:pt x="13110" y="38503"/>
                      <a:pt x="13078" y="38597"/>
                    </a:cubicBezTo>
                    <a:cubicBezTo>
                      <a:pt x="13047" y="38690"/>
                      <a:pt x="13078" y="39657"/>
                      <a:pt x="13078" y="39329"/>
                    </a:cubicBezTo>
                    <a:cubicBezTo>
                      <a:pt x="13078" y="39329"/>
                      <a:pt x="13078" y="39329"/>
                      <a:pt x="13078" y="39251"/>
                    </a:cubicBezTo>
                    <a:cubicBezTo>
                      <a:pt x="13078" y="39173"/>
                      <a:pt x="13078" y="39127"/>
                      <a:pt x="13078" y="39127"/>
                    </a:cubicBezTo>
                    <a:cubicBezTo>
                      <a:pt x="13012" y="39062"/>
                      <a:pt x="12939" y="39004"/>
                      <a:pt x="12860" y="38955"/>
                    </a:cubicBezTo>
                    <a:cubicBezTo>
                      <a:pt x="12915" y="39005"/>
                      <a:pt x="12962" y="39063"/>
                      <a:pt x="13000" y="39127"/>
                    </a:cubicBezTo>
                    <a:cubicBezTo>
                      <a:pt x="13000" y="39127"/>
                      <a:pt x="13110" y="39345"/>
                      <a:pt x="13000" y="39251"/>
                    </a:cubicBezTo>
                    <a:cubicBezTo>
                      <a:pt x="13484" y="39968"/>
                      <a:pt x="13000" y="40171"/>
                      <a:pt x="12564" y="39766"/>
                    </a:cubicBezTo>
                    <a:lnTo>
                      <a:pt x="13203" y="40311"/>
                    </a:lnTo>
                    <a:lnTo>
                      <a:pt x="13203" y="40311"/>
                    </a:lnTo>
                    <a:cubicBezTo>
                      <a:pt x="13283" y="40379"/>
                      <a:pt x="13347" y="40464"/>
                      <a:pt x="13390" y="40561"/>
                    </a:cubicBezTo>
                    <a:lnTo>
                      <a:pt x="13390" y="40561"/>
                    </a:lnTo>
                    <a:cubicBezTo>
                      <a:pt x="13390" y="40561"/>
                      <a:pt x="13562" y="40794"/>
                      <a:pt x="13390" y="40732"/>
                    </a:cubicBezTo>
                    <a:cubicBezTo>
                      <a:pt x="13219" y="40670"/>
                      <a:pt x="13063" y="40732"/>
                      <a:pt x="12969" y="40732"/>
                    </a:cubicBezTo>
                    <a:cubicBezTo>
                      <a:pt x="12876" y="40732"/>
                      <a:pt x="13141" y="40872"/>
                      <a:pt x="13219" y="40950"/>
                    </a:cubicBezTo>
                    <a:lnTo>
                      <a:pt x="13219" y="40950"/>
                    </a:lnTo>
                    <a:cubicBezTo>
                      <a:pt x="13530" y="41262"/>
                      <a:pt x="13608" y="41356"/>
                      <a:pt x="13125" y="41106"/>
                    </a:cubicBezTo>
                    <a:cubicBezTo>
                      <a:pt x="13269" y="41259"/>
                      <a:pt x="13438" y="41385"/>
                      <a:pt x="13624" y="41480"/>
                    </a:cubicBezTo>
                    <a:cubicBezTo>
                      <a:pt x="13624" y="41480"/>
                      <a:pt x="13624" y="41480"/>
                      <a:pt x="13624" y="41480"/>
                    </a:cubicBezTo>
                    <a:lnTo>
                      <a:pt x="13624" y="41480"/>
                    </a:lnTo>
                    <a:cubicBezTo>
                      <a:pt x="13889" y="41683"/>
                      <a:pt x="13733" y="41699"/>
                      <a:pt x="14263" y="42073"/>
                    </a:cubicBezTo>
                    <a:lnTo>
                      <a:pt x="14263" y="42073"/>
                    </a:lnTo>
                    <a:lnTo>
                      <a:pt x="14263" y="42073"/>
                    </a:lnTo>
                    <a:lnTo>
                      <a:pt x="14263" y="42073"/>
                    </a:lnTo>
                    <a:cubicBezTo>
                      <a:pt x="14513" y="42353"/>
                      <a:pt x="14918" y="42416"/>
                      <a:pt x="15183" y="42665"/>
                    </a:cubicBezTo>
                    <a:lnTo>
                      <a:pt x="15183" y="42665"/>
                    </a:lnTo>
                    <a:lnTo>
                      <a:pt x="15183" y="42665"/>
                    </a:lnTo>
                    <a:lnTo>
                      <a:pt x="15183" y="42665"/>
                    </a:lnTo>
                    <a:lnTo>
                      <a:pt x="15323" y="42774"/>
                    </a:lnTo>
                    <a:lnTo>
                      <a:pt x="15323" y="42774"/>
                    </a:lnTo>
                    <a:lnTo>
                      <a:pt x="15510" y="42899"/>
                    </a:lnTo>
                    <a:cubicBezTo>
                      <a:pt x="15510" y="42899"/>
                      <a:pt x="15510" y="42899"/>
                      <a:pt x="15417" y="42899"/>
                    </a:cubicBezTo>
                    <a:cubicBezTo>
                      <a:pt x="15680" y="43066"/>
                      <a:pt x="15956" y="43212"/>
                      <a:pt x="16243" y="43335"/>
                    </a:cubicBezTo>
                    <a:lnTo>
                      <a:pt x="16243" y="43335"/>
                    </a:lnTo>
                    <a:cubicBezTo>
                      <a:pt x="16149" y="43335"/>
                      <a:pt x="16243" y="43335"/>
                      <a:pt x="16243" y="43335"/>
                    </a:cubicBezTo>
                    <a:lnTo>
                      <a:pt x="16243" y="43335"/>
                    </a:lnTo>
                    <a:cubicBezTo>
                      <a:pt x="16389" y="43422"/>
                      <a:pt x="16539" y="43501"/>
                      <a:pt x="16695" y="43569"/>
                    </a:cubicBezTo>
                    <a:lnTo>
                      <a:pt x="16492" y="43569"/>
                    </a:lnTo>
                    <a:close/>
                    <a:moveTo>
                      <a:pt x="18659" y="9182"/>
                    </a:moveTo>
                    <a:cubicBezTo>
                      <a:pt x="18410" y="9446"/>
                      <a:pt x="18659" y="9088"/>
                      <a:pt x="18659" y="9057"/>
                    </a:cubicBezTo>
                    <a:cubicBezTo>
                      <a:pt x="18659" y="9026"/>
                      <a:pt x="18534" y="9197"/>
                      <a:pt x="18410" y="9369"/>
                    </a:cubicBezTo>
                    <a:cubicBezTo>
                      <a:pt x="17989" y="9150"/>
                      <a:pt x="17770" y="9961"/>
                      <a:pt x="17505" y="9899"/>
                    </a:cubicBezTo>
                    <a:cubicBezTo>
                      <a:pt x="17724" y="10132"/>
                      <a:pt x="17334" y="9899"/>
                      <a:pt x="17381" y="10132"/>
                    </a:cubicBezTo>
                    <a:cubicBezTo>
                      <a:pt x="17256" y="9945"/>
                      <a:pt x="17381" y="10132"/>
                      <a:pt x="17381" y="10132"/>
                    </a:cubicBezTo>
                    <a:cubicBezTo>
                      <a:pt x="17381" y="9899"/>
                      <a:pt x="17381" y="10397"/>
                      <a:pt x="17240" y="10132"/>
                    </a:cubicBezTo>
                    <a:cubicBezTo>
                      <a:pt x="16960" y="10132"/>
                      <a:pt x="17240" y="10507"/>
                      <a:pt x="16866" y="10507"/>
                    </a:cubicBezTo>
                    <a:cubicBezTo>
                      <a:pt x="16866" y="10507"/>
                      <a:pt x="16633" y="10912"/>
                      <a:pt x="16570" y="10803"/>
                    </a:cubicBezTo>
                    <a:cubicBezTo>
                      <a:pt x="16508" y="10694"/>
                      <a:pt x="16196" y="11302"/>
                      <a:pt x="16336" y="10990"/>
                    </a:cubicBezTo>
                    <a:cubicBezTo>
                      <a:pt x="15915" y="11255"/>
                      <a:pt x="16430" y="10834"/>
                      <a:pt x="16103" y="10896"/>
                    </a:cubicBezTo>
                    <a:cubicBezTo>
                      <a:pt x="16492" y="10600"/>
                      <a:pt x="16399" y="10662"/>
                      <a:pt x="15884" y="10694"/>
                    </a:cubicBezTo>
                    <a:cubicBezTo>
                      <a:pt x="15962" y="10267"/>
                      <a:pt x="16121" y="9860"/>
                      <a:pt x="16352" y="9493"/>
                    </a:cubicBezTo>
                    <a:cubicBezTo>
                      <a:pt x="16352" y="9275"/>
                      <a:pt x="16539" y="9493"/>
                      <a:pt x="16742" y="9197"/>
                    </a:cubicBezTo>
                    <a:cubicBezTo>
                      <a:pt x="16321" y="9353"/>
                      <a:pt x="16321" y="9197"/>
                      <a:pt x="16742" y="8839"/>
                    </a:cubicBezTo>
                    <a:cubicBezTo>
                      <a:pt x="16648" y="8839"/>
                      <a:pt x="16523" y="8839"/>
                      <a:pt x="16648" y="8839"/>
                    </a:cubicBezTo>
                    <a:cubicBezTo>
                      <a:pt x="16773" y="8839"/>
                      <a:pt x="16648" y="8745"/>
                      <a:pt x="17209" y="8480"/>
                    </a:cubicBezTo>
                    <a:cubicBezTo>
                      <a:pt x="16071" y="8901"/>
                      <a:pt x="17599" y="8137"/>
                      <a:pt x="17038" y="8262"/>
                    </a:cubicBezTo>
                    <a:cubicBezTo>
                      <a:pt x="17490" y="7856"/>
                      <a:pt x="17381" y="8433"/>
                      <a:pt x="17537" y="8262"/>
                    </a:cubicBezTo>
                    <a:cubicBezTo>
                      <a:pt x="17240" y="8262"/>
                      <a:pt x="17848" y="8044"/>
                      <a:pt x="17537" y="8137"/>
                    </a:cubicBezTo>
                    <a:cubicBezTo>
                      <a:pt x="17646" y="8028"/>
                      <a:pt x="17396" y="8137"/>
                      <a:pt x="17194" y="8137"/>
                    </a:cubicBezTo>
                    <a:cubicBezTo>
                      <a:pt x="17630" y="7747"/>
                      <a:pt x="17459" y="8246"/>
                      <a:pt x="17786" y="7872"/>
                    </a:cubicBezTo>
                    <a:cubicBezTo>
                      <a:pt x="17505" y="8028"/>
                      <a:pt x="17552" y="7763"/>
                      <a:pt x="17786" y="7872"/>
                    </a:cubicBezTo>
                    <a:cubicBezTo>
                      <a:pt x="17976" y="7744"/>
                      <a:pt x="18154" y="7598"/>
                      <a:pt x="18316" y="7436"/>
                    </a:cubicBezTo>
                    <a:cubicBezTo>
                      <a:pt x="18145" y="7436"/>
                      <a:pt x="18316" y="6594"/>
                      <a:pt x="18472" y="7217"/>
                    </a:cubicBezTo>
                    <a:cubicBezTo>
                      <a:pt x="18472" y="7217"/>
                      <a:pt x="18612" y="6999"/>
                      <a:pt x="18659" y="7046"/>
                    </a:cubicBezTo>
                    <a:cubicBezTo>
                      <a:pt x="18706" y="7093"/>
                      <a:pt x="19189" y="6344"/>
                      <a:pt x="18768" y="6703"/>
                    </a:cubicBezTo>
                    <a:cubicBezTo>
                      <a:pt x="18347" y="7061"/>
                      <a:pt x="19205" y="6282"/>
                      <a:pt x="19735" y="5752"/>
                    </a:cubicBezTo>
                    <a:cubicBezTo>
                      <a:pt x="21013" y="4770"/>
                      <a:pt x="19735" y="4988"/>
                      <a:pt x="20795" y="4521"/>
                    </a:cubicBezTo>
                    <a:cubicBezTo>
                      <a:pt x="20950" y="4521"/>
                      <a:pt x="21060" y="4599"/>
                      <a:pt x="21169" y="4396"/>
                    </a:cubicBezTo>
                    <a:cubicBezTo>
                      <a:pt x="23897" y="3227"/>
                      <a:pt x="23211" y="3866"/>
                      <a:pt x="24286" y="3351"/>
                    </a:cubicBezTo>
                    <a:cubicBezTo>
                      <a:pt x="23974" y="3523"/>
                      <a:pt x="24286" y="3351"/>
                      <a:pt x="24395" y="3351"/>
                    </a:cubicBezTo>
                    <a:cubicBezTo>
                      <a:pt x="24052" y="3585"/>
                      <a:pt x="24239" y="3351"/>
                      <a:pt x="24146" y="3585"/>
                    </a:cubicBezTo>
                    <a:cubicBezTo>
                      <a:pt x="24286" y="3757"/>
                      <a:pt x="23382" y="3850"/>
                      <a:pt x="23787" y="3819"/>
                    </a:cubicBezTo>
                    <a:cubicBezTo>
                      <a:pt x="24193" y="3788"/>
                      <a:pt x="23647" y="3944"/>
                      <a:pt x="23787" y="3928"/>
                    </a:cubicBezTo>
                    <a:cubicBezTo>
                      <a:pt x="24099" y="3679"/>
                      <a:pt x="23787" y="4069"/>
                      <a:pt x="23663" y="4084"/>
                    </a:cubicBezTo>
                    <a:cubicBezTo>
                      <a:pt x="22946" y="4645"/>
                      <a:pt x="24536" y="3398"/>
                      <a:pt x="23943" y="4193"/>
                    </a:cubicBezTo>
                    <a:cubicBezTo>
                      <a:pt x="23694" y="4396"/>
                      <a:pt x="23429" y="4411"/>
                      <a:pt x="23647" y="4489"/>
                    </a:cubicBezTo>
                    <a:cubicBezTo>
                      <a:pt x="23298" y="4794"/>
                      <a:pt x="23057" y="5205"/>
                      <a:pt x="22961" y="5659"/>
                    </a:cubicBezTo>
                    <a:cubicBezTo>
                      <a:pt x="22868" y="5331"/>
                      <a:pt x="22462" y="5830"/>
                      <a:pt x="22790" y="5783"/>
                    </a:cubicBezTo>
                    <a:cubicBezTo>
                      <a:pt x="22540" y="5986"/>
                      <a:pt x="22790" y="5783"/>
                      <a:pt x="22696" y="5986"/>
                    </a:cubicBezTo>
                    <a:cubicBezTo>
                      <a:pt x="22603" y="6189"/>
                      <a:pt x="22540" y="5986"/>
                      <a:pt x="22462" y="5986"/>
                    </a:cubicBezTo>
                    <a:cubicBezTo>
                      <a:pt x="22385" y="5986"/>
                      <a:pt x="22462" y="6313"/>
                      <a:pt x="22462" y="6142"/>
                    </a:cubicBezTo>
                    <a:cubicBezTo>
                      <a:pt x="22462" y="6235"/>
                      <a:pt x="22743" y="6469"/>
                      <a:pt x="22462" y="6516"/>
                    </a:cubicBezTo>
                    <a:cubicBezTo>
                      <a:pt x="22026" y="6126"/>
                      <a:pt x="22462" y="6874"/>
                      <a:pt x="22182" y="6796"/>
                    </a:cubicBezTo>
                    <a:cubicBezTo>
                      <a:pt x="21745" y="7015"/>
                      <a:pt x="22182" y="6407"/>
                      <a:pt x="21901" y="6796"/>
                    </a:cubicBezTo>
                    <a:cubicBezTo>
                      <a:pt x="21901" y="6609"/>
                      <a:pt x="21605" y="6906"/>
                      <a:pt x="21543" y="6921"/>
                    </a:cubicBezTo>
                    <a:cubicBezTo>
                      <a:pt x="21917" y="6921"/>
                      <a:pt x="21543" y="7046"/>
                      <a:pt x="21543" y="7061"/>
                    </a:cubicBezTo>
                    <a:cubicBezTo>
                      <a:pt x="21995" y="7061"/>
                      <a:pt x="21543" y="7186"/>
                      <a:pt x="21621" y="7249"/>
                    </a:cubicBezTo>
                    <a:cubicBezTo>
                      <a:pt x="22182" y="7342"/>
                      <a:pt x="21340" y="8807"/>
                      <a:pt x="21402" y="7498"/>
                    </a:cubicBezTo>
                    <a:cubicBezTo>
                      <a:pt x="20904" y="7171"/>
                      <a:pt x="21761" y="7856"/>
                      <a:pt x="20997" y="7732"/>
                    </a:cubicBezTo>
                    <a:cubicBezTo>
                      <a:pt x="21137" y="7841"/>
                      <a:pt x="20576" y="7966"/>
                      <a:pt x="20810" y="7919"/>
                    </a:cubicBezTo>
                    <a:cubicBezTo>
                      <a:pt x="21044" y="7872"/>
                      <a:pt x="21169" y="8090"/>
                      <a:pt x="20810" y="8028"/>
                    </a:cubicBezTo>
                    <a:cubicBezTo>
                      <a:pt x="20452" y="7966"/>
                      <a:pt x="21855" y="8028"/>
                      <a:pt x="21278" y="8277"/>
                    </a:cubicBezTo>
                    <a:cubicBezTo>
                      <a:pt x="21278" y="8277"/>
                      <a:pt x="21028" y="8464"/>
                      <a:pt x="20997" y="8418"/>
                    </a:cubicBezTo>
                    <a:cubicBezTo>
                      <a:pt x="20966" y="8371"/>
                      <a:pt x="19844" y="8948"/>
                      <a:pt x="19922" y="8527"/>
                    </a:cubicBezTo>
                    <a:cubicBezTo>
                      <a:pt x="20000" y="8106"/>
                      <a:pt x="19922" y="8745"/>
                      <a:pt x="19812" y="8761"/>
                    </a:cubicBezTo>
                    <a:cubicBezTo>
                      <a:pt x="19407" y="8792"/>
                      <a:pt x="18706" y="9556"/>
                      <a:pt x="18659" y="9182"/>
                    </a:cubicBezTo>
                    <a:close/>
                    <a:moveTo>
                      <a:pt x="21480" y="10382"/>
                    </a:moveTo>
                    <a:cubicBezTo>
                      <a:pt x="21480" y="10507"/>
                      <a:pt x="21293" y="10475"/>
                      <a:pt x="21247" y="10382"/>
                    </a:cubicBezTo>
                    <a:cubicBezTo>
                      <a:pt x="21200" y="10288"/>
                      <a:pt x="21075" y="10382"/>
                      <a:pt x="21122" y="10273"/>
                    </a:cubicBezTo>
                    <a:cubicBezTo>
                      <a:pt x="21169" y="10164"/>
                      <a:pt x="21044" y="10273"/>
                      <a:pt x="21122" y="10273"/>
                    </a:cubicBezTo>
                    <a:cubicBezTo>
                      <a:pt x="21030" y="10296"/>
                      <a:pt x="20933" y="10296"/>
                      <a:pt x="20841" y="10273"/>
                    </a:cubicBezTo>
                    <a:cubicBezTo>
                      <a:pt x="20841" y="10273"/>
                      <a:pt x="20841" y="10273"/>
                      <a:pt x="20841" y="10273"/>
                    </a:cubicBezTo>
                    <a:cubicBezTo>
                      <a:pt x="20841" y="10273"/>
                      <a:pt x="20841" y="10273"/>
                      <a:pt x="20841" y="10195"/>
                    </a:cubicBezTo>
                    <a:cubicBezTo>
                      <a:pt x="20841" y="10117"/>
                      <a:pt x="20841" y="10195"/>
                      <a:pt x="20841" y="10195"/>
                    </a:cubicBezTo>
                    <a:cubicBezTo>
                      <a:pt x="20841" y="10195"/>
                      <a:pt x="20982" y="10070"/>
                      <a:pt x="21060" y="10117"/>
                    </a:cubicBezTo>
                    <a:cubicBezTo>
                      <a:pt x="21137" y="10164"/>
                      <a:pt x="20826" y="10210"/>
                      <a:pt x="21060" y="10008"/>
                    </a:cubicBezTo>
                    <a:cubicBezTo>
                      <a:pt x="21060" y="10086"/>
                      <a:pt x="20919" y="10008"/>
                      <a:pt x="21060" y="9930"/>
                    </a:cubicBezTo>
                    <a:cubicBezTo>
                      <a:pt x="21200" y="9852"/>
                      <a:pt x="20826" y="9930"/>
                      <a:pt x="20826" y="9821"/>
                    </a:cubicBezTo>
                    <a:cubicBezTo>
                      <a:pt x="20826" y="9711"/>
                      <a:pt x="21060" y="9743"/>
                      <a:pt x="21075" y="9821"/>
                    </a:cubicBezTo>
                    <a:cubicBezTo>
                      <a:pt x="21091" y="9899"/>
                      <a:pt x="21231" y="9821"/>
                      <a:pt x="21247" y="9727"/>
                    </a:cubicBezTo>
                    <a:cubicBezTo>
                      <a:pt x="21262" y="9634"/>
                      <a:pt x="21137" y="9727"/>
                      <a:pt x="21247" y="9727"/>
                    </a:cubicBezTo>
                    <a:cubicBezTo>
                      <a:pt x="21356" y="9727"/>
                      <a:pt x="21137" y="9727"/>
                      <a:pt x="21247" y="9649"/>
                    </a:cubicBezTo>
                    <a:cubicBezTo>
                      <a:pt x="21356" y="9571"/>
                      <a:pt x="21247" y="9649"/>
                      <a:pt x="21247" y="9649"/>
                    </a:cubicBezTo>
                    <a:cubicBezTo>
                      <a:pt x="21247" y="9649"/>
                      <a:pt x="21247" y="9727"/>
                      <a:pt x="21247" y="9649"/>
                    </a:cubicBezTo>
                    <a:cubicBezTo>
                      <a:pt x="21247" y="9571"/>
                      <a:pt x="21247" y="9649"/>
                      <a:pt x="21247" y="9649"/>
                    </a:cubicBezTo>
                    <a:cubicBezTo>
                      <a:pt x="21075" y="9867"/>
                      <a:pt x="20982" y="9509"/>
                      <a:pt x="21137" y="9649"/>
                    </a:cubicBezTo>
                    <a:cubicBezTo>
                      <a:pt x="21293" y="9789"/>
                      <a:pt x="21137" y="9509"/>
                      <a:pt x="21137" y="9649"/>
                    </a:cubicBezTo>
                    <a:cubicBezTo>
                      <a:pt x="21137" y="9789"/>
                      <a:pt x="21137" y="9649"/>
                      <a:pt x="21137" y="9649"/>
                    </a:cubicBezTo>
                    <a:cubicBezTo>
                      <a:pt x="21137" y="9649"/>
                      <a:pt x="21137" y="9556"/>
                      <a:pt x="21137" y="9649"/>
                    </a:cubicBezTo>
                    <a:cubicBezTo>
                      <a:pt x="21137" y="9743"/>
                      <a:pt x="21137" y="9509"/>
                      <a:pt x="21137" y="9649"/>
                    </a:cubicBezTo>
                    <a:cubicBezTo>
                      <a:pt x="21137" y="9789"/>
                      <a:pt x="21247" y="9649"/>
                      <a:pt x="21137" y="9649"/>
                    </a:cubicBezTo>
                    <a:cubicBezTo>
                      <a:pt x="21028" y="9649"/>
                      <a:pt x="21231" y="9649"/>
                      <a:pt x="21137" y="9649"/>
                    </a:cubicBezTo>
                    <a:cubicBezTo>
                      <a:pt x="21044" y="9649"/>
                      <a:pt x="20982" y="9509"/>
                      <a:pt x="21137" y="9509"/>
                    </a:cubicBezTo>
                    <a:cubicBezTo>
                      <a:pt x="20872" y="9415"/>
                      <a:pt x="21231" y="9415"/>
                      <a:pt x="21137" y="9602"/>
                    </a:cubicBezTo>
                    <a:cubicBezTo>
                      <a:pt x="21137" y="9602"/>
                      <a:pt x="21137" y="9602"/>
                      <a:pt x="21137" y="9602"/>
                    </a:cubicBezTo>
                    <a:cubicBezTo>
                      <a:pt x="21137" y="9602"/>
                      <a:pt x="21137" y="9711"/>
                      <a:pt x="21137" y="9602"/>
                    </a:cubicBezTo>
                    <a:cubicBezTo>
                      <a:pt x="21147" y="9627"/>
                      <a:pt x="21147" y="9655"/>
                      <a:pt x="21137" y="9680"/>
                    </a:cubicBezTo>
                    <a:cubicBezTo>
                      <a:pt x="21137" y="9680"/>
                      <a:pt x="21137" y="9758"/>
                      <a:pt x="21137" y="9789"/>
                    </a:cubicBezTo>
                    <a:cubicBezTo>
                      <a:pt x="21137" y="9821"/>
                      <a:pt x="21137" y="9789"/>
                      <a:pt x="21137" y="9867"/>
                    </a:cubicBezTo>
                    <a:cubicBezTo>
                      <a:pt x="21156" y="9800"/>
                      <a:pt x="21201" y="9744"/>
                      <a:pt x="21262" y="9711"/>
                    </a:cubicBezTo>
                    <a:cubicBezTo>
                      <a:pt x="21262" y="9899"/>
                      <a:pt x="21262" y="9509"/>
                      <a:pt x="21418" y="9493"/>
                    </a:cubicBezTo>
                    <a:cubicBezTo>
                      <a:pt x="21574" y="9478"/>
                      <a:pt x="21418" y="9602"/>
                      <a:pt x="21418" y="9618"/>
                    </a:cubicBezTo>
                    <a:cubicBezTo>
                      <a:pt x="21418" y="9634"/>
                      <a:pt x="21496" y="9493"/>
                      <a:pt x="21590" y="9509"/>
                    </a:cubicBezTo>
                    <a:cubicBezTo>
                      <a:pt x="21628" y="9598"/>
                      <a:pt x="21628" y="9700"/>
                      <a:pt x="21590" y="9789"/>
                    </a:cubicBezTo>
                    <a:cubicBezTo>
                      <a:pt x="21683" y="9711"/>
                      <a:pt x="21590" y="9493"/>
                      <a:pt x="21745" y="9540"/>
                    </a:cubicBezTo>
                    <a:cubicBezTo>
                      <a:pt x="21901" y="9587"/>
                      <a:pt x="21886" y="9415"/>
                      <a:pt x="21870" y="9540"/>
                    </a:cubicBezTo>
                    <a:cubicBezTo>
                      <a:pt x="21855" y="9665"/>
                      <a:pt x="22104" y="9275"/>
                      <a:pt x="22073" y="9540"/>
                    </a:cubicBezTo>
                    <a:cubicBezTo>
                      <a:pt x="22042" y="9805"/>
                      <a:pt x="22182" y="9400"/>
                      <a:pt x="22260" y="9540"/>
                    </a:cubicBezTo>
                    <a:cubicBezTo>
                      <a:pt x="22338" y="9680"/>
                      <a:pt x="22104" y="9680"/>
                      <a:pt x="22260" y="9649"/>
                    </a:cubicBezTo>
                    <a:cubicBezTo>
                      <a:pt x="22416" y="9618"/>
                      <a:pt x="22166" y="9649"/>
                      <a:pt x="22260" y="9805"/>
                    </a:cubicBezTo>
                    <a:cubicBezTo>
                      <a:pt x="22353" y="9961"/>
                      <a:pt x="22260" y="9805"/>
                      <a:pt x="22260" y="9805"/>
                    </a:cubicBezTo>
                    <a:cubicBezTo>
                      <a:pt x="22462" y="9805"/>
                      <a:pt x="22338" y="9805"/>
                      <a:pt x="22260" y="9914"/>
                    </a:cubicBezTo>
                    <a:cubicBezTo>
                      <a:pt x="22182" y="10023"/>
                      <a:pt x="22260" y="10054"/>
                      <a:pt x="22260" y="10117"/>
                    </a:cubicBezTo>
                    <a:cubicBezTo>
                      <a:pt x="22120" y="9914"/>
                      <a:pt x="22260" y="10382"/>
                      <a:pt x="22042" y="10117"/>
                    </a:cubicBezTo>
                    <a:cubicBezTo>
                      <a:pt x="22042" y="10226"/>
                      <a:pt x="21839" y="10226"/>
                      <a:pt x="21761" y="10335"/>
                    </a:cubicBezTo>
                    <a:lnTo>
                      <a:pt x="21761" y="10335"/>
                    </a:lnTo>
                    <a:cubicBezTo>
                      <a:pt x="21761" y="10335"/>
                      <a:pt x="21636" y="10335"/>
                      <a:pt x="21590" y="10335"/>
                    </a:cubicBezTo>
                    <a:cubicBezTo>
                      <a:pt x="21543" y="10335"/>
                      <a:pt x="21590" y="10335"/>
                      <a:pt x="21590" y="10335"/>
                    </a:cubicBezTo>
                    <a:cubicBezTo>
                      <a:pt x="21590" y="10335"/>
                      <a:pt x="21543" y="10522"/>
                      <a:pt x="21480" y="10382"/>
                    </a:cubicBezTo>
                    <a:close/>
                    <a:moveTo>
                      <a:pt x="34652" y="37692"/>
                    </a:moveTo>
                    <a:cubicBezTo>
                      <a:pt x="34543" y="37412"/>
                      <a:pt x="35011" y="37100"/>
                      <a:pt x="35214" y="36882"/>
                    </a:cubicBezTo>
                    <a:cubicBezTo>
                      <a:pt x="35416" y="36664"/>
                      <a:pt x="35416" y="36056"/>
                      <a:pt x="35884" y="35869"/>
                    </a:cubicBezTo>
                    <a:lnTo>
                      <a:pt x="35884" y="35869"/>
                    </a:lnTo>
                    <a:cubicBezTo>
                      <a:pt x="35884" y="35869"/>
                      <a:pt x="35884" y="35869"/>
                      <a:pt x="35884" y="35869"/>
                    </a:cubicBezTo>
                    <a:cubicBezTo>
                      <a:pt x="35884" y="35869"/>
                      <a:pt x="35977" y="35869"/>
                      <a:pt x="36102" y="35744"/>
                    </a:cubicBezTo>
                    <a:cubicBezTo>
                      <a:pt x="35993" y="36009"/>
                      <a:pt x="36367" y="35463"/>
                      <a:pt x="36258" y="35744"/>
                    </a:cubicBezTo>
                    <a:cubicBezTo>
                      <a:pt x="36149" y="36024"/>
                      <a:pt x="36258" y="35744"/>
                      <a:pt x="36258" y="35744"/>
                    </a:cubicBezTo>
                    <a:cubicBezTo>
                      <a:pt x="36258" y="35744"/>
                      <a:pt x="36258" y="35744"/>
                      <a:pt x="36258" y="35619"/>
                    </a:cubicBezTo>
                    <a:cubicBezTo>
                      <a:pt x="36258" y="35494"/>
                      <a:pt x="36367" y="35619"/>
                      <a:pt x="36258" y="35619"/>
                    </a:cubicBezTo>
                    <a:lnTo>
                      <a:pt x="36258" y="35619"/>
                    </a:lnTo>
                    <a:cubicBezTo>
                      <a:pt x="36258" y="35619"/>
                      <a:pt x="36258" y="35619"/>
                      <a:pt x="36258" y="35728"/>
                    </a:cubicBezTo>
                    <a:cubicBezTo>
                      <a:pt x="36258" y="35837"/>
                      <a:pt x="36383" y="35572"/>
                      <a:pt x="36398" y="35635"/>
                    </a:cubicBezTo>
                    <a:cubicBezTo>
                      <a:pt x="36414" y="35697"/>
                      <a:pt x="36398" y="35635"/>
                      <a:pt x="36398" y="35526"/>
                    </a:cubicBezTo>
                    <a:cubicBezTo>
                      <a:pt x="36398" y="35417"/>
                      <a:pt x="36538" y="35526"/>
                      <a:pt x="36398" y="35432"/>
                    </a:cubicBezTo>
                    <a:cubicBezTo>
                      <a:pt x="36258" y="35339"/>
                      <a:pt x="36398" y="35526"/>
                      <a:pt x="36538" y="35339"/>
                    </a:cubicBezTo>
                    <a:cubicBezTo>
                      <a:pt x="36679" y="35152"/>
                      <a:pt x="36788" y="35152"/>
                      <a:pt x="36741" y="34996"/>
                    </a:cubicBezTo>
                    <a:cubicBezTo>
                      <a:pt x="36694" y="34840"/>
                      <a:pt x="36835" y="34996"/>
                      <a:pt x="36913" y="34887"/>
                    </a:cubicBezTo>
                    <a:cubicBezTo>
                      <a:pt x="36991" y="34777"/>
                      <a:pt x="36913" y="35089"/>
                      <a:pt x="36913" y="35089"/>
                    </a:cubicBezTo>
                    <a:cubicBezTo>
                      <a:pt x="37521" y="35323"/>
                      <a:pt x="34044" y="39532"/>
                      <a:pt x="34652" y="37692"/>
                    </a:cubicBezTo>
                    <a:close/>
                    <a:moveTo>
                      <a:pt x="44613" y="24131"/>
                    </a:moveTo>
                    <a:cubicBezTo>
                      <a:pt x="44613" y="24131"/>
                      <a:pt x="44613" y="24131"/>
                      <a:pt x="44613" y="24131"/>
                    </a:cubicBezTo>
                    <a:cubicBezTo>
                      <a:pt x="44296" y="25340"/>
                      <a:pt x="44062" y="26569"/>
                      <a:pt x="43912" y="27809"/>
                    </a:cubicBezTo>
                    <a:cubicBezTo>
                      <a:pt x="43912" y="27716"/>
                      <a:pt x="43756" y="27934"/>
                      <a:pt x="43756" y="27997"/>
                    </a:cubicBezTo>
                    <a:cubicBezTo>
                      <a:pt x="43584" y="28651"/>
                      <a:pt x="43179" y="24380"/>
                      <a:pt x="43210" y="24006"/>
                    </a:cubicBezTo>
                    <a:cubicBezTo>
                      <a:pt x="43070" y="24006"/>
                      <a:pt x="43210" y="23834"/>
                      <a:pt x="43210" y="23741"/>
                    </a:cubicBezTo>
                    <a:cubicBezTo>
                      <a:pt x="43210" y="23647"/>
                      <a:pt x="43132" y="23741"/>
                      <a:pt x="43132" y="23741"/>
                    </a:cubicBezTo>
                    <a:cubicBezTo>
                      <a:pt x="43132" y="24099"/>
                      <a:pt x="42992" y="24832"/>
                      <a:pt x="42743" y="24146"/>
                    </a:cubicBezTo>
                    <a:cubicBezTo>
                      <a:pt x="42743" y="24146"/>
                      <a:pt x="42571" y="23897"/>
                      <a:pt x="42649" y="23944"/>
                    </a:cubicBezTo>
                    <a:lnTo>
                      <a:pt x="42649" y="23944"/>
                    </a:lnTo>
                    <a:cubicBezTo>
                      <a:pt x="42649" y="24084"/>
                      <a:pt x="42649" y="23944"/>
                      <a:pt x="42649" y="23944"/>
                    </a:cubicBezTo>
                    <a:cubicBezTo>
                      <a:pt x="42649" y="23944"/>
                      <a:pt x="42836" y="23663"/>
                      <a:pt x="42727" y="23632"/>
                    </a:cubicBezTo>
                    <a:cubicBezTo>
                      <a:pt x="42727" y="23944"/>
                      <a:pt x="42275" y="23632"/>
                      <a:pt x="42478" y="23445"/>
                    </a:cubicBezTo>
                    <a:cubicBezTo>
                      <a:pt x="42478" y="23445"/>
                      <a:pt x="42478" y="23538"/>
                      <a:pt x="42368" y="23569"/>
                    </a:cubicBezTo>
                    <a:cubicBezTo>
                      <a:pt x="42259" y="23601"/>
                      <a:pt x="42368" y="23492"/>
                      <a:pt x="42244" y="23569"/>
                    </a:cubicBezTo>
                    <a:cubicBezTo>
                      <a:pt x="42119" y="23647"/>
                      <a:pt x="42244" y="23320"/>
                      <a:pt x="42135" y="23195"/>
                    </a:cubicBezTo>
                    <a:cubicBezTo>
                      <a:pt x="41963" y="23351"/>
                      <a:pt x="42135" y="22977"/>
                      <a:pt x="41854" y="23086"/>
                    </a:cubicBezTo>
                    <a:cubicBezTo>
                      <a:pt x="41854" y="23086"/>
                      <a:pt x="41714" y="23164"/>
                      <a:pt x="41667" y="23242"/>
                    </a:cubicBezTo>
                    <a:cubicBezTo>
                      <a:pt x="41620" y="23320"/>
                      <a:pt x="41573" y="23242"/>
                      <a:pt x="41511" y="23242"/>
                    </a:cubicBezTo>
                    <a:cubicBezTo>
                      <a:pt x="41449" y="23242"/>
                      <a:pt x="41386" y="23242"/>
                      <a:pt x="41340" y="23382"/>
                    </a:cubicBezTo>
                    <a:cubicBezTo>
                      <a:pt x="41293" y="23523"/>
                      <a:pt x="41340" y="23382"/>
                      <a:pt x="41231" y="23382"/>
                    </a:cubicBezTo>
                    <a:cubicBezTo>
                      <a:pt x="41121" y="23382"/>
                      <a:pt x="41075" y="23492"/>
                      <a:pt x="41028" y="23304"/>
                    </a:cubicBezTo>
                    <a:cubicBezTo>
                      <a:pt x="41028" y="23398"/>
                      <a:pt x="40669" y="23304"/>
                      <a:pt x="40591" y="23304"/>
                    </a:cubicBezTo>
                    <a:cubicBezTo>
                      <a:pt x="40513" y="23304"/>
                      <a:pt x="40451" y="23304"/>
                      <a:pt x="40342" y="23304"/>
                    </a:cubicBezTo>
                    <a:cubicBezTo>
                      <a:pt x="40093" y="22400"/>
                      <a:pt x="40061" y="23180"/>
                      <a:pt x="39625" y="23055"/>
                    </a:cubicBezTo>
                    <a:cubicBezTo>
                      <a:pt x="39531" y="23055"/>
                      <a:pt x="39251" y="22946"/>
                      <a:pt x="39282" y="22821"/>
                    </a:cubicBezTo>
                    <a:cubicBezTo>
                      <a:pt x="39313" y="22697"/>
                      <a:pt x="38877" y="22821"/>
                      <a:pt x="38846" y="22509"/>
                    </a:cubicBezTo>
                    <a:cubicBezTo>
                      <a:pt x="38846" y="22509"/>
                      <a:pt x="38736" y="22509"/>
                      <a:pt x="38846" y="22509"/>
                    </a:cubicBezTo>
                    <a:cubicBezTo>
                      <a:pt x="38690" y="22509"/>
                      <a:pt x="38627" y="21948"/>
                      <a:pt x="38456" y="22167"/>
                    </a:cubicBezTo>
                    <a:cubicBezTo>
                      <a:pt x="38456" y="22089"/>
                      <a:pt x="38316" y="22167"/>
                      <a:pt x="38362" y="22026"/>
                    </a:cubicBezTo>
                    <a:cubicBezTo>
                      <a:pt x="38409" y="21886"/>
                      <a:pt x="38362" y="22026"/>
                      <a:pt x="38362" y="22026"/>
                    </a:cubicBezTo>
                    <a:cubicBezTo>
                      <a:pt x="38362" y="22026"/>
                      <a:pt x="38362" y="22229"/>
                      <a:pt x="38362" y="22026"/>
                    </a:cubicBezTo>
                    <a:cubicBezTo>
                      <a:pt x="38362" y="21824"/>
                      <a:pt x="38362" y="22307"/>
                      <a:pt x="38206" y="22322"/>
                    </a:cubicBezTo>
                    <a:lnTo>
                      <a:pt x="38316" y="22322"/>
                    </a:lnTo>
                    <a:lnTo>
                      <a:pt x="38316" y="22322"/>
                    </a:lnTo>
                    <a:cubicBezTo>
                      <a:pt x="38316" y="22322"/>
                      <a:pt x="38316" y="22416"/>
                      <a:pt x="38316" y="22447"/>
                    </a:cubicBezTo>
                    <a:cubicBezTo>
                      <a:pt x="38316" y="22478"/>
                      <a:pt x="38316" y="22541"/>
                      <a:pt x="38316" y="22447"/>
                    </a:cubicBezTo>
                    <a:cubicBezTo>
                      <a:pt x="38351" y="22594"/>
                      <a:pt x="38447" y="22719"/>
                      <a:pt x="38581" y="22790"/>
                    </a:cubicBezTo>
                    <a:cubicBezTo>
                      <a:pt x="38581" y="22790"/>
                      <a:pt x="38861" y="23086"/>
                      <a:pt x="38814" y="23242"/>
                    </a:cubicBezTo>
                    <a:lnTo>
                      <a:pt x="38814" y="23242"/>
                    </a:lnTo>
                    <a:cubicBezTo>
                      <a:pt x="39017" y="23460"/>
                      <a:pt x="39048" y="23881"/>
                      <a:pt x="39064" y="23398"/>
                    </a:cubicBezTo>
                    <a:cubicBezTo>
                      <a:pt x="39064" y="23273"/>
                      <a:pt x="39064" y="23086"/>
                      <a:pt x="39173" y="23258"/>
                    </a:cubicBezTo>
                    <a:cubicBezTo>
                      <a:pt x="39144" y="23402"/>
                      <a:pt x="39144" y="23550"/>
                      <a:pt x="39173" y="23694"/>
                    </a:cubicBezTo>
                    <a:cubicBezTo>
                      <a:pt x="39173" y="23694"/>
                      <a:pt x="39173" y="23866"/>
                      <a:pt x="39173" y="23788"/>
                    </a:cubicBezTo>
                    <a:lnTo>
                      <a:pt x="39173" y="23928"/>
                    </a:lnTo>
                    <a:cubicBezTo>
                      <a:pt x="39360" y="23757"/>
                      <a:pt x="39609" y="23928"/>
                      <a:pt x="39718" y="23679"/>
                    </a:cubicBezTo>
                    <a:lnTo>
                      <a:pt x="39718" y="23679"/>
                    </a:lnTo>
                    <a:cubicBezTo>
                      <a:pt x="39718" y="23445"/>
                      <a:pt x="39952" y="23227"/>
                      <a:pt x="39983" y="22977"/>
                    </a:cubicBezTo>
                    <a:lnTo>
                      <a:pt x="39983" y="22977"/>
                    </a:lnTo>
                    <a:cubicBezTo>
                      <a:pt x="39983" y="22977"/>
                      <a:pt x="39983" y="22821"/>
                      <a:pt x="39983" y="22884"/>
                    </a:cubicBezTo>
                    <a:cubicBezTo>
                      <a:pt x="39983" y="22946"/>
                      <a:pt x="39983" y="23195"/>
                      <a:pt x="39983" y="23149"/>
                    </a:cubicBezTo>
                    <a:cubicBezTo>
                      <a:pt x="39983" y="23460"/>
                      <a:pt x="40155" y="23850"/>
                      <a:pt x="40513" y="23679"/>
                    </a:cubicBezTo>
                    <a:cubicBezTo>
                      <a:pt x="40790" y="23996"/>
                      <a:pt x="40790" y="24468"/>
                      <a:pt x="40513" y="24785"/>
                    </a:cubicBezTo>
                    <a:cubicBezTo>
                      <a:pt x="40513" y="24598"/>
                      <a:pt x="40373" y="25191"/>
                      <a:pt x="40513" y="25300"/>
                    </a:cubicBezTo>
                    <a:cubicBezTo>
                      <a:pt x="40139" y="25300"/>
                      <a:pt x="40389" y="25674"/>
                      <a:pt x="40030" y="25752"/>
                    </a:cubicBezTo>
                    <a:cubicBezTo>
                      <a:pt x="40030" y="25861"/>
                      <a:pt x="40030" y="25954"/>
                      <a:pt x="40030" y="26064"/>
                    </a:cubicBezTo>
                    <a:cubicBezTo>
                      <a:pt x="39792" y="26098"/>
                      <a:pt x="39579" y="26227"/>
                      <a:pt x="39438" y="26422"/>
                    </a:cubicBezTo>
                    <a:cubicBezTo>
                      <a:pt x="39438" y="26749"/>
                      <a:pt x="38955" y="26859"/>
                      <a:pt x="38736" y="27014"/>
                    </a:cubicBezTo>
                    <a:cubicBezTo>
                      <a:pt x="38518" y="27170"/>
                      <a:pt x="38565" y="27264"/>
                      <a:pt x="38440" y="27217"/>
                    </a:cubicBezTo>
                    <a:cubicBezTo>
                      <a:pt x="38341" y="27402"/>
                      <a:pt x="38130" y="27497"/>
                      <a:pt x="37926" y="27451"/>
                    </a:cubicBezTo>
                    <a:cubicBezTo>
                      <a:pt x="37797" y="27641"/>
                      <a:pt x="37592" y="27766"/>
                      <a:pt x="37365" y="27794"/>
                    </a:cubicBezTo>
                    <a:cubicBezTo>
                      <a:pt x="37240" y="27513"/>
                      <a:pt x="37365" y="27139"/>
                      <a:pt x="37115" y="26890"/>
                    </a:cubicBezTo>
                    <a:cubicBezTo>
                      <a:pt x="37349" y="26329"/>
                      <a:pt x="36538" y="25596"/>
                      <a:pt x="36164" y="25144"/>
                    </a:cubicBezTo>
                    <a:cubicBezTo>
                      <a:pt x="36164" y="24770"/>
                      <a:pt x="36071" y="24131"/>
                      <a:pt x="35650" y="24146"/>
                    </a:cubicBezTo>
                    <a:cubicBezTo>
                      <a:pt x="35494" y="23414"/>
                      <a:pt x="34637" y="23024"/>
                      <a:pt x="34793" y="22463"/>
                    </a:cubicBezTo>
                    <a:cubicBezTo>
                      <a:pt x="34684" y="22665"/>
                      <a:pt x="34793" y="22915"/>
                      <a:pt x="34668" y="23086"/>
                    </a:cubicBezTo>
                    <a:cubicBezTo>
                      <a:pt x="34438" y="22899"/>
                      <a:pt x="34238" y="22679"/>
                      <a:pt x="34076" y="22432"/>
                    </a:cubicBezTo>
                    <a:cubicBezTo>
                      <a:pt x="34341" y="23024"/>
                      <a:pt x="34761" y="23616"/>
                      <a:pt x="35104" y="24224"/>
                    </a:cubicBezTo>
                    <a:lnTo>
                      <a:pt x="35104" y="24224"/>
                    </a:lnTo>
                    <a:cubicBezTo>
                      <a:pt x="35138" y="24273"/>
                      <a:pt x="35180" y="24316"/>
                      <a:pt x="35229" y="24349"/>
                    </a:cubicBezTo>
                    <a:cubicBezTo>
                      <a:pt x="35229" y="24349"/>
                      <a:pt x="35136" y="24349"/>
                      <a:pt x="35120" y="24349"/>
                    </a:cubicBezTo>
                    <a:cubicBezTo>
                      <a:pt x="35120" y="24801"/>
                      <a:pt x="35603" y="24785"/>
                      <a:pt x="35681" y="25253"/>
                    </a:cubicBezTo>
                    <a:cubicBezTo>
                      <a:pt x="35556" y="25253"/>
                      <a:pt x="35775" y="25580"/>
                      <a:pt x="35681" y="25752"/>
                    </a:cubicBezTo>
                    <a:cubicBezTo>
                      <a:pt x="35588" y="25923"/>
                      <a:pt x="35977" y="26064"/>
                      <a:pt x="36040" y="26219"/>
                    </a:cubicBezTo>
                    <a:cubicBezTo>
                      <a:pt x="36102" y="26375"/>
                      <a:pt x="36196" y="26827"/>
                      <a:pt x="36320" y="26968"/>
                    </a:cubicBezTo>
                    <a:cubicBezTo>
                      <a:pt x="36445" y="27108"/>
                      <a:pt x="36429" y="27233"/>
                      <a:pt x="36320" y="27046"/>
                    </a:cubicBezTo>
                    <a:cubicBezTo>
                      <a:pt x="36211" y="26859"/>
                      <a:pt x="36320" y="27264"/>
                      <a:pt x="36476" y="27170"/>
                    </a:cubicBezTo>
                    <a:cubicBezTo>
                      <a:pt x="36819" y="27170"/>
                      <a:pt x="36944" y="27763"/>
                      <a:pt x="37146" y="27794"/>
                    </a:cubicBezTo>
                    <a:cubicBezTo>
                      <a:pt x="37349" y="27825"/>
                      <a:pt x="37146" y="27903"/>
                      <a:pt x="37240" y="27903"/>
                    </a:cubicBezTo>
                    <a:cubicBezTo>
                      <a:pt x="37242" y="28033"/>
                      <a:pt x="37150" y="28145"/>
                      <a:pt x="37022" y="28168"/>
                    </a:cubicBezTo>
                    <a:cubicBezTo>
                      <a:pt x="37240" y="28168"/>
                      <a:pt x="37287" y="28464"/>
                      <a:pt x="37505" y="28542"/>
                    </a:cubicBezTo>
                    <a:cubicBezTo>
                      <a:pt x="37918" y="28320"/>
                      <a:pt x="38358" y="28152"/>
                      <a:pt x="38814" y="28043"/>
                    </a:cubicBezTo>
                    <a:cubicBezTo>
                      <a:pt x="38894" y="27982"/>
                      <a:pt x="38962" y="27909"/>
                      <a:pt x="39017" y="27825"/>
                    </a:cubicBezTo>
                    <a:cubicBezTo>
                      <a:pt x="39173" y="27825"/>
                      <a:pt x="39017" y="28152"/>
                      <a:pt x="39017" y="28324"/>
                    </a:cubicBezTo>
                    <a:cubicBezTo>
                      <a:pt x="39017" y="28495"/>
                      <a:pt x="39017" y="28324"/>
                      <a:pt x="39017" y="28324"/>
                    </a:cubicBezTo>
                    <a:cubicBezTo>
                      <a:pt x="38736" y="30475"/>
                      <a:pt x="35541" y="31753"/>
                      <a:pt x="35323" y="33608"/>
                    </a:cubicBezTo>
                    <a:cubicBezTo>
                      <a:pt x="35323" y="33608"/>
                      <a:pt x="35136" y="33764"/>
                      <a:pt x="35214" y="33858"/>
                    </a:cubicBezTo>
                    <a:cubicBezTo>
                      <a:pt x="35291" y="33951"/>
                      <a:pt x="35026" y="34372"/>
                      <a:pt x="35214" y="34497"/>
                    </a:cubicBezTo>
                    <a:cubicBezTo>
                      <a:pt x="35058" y="34855"/>
                      <a:pt x="34933" y="35385"/>
                      <a:pt x="34808" y="35619"/>
                    </a:cubicBezTo>
                    <a:cubicBezTo>
                      <a:pt x="34684" y="35853"/>
                      <a:pt x="34621" y="35728"/>
                      <a:pt x="34808" y="35713"/>
                    </a:cubicBezTo>
                    <a:cubicBezTo>
                      <a:pt x="34543" y="36102"/>
                      <a:pt x="34044" y="36212"/>
                      <a:pt x="33686" y="36477"/>
                    </a:cubicBezTo>
                    <a:lnTo>
                      <a:pt x="33686" y="36477"/>
                    </a:lnTo>
                    <a:cubicBezTo>
                      <a:pt x="33489" y="36693"/>
                      <a:pt x="33235" y="36850"/>
                      <a:pt x="32953" y="36929"/>
                    </a:cubicBezTo>
                    <a:cubicBezTo>
                      <a:pt x="32979" y="36983"/>
                      <a:pt x="32979" y="37046"/>
                      <a:pt x="32953" y="37100"/>
                    </a:cubicBezTo>
                    <a:cubicBezTo>
                      <a:pt x="32953" y="37100"/>
                      <a:pt x="32953" y="37209"/>
                      <a:pt x="32953" y="37240"/>
                    </a:cubicBezTo>
                    <a:cubicBezTo>
                      <a:pt x="32953" y="37272"/>
                      <a:pt x="32953" y="37474"/>
                      <a:pt x="32953" y="37568"/>
                    </a:cubicBezTo>
                    <a:cubicBezTo>
                      <a:pt x="32953" y="37661"/>
                      <a:pt x="32953" y="37490"/>
                      <a:pt x="32953" y="37474"/>
                    </a:cubicBezTo>
                    <a:lnTo>
                      <a:pt x="32953" y="37474"/>
                    </a:lnTo>
                    <a:lnTo>
                      <a:pt x="32953" y="37474"/>
                    </a:lnTo>
                    <a:cubicBezTo>
                      <a:pt x="32953" y="37614"/>
                      <a:pt x="32782" y="37724"/>
                      <a:pt x="32719" y="37848"/>
                    </a:cubicBezTo>
                    <a:lnTo>
                      <a:pt x="32719" y="37848"/>
                    </a:lnTo>
                    <a:cubicBezTo>
                      <a:pt x="32548" y="38222"/>
                      <a:pt x="31878" y="38113"/>
                      <a:pt x="31769" y="38472"/>
                    </a:cubicBezTo>
                    <a:lnTo>
                      <a:pt x="31878" y="38472"/>
                    </a:lnTo>
                    <a:cubicBezTo>
                      <a:pt x="31839" y="38544"/>
                      <a:pt x="31786" y="38608"/>
                      <a:pt x="31722" y="38659"/>
                    </a:cubicBezTo>
                    <a:lnTo>
                      <a:pt x="31722" y="38659"/>
                    </a:lnTo>
                    <a:cubicBezTo>
                      <a:pt x="31003" y="39409"/>
                      <a:pt x="30091" y="39948"/>
                      <a:pt x="29087" y="40218"/>
                    </a:cubicBezTo>
                    <a:cubicBezTo>
                      <a:pt x="28667" y="40077"/>
                      <a:pt x="28246" y="40342"/>
                      <a:pt x="27825" y="40311"/>
                    </a:cubicBezTo>
                    <a:cubicBezTo>
                      <a:pt x="27825" y="40233"/>
                      <a:pt x="27825" y="40311"/>
                      <a:pt x="27825" y="40311"/>
                    </a:cubicBezTo>
                    <a:cubicBezTo>
                      <a:pt x="27825" y="40311"/>
                      <a:pt x="27731" y="40233"/>
                      <a:pt x="27825" y="40311"/>
                    </a:cubicBezTo>
                    <a:cubicBezTo>
                      <a:pt x="27918" y="40389"/>
                      <a:pt x="27949" y="40140"/>
                      <a:pt x="27825" y="40015"/>
                    </a:cubicBezTo>
                    <a:cubicBezTo>
                      <a:pt x="28121" y="39875"/>
                      <a:pt x="27825" y="39485"/>
                      <a:pt x="27825" y="39204"/>
                    </a:cubicBezTo>
                    <a:cubicBezTo>
                      <a:pt x="27342" y="38472"/>
                      <a:pt x="27622" y="37381"/>
                      <a:pt x="27077" y="36570"/>
                    </a:cubicBezTo>
                    <a:cubicBezTo>
                      <a:pt x="27077" y="35728"/>
                      <a:pt x="28324" y="35354"/>
                      <a:pt x="27762" y="34528"/>
                    </a:cubicBezTo>
                    <a:cubicBezTo>
                      <a:pt x="28012" y="34341"/>
                      <a:pt x="27762" y="33967"/>
                      <a:pt x="27653" y="33764"/>
                    </a:cubicBezTo>
                    <a:lnTo>
                      <a:pt x="27747" y="33764"/>
                    </a:lnTo>
                    <a:cubicBezTo>
                      <a:pt x="27747" y="33764"/>
                      <a:pt x="27529" y="33764"/>
                      <a:pt x="27638" y="33624"/>
                    </a:cubicBezTo>
                    <a:cubicBezTo>
                      <a:pt x="27451" y="33078"/>
                      <a:pt x="26827" y="32891"/>
                      <a:pt x="26702" y="32314"/>
                    </a:cubicBezTo>
                    <a:cubicBezTo>
                      <a:pt x="26843" y="32314"/>
                      <a:pt x="26874" y="32205"/>
                      <a:pt x="26889" y="32034"/>
                    </a:cubicBezTo>
                    <a:cubicBezTo>
                      <a:pt x="26905" y="31862"/>
                      <a:pt x="27014" y="32034"/>
                      <a:pt x="27061" y="32034"/>
                    </a:cubicBezTo>
                    <a:cubicBezTo>
                      <a:pt x="26990" y="32037"/>
                      <a:pt x="26926" y="31992"/>
                      <a:pt x="26905" y="31925"/>
                    </a:cubicBezTo>
                    <a:cubicBezTo>
                      <a:pt x="27014" y="31925"/>
                      <a:pt x="26999" y="31816"/>
                      <a:pt x="26905" y="31800"/>
                    </a:cubicBezTo>
                    <a:cubicBezTo>
                      <a:pt x="27132" y="31576"/>
                      <a:pt x="27200" y="31237"/>
                      <a:pt x="27077" y="30943"/>
                    </a:cubicBezTo>
                    <a:cubicBezTo>
                      <a:pt x="26936" y="31036"/>
                      <a:pt x="26874" y="30943"/>
                      <a:pt x="26874" y="30771"/>
                    </a:cubicBezTo>
                    <a:cubicBezTo>
                      <a:pt x="26826" y="30817"/>
                      <a:pt x="26751" y="30817"/>
                      <a:pt x="26702" y="30771"/>
                    </a:cubicBezTo>
                    <a:cubicBezTo>
                      <a:pt x="26562" y="30943"/>
                      <a:pt x="26110" y="30927"/>
                      <a:pt x="25861" y="30896"/>
                    </a:cubicBezTo>
                    <a:cubicBezTo>
                      <a:pt x="25518" y="29774"/>
                      <a:pt x="24302" y="30428"/>
                      <a:pt x="23538" y="30693"/>
                    </a:cubicBezTo>
                    <a:cubicBezTo>
                      <a:pt x="21979" y="30226"/>
                      <a:pt x="21745" y="31301"/>
                      <a:pt x="20420" y="29664"/>
                    </a:cubicBezTo>
                    <a:cubicBezTo>
                      <a:pt x="20265" y="29664"/>
                      <a:pt x="20296" y="29431"/>
                      <a:pt x="20171" y="29368"/>
                    </a:cubicBezTo>
                    <a:cubicBezTo>
                      <a:pt x="20046" y="29306"/>
                      <a:pt x="20171" y="29259"/>
                      <a:pt x="20171" y="29166"/>
                    </a:cubicBezTo>
                    <a:cubicBezTo>
                      <a:pt x="20171" y="29072"/>
                      <a:pt x="19859" y="28947"/>
                      <a:pt x="19953" y="28885"/>
                    </a:cubicBezTo>
                    <a:cubicBezTo>
                      <a:pt x="19610" y="28885"/>
                      <a:pt x="19797" y="28573"/>
                      <a:pt x="19594" y="28620"/>
                    </a:cubicBezTo>
                    <a:cubicBezTo>
                      <a:pt x="19392" y="28667"/>
                      <a:pt x="19594" y="28542"/>
                      <a:pt x="19454" y="28542"/>
                    </a:cubicBezTo>
                    <a:lnTo>
                      <a:pt x="19454" y="28542"/>
                    </a:lnTo>
                    <a:lnTo>
                      <a:pt x="19454" y="28542"/>
                    </a:lnTo>
                    <a:cubicBezTo>
                      <a:pt x="19454" y="28542"/>
                      <a:pt x="19454" y="28542"/>
                      <a:pt x="19454" y="28449"/>
                    </a:cubicBezTo>
                    <a:cubicBezTo>
                      <a:pt x="19454" y="28355"/>
                      <a:pt x="19625" y="28449"/>
                      <a:pt x="19641" y="28449"/>
                    </a:cubicBezTo>
                    <a:cubicBezTo>
                      <a:pt x="19657" y="28449"/>
                      <a:pt x="19127" y="28449"/>
                      <a:pt x="19282" y="28277"/>
                    </a:cubicBezTo>
                    <a:cubicBezTo>
                      <a:pt x="19158" y="28277"/>
                      <a:pt x="19127" y="28277"/>
                      <a:pt x="19095" y="28121"/>
                    </a:cubicBezTo>
                    <a:cubicBezTo>
                      <a:pt x="19064" y="27965"/>
                      <a:pt x="19205" y="28121"/>
                      <a:pt x="19251" y="28121"/>
                    </a:cubicBezTo>
                    <a:cubicBezTo>
                      <a:pt x="19298" y="28121"/>
                      <a:pt x="19127" y="28121"/>
                      <a:pt x="19080" y="28121"/>
                    </a:cubicBezTo>
                    <a:cubicBezTo>
                      <a:pt x="19033" y="28121"/>
                      <a:pt x="19080" y="27997"/>
                      <a:pt x="19080" y="27934"/>
                    </a:cubicBezTo>
                    <a:cubicBezTo>
                      <a:pt x="19080" y="27872"/>
                      <a:pt x="19220" y="28074"/>
                      <a:pt x="19329" y="27934"/>
                    </a:cubicBezTo>
                    <a:cubicBezTo>
                      <a:pt x="19438" y="27794"/>
                      <a:pt x="19080" y="27856"/>
                      <a:pt x="19189" y="27794"/>
                    </a:cubicBezTo>
                    <a:lnTo>
                      <a:pt x="19189" y="27794"/>
                    </a:lnTo>
                    <a:cubicBezTo>
                      <a:pt x="19189" y="27794"/>
                      <a:pt x="19049" y="27560"/>
                      <a:pt x="18986" y="27498"/>
                    </a:cubicBezTo>
                    <a:cubicBezTo>
                      <a:pt x="19389" y="27087"/>
                      <a:pt x="19533" y="26488"/>
                      <a:pt x="19360" y="25939"/>
                    </a:cubicBezTo>
                    <a:cubicBezTo>
                      <a:pt x="19485" y="25939"/>
                      <a:pt x="19360" y="25767"/>
                      <a:pt x="19454" y="25736"/>
                    </a:cubicBezTo>
                    <a:cubicBezTo>
                      <a:pt x="19547" y="25705"/>
                      <a:pt x="19298" y="25643"/>
                      <a:pt x="19282" y="25534"/>
                    </a:cubicBezTo>
                    <a:lnTo>
                      <a:pt x="19282" y="25612"/>
                    </a:lnTo>
                    <a:cubicBezTo>
                      <a:pt x="19265" y="25345"/>
                      <a:pt x="19382" y="25087"/>
                      <a:pt x="19594" y="24926"/>
                    </a:cubicBezTo>
                    <a:cubicBezTo>
                      <a:pt x="19922" y="23866"/>
                      <a:pt x="20966" y="23445"/>
                      <a:pt x="21714" y="22728"/>
                    </a:cubicBezTo>
                    <a:cubicBezTo>
                      <a:pt x="21722" y="22582"/>
                      <a:pt x="21722" y="22437"/>
                      <a:pt x="21714" y="22291"/>
                    </a:cubicBezTo>
                    <a:cubicBezTo>
                      <a:pt x="21714" y="22120"/>
                      <a:pt x="22042" y="22042"/>
                      <a:pt x="21901" y="21855"/>
                    </a:cubicBezTo>
                    <a:cubicBezTo>
                      <a:pt x="22394" y="21610"/>
                      <a:pt x="22814" y="21239"/>
                      <a:pt x="23117" y="20779"/>
                    </a:cubicBezTo>
                    <a:cubicBezTo>
                      <a:pt x="23117" y="21091"/>
                      <a:pt x="23600" y="21075"/>
                      <a:pt x="23772" y="20966"/>
                    </a:cubicBezTo>
                    <a:cubicBezTo>
                      <a:pt x="24068" y="21325"/>
                      <a:pt x="24707" y="20717"/>
                      <a:pt x="25034" y="20623"/>
                    </a:cubicBezTo>
                    <a:cubicBezTo>
                      <a:pt x="25362" y="20530"/>
                      <a:pt x="26110" y="20623"/>
                      <a:pt x="26375" y="20499"/>
                    </a:cubicBezTo>
                    <a:cubicBezTo>
                      <a:pt x="26640" y="20374"/>
                      <a:pt x="26578" y="20717"/>
                      <a:pt x="26656" y="20499"/>
                    </a:cubicBezTo>
                    <a:cubicBezTo>
                      <a:pt x="26905" y="20717"/>
                      <a:pt x="27170" y="20374"/>
                      <a:pt x="27373" y="20499"/>
                    </a:cubicBezTo>
                    <a:cubicBezTo>
                      <a:pt x="27373" y="20327"/>
                      <a:pt x="27497" y="20623"/>
                      <a:pt x="27575" y="20670"/>
                    </a:cubicBezTo>
                    <a:cubicBezTo>
                      <a:pt x="27903" y="20343"/>
                      <a:pt x="27669" y="20748"/>
                      <a:pt x="27575" y="20888"/>
                    </a:cubicBezTo>
                    <a:cubicBezTo>
                      <a:pt x="28152" y="21278"/>
                      <a:pt x="27186" y="21434"/>
                      <a:pt x="27575" y="21699"/>
                    </a:cubicBezTo>
                    <a:cubicBezTo>
                      <a:pt x="27575" y="21699"/>
                      <a:pt x="27575" y="21699"/>
                      <a:pt x="27684" y="21699"/>
                    </a:cubicBezTo>
                    <a:cubicBezTo>
                      <a:pt x="27794" y="21699"/>
                      <a:pt x="27684" y="21621"/>
                      <a:pt x="27684" y="21699"/>
                    </a:cubicBezTo>
                    <a:cubicBezTo>
                      <a:pt x="27840" y="22073"/>
                      <a:pt x="28417" y="21792"/>
                      <a:pt x="28698" y="21995"/>
                    </a:cubicBezTo>
                    <a:cubicBezTo>
                      <a:pt x="31628" y="24022"/>
                      <a:pt x="29352" y="21387"/>
                      <a:pt x="31285" y="21995"/>
                    </a:cubicBezTo>
                    <a:cubicBezTo>
                      <a:pt x="31613" y="22307"/>
                      <a:pt x="32345" y="22213"/>
                      <a:pt x="32844" y="22416"/>
                    </a:cubicBezTo>
                    <a:cubicBezTo>
                      <a:pt x="33343" y="22619"/>
                      <a:pt x="33327" y="22322"/>
                      <a:pt x="33655" y="22229"/>
                    </a:cubicBezTo>
                    <a:cubicBezTo>
                      <a:pt x="33436" y="22307"/>
                      <a:pt x="33655" y="22229"/>
                      <a:pt x="33748" y="22229"/>
                    </a:cubicBezTo>
                    <a:cubicBezTo>
                      <a:pt x="33842" y="22229"/>
                      <a:pt x="33748" y="22229"/>
                      <a:pt x="33748" y="22229"/>
                    </a:cubicBezTo>
                    <a:cubicBezTo>
                      <a:pt x="33748" y="22229"/>
                      <a:pt x="33951" y="22229"/>
                      <a:pt x="33998" y="22229"/>
                    </a:cubicBezTo>
                    <a:cubicBezTo>
                      <a:pt x="34044" y="22229"/>
                      <a:pt x="34091" y="22338"/>
                      <a:pt x="34091" y="22385"/>
                    </a:cubicBezTo>
                    <a:cubicBezTo>
                      <a:pt x="34091" y="22432"/>
                      <a:pt x="34091" y="22291"/>
                      <a:pt x="34091" y="22229"/>
                    </a:cubicBezTo>
                    <a:cubicBezTo>
                      <a:pt x="35151" y="22587"/>
                      <a:pt x="34793" y="20670"/>
                      <a:pt x="34855" y="20312"/>
                    </a:cubicBezTo>
                    <a:cubicBezTo>
                      <a:pt x="34684" y="20452"/>
                      <a:pt x="34387" y="20312"/>
                      <a:pt x="34341" y="20561"/>
                    </a:cubicBezTo>
                    <a:cubicBezTo>
                      <a:pt x="34029" y="20919"/>
                      <a:pt x="33374" y="20062"/>
                      <a:pt x="33374" y="20561"/>
                    </a:cubicBezTo>
                    <a:cubicBezTo>
                      <a:pt x="33234" y="20561"/>
                      <a:pt x="32875" y="20717"/>
                      <a:pt x="32922" y="20452"/>
                    </a:cubicBezTo>
                    <a:cubicBezTo>
                      <a:pt x="32922" y="20452"/>
                      <a:pt x="32922" y="20452"/>
                      <a:pt x="32797" y="20452"/>
                    </a:cubicBezTo>
                    <a:cubicBezTo>
                      <a:pt x="32673" y="20452"/>
                      <a:pt x="32626" y="20592"/>
                      <a:pt x="32610" y="20452"/>
                    </a:cubicBezTo>
                    <a:lnTo>
                      <a:pt x="32423" y="20452"/>
                    </a:lnTo>
                    <a:cubicBezTo>
                      <a:pt x="32423" y="20374"/>
                      <a:pt x="32626" y="20452"/>
                      <a:pt x="32626" y="20327"/>
                    </a:cubicBezTo>
                    <a:cubicBezTo>
                      <a:pt x="32626" y="20202"/>
                      <a:pt x="32267" y="20421"/>
                      <a:pt x="32454" y="20327"/>
                    </a:cubicBezTo>
                    <a:cubicBezTo>
                      <a:pt x="32236" y="20187"/>
                      <a:pt x="32454" y="20062"/>
                      <a:pt x="32127" y="19984"/>
                    </a:cubicBezTo>
                    <a:cubicBezTo>
                      <a:pt x="31800" y="19906"/>
                      <a:pt x="32127" y="19859"/>
                      <a:pt x="32127" y="19813"/>
                    </a:cubicBezTo>
                    <a:cubicBezTo>
                      <a:pt x="32127" y="19766"/>
                      <a:pt x="32127" y="19922"/>
                      <a:pt x="32283" y="19813"/>
                    </a:cubicBezTo>
                    <a:lnTo>
                      <a:pt x="32283" y="19813"/>
                    </a:lnTo>
                    <a:cubicBezTo>
                      <a:pt x="32283" y="19813"/>
                      <a:pt x="32408" y="19813"/>
                      <a:pt x="32376" y="19688"/>
                    </a:cubicBezTo>
                    <a:cubicBezTo>
                      <a:pt x="32345" y="19563"/>
                      <a:pt x="32221" y="19532"/>
                      <a:pt x="32376" y="19501"/>
                    </a:cubicBezTo>
                    <a:cubicBezTo>
                      <a:pt x="31940" y="19657"/>
                      <a:pt x="32158" y="19002"/>
                      <a:pt x="32470" y="19220"/>
                    </a:cubicBezTo>
                    <a:cubicBezTo>
                      <a:pt x="32470" y="19096"/>
                      <a:pt x="32735" y="19220"/>
                      <a:pt x="32875" y="19220"/>
                    </a:cubicBezTo>
                    <a:cubicBezTo>
                      <a:pt x="32595" y="19111"/>
                      <a:pt x="33000" y="19127"/>
                      <a:pt x="33031" y="19049"/>
                    </a:cubicBezTo>
                    <a:cubicBezTo>
                      <a:pt x="32376" y="18846"/>
                      <a:pt x="33374" y="18940"/>
                      <a:pt x="33421" y="18862"/>
                    </a:cubicBezTo>
                    <a:cubicBezTo>
                      <a:pt x="33546" y="18519"/>
                      <a:pt x="34013" y="18566"/>
                      <a:pt x="34294" y="18488"/>
                    </a:cubicBezTo>
                    <a:cubicBezTo>
                      <a:pt x="34294" y="18644"/>
                      <a:pt x="34450" y="18659"/>
                      <a:pt x="34543" y="18488"/>
                    </a:cubicBezTo>
                    <a:cubicBezTo>
                      <a:pt x="34637" y="18316"/>
                      <a:pt x="34668" y="18753"/>
                      <a:pt x="34746" y="18628"/>
                    </a:cubicBezTo>
                    <a:cubicBezTo>
                      <a:pt x="36991" y="19080"/>
                      <a:pt x="35385" y="17537"/>
                      <a:pt x="34356" y="17287"/>
                    </a:cubicBezTo>
                    <a:cubicBezTo>
                      <a:pt x="34356" y="17287"/>
                      <a:pt x="34356" y="17287"/>
                      <a:pt x="34356" y="17163"/>
                    </a:cubicBezTo>
                    <a:cubicBezTo>
                      <a:pt x="34356" y="17038"/>
                      <a:pt x="34543" y="17163"/>
                      <a:pt x="34465" y="17054"/>
                    </a:cubicBezTo>
                    <a:cubicBezTo>
                      <a:pt x="34387" y="16944"/>
                      <a:pt x="34668" y="16913"/>
                      <a:pt x="34465" y="16835"/>
                    </a:cubicBezTo>
                    <a:cubicBezTo>
                      <a:pt x="34263" y="16757"/>
                      <a:pt x="34372" y="16835"/>
                      <a:pt x="34356" y="16742"/>
                    </a:cubicBezTo>
                    <a:cubicBezTo>
                      <a:pt x="34341" y="16648"/>
                      <a:pt x="34512" y="16742"/>
                      <a:pt x="34512" y="16742"/>
                    </a:cubicBezTo>
                    <a:cubicBezTo>
                      <a:pt x="34512" y="16742"/>
                      <a:pt x="34637" y="16617"/>
                      <a:pt x="34606" y="16539"/>
                    </a:cubicBezTo>
                    <a:cubicBezTo>
                      <a:pt x="34574" y="16461"/>
                      <a:pt x="34169" y="16539"/>
                      <a:pt x="34076" y="16789"/>
                    </a:cubicBezTo>
                    <a:cubicBezTo>
                      <a:pt x="34076" y="16789"/>
                      <a:pt x="33982" y="16867"/>
                      <a:pt x="33904" y="16789"/>
                    </a:cubicBezTo>
                    <a:cubicBezTo>
                      <a:pt x="33826" y="16711"/>
                      <a:pt x="33811" y="16789"/>
                      <a:pt x="33764" y="16789"/>
                    </a:cubicBezTo>
                    <a:cubicBezTo>
                      <a:pt x="33717" y="16789"/>
                      <a:pt x="33764" y="17038"/>
                      <a:pt x="33764" y="16976"/>
                    </a:cubicBezTo>
                    <a:cubicBezTo>
                      <a:pt x="33764" y="16913"/>
                      <a:pt x="33764" y="16867"/>
                      <a:pt x="33764" y="16851"/>
                    </a:cubicBezTo>
                    <a:cubicBezTo>
                      <a:pt x="33764" y="16835"/>
                      <a:pt x="33546" y="16991"/>
                      <a:pt x="33468" y="17054"/>
                    </a:cubicBezTo>
                    <a:cubicBezTo>
                      <a:pt x="33390" y="17116"/>
                      <a:pt x="33733" y="17054"/>
                      <a:pt x="33701" y="17194"/>
                    </a:cubicBezTo>
                    <a:cubicBezTo>
                      <a:pt x="33670" y="17334"/>
                      <a:pt x="33701" y="17194"/>
                      <a:pt x="33701" y="17194"/>
                    </a:cubicBezTo>
                    <a:cubicBezTo>
                      <a:pt x="33701" y="17194"/>
                      <a:pt x="33701" y="17303"/>
                      <a:pt x="33873" y="17287"/>
                    </a:cubicBezTo>
                    <a:cubicBezTo>
                      <a:pt x="34044" y="17272"/>
                      <a:pt x="33592" y="17085"/>
                      <a:pt x="33655" y="16976"/>
                    </a:cubicBezTo>
                    <a:cubicBezTo>
                      <a:pt x="33717" y="16867"/>
                      <a:pt x="33826" y="17225"/>
                      <a:pt x="33935" y="17256"/>
                    </a:cubicBezTo>
                    <a:cubicBezTo>
                      <a:pt x="34044" y="17287"/>
                      <a:pt x="33935" y="17256"/>
                      <a:pt x="34044" y="17256"/>
                    </a:cubicBezTo>
                    <a:cubicBezTo>
                      <a:pt x="34154" y="17256"/>
                      <a:pt x="34138" y="17178"/>
                      <a:pt x="34200" y="17178"/>
                    </a:cubicBezTo>
                    <a:cubicBezTo>
                      <a:pt x="34263" y="17178"/>
                      <a:pt x="34200" y="17381"/>
                      <a:pt x="33998" y="17334"/>
                    </a:cubicBezTo>
                    <a:cubicBezTo>
                      <a:pt x="33795" y="17287"/>
                      <a:pt x="33452" y="17833"/>
                      <a:pt x="33499" y="17334"/>
                    </a:cubicBezTo>
                    <a:cubicBezTo>
                      <a:pt x="33374" y="17225"/>
                      <a:pt x="33094" y="17334"/>
                      <a:pt x="33359" y="17116"/>
                    </a:cubicBezTo>
                    <a:cubicBezTo>
                      <a:pt x="33624" y="16898"/>
                      <a:pt x="33234" y="16882"/>
                      <a:pt x="33125" y="17007"/>
                    </a:cubicBezTo>
                    <a:cubicBezTo>
                      <a:pt x="33016" y="17132"/>
                      <a:pt x="32953" y="17007"/>
                      <a:pt x="33016" y="16898"/>
                    </a:cubicBezTo>
                    <a:cubicBezTo>
                      <a:pt x="33078" y="16789"/>
                      <a:pt x="32844" y="16898"/>
                      <a:pt x="32813" y="16898"/>
                    </a:cubicBezTo>
                    <a:cubicBezTo>
                      <a:pt x="32782" y="16898"/>
                      <a:pt x="33016" y="16898"/>
                      <a:pt x="33078" y="16898"/>
                    </a:cubicBezTo>
                    <a:cubicBezTo>
                      <a:pt x="33030" y="16943"/>
                      <a:pt x="32955" y="16943"/>
                      <a:pt x="32906" y="16898"/>
                    </a:cubicBezTo>
                    <a:cubicBezTo>
                      <a:pt x="32906" y="17054"/>
                      <a:pt x="32782" y="16898"/>
                      <a:pt x="32751" y="17007"/>
                    </a:cubicBezTo>
                    <a:cubicBezTo>
                      <a:pt x="32719" y="17116"/>
                      <a:pt x="32751" y="17178"/>
                      <a:pt x="32595" y="17194"/>
                    </a:cubicBezTo>
                    <a:cubicBezTo>
                      <a:pt x="32439" y="17209"/>
                      <a:pt x="32595" y="17443"/>
                      <a:pt x="32486" y="17319"/>
                    </a:cubicBezTo>
                    <a:cubicBezTo>
                      <a:pt x="32595" y="17599"/>
                      <a:pt x="32486" y="17615"/>
                      <a:pt x="32314" y="17786"/>
                    </a:cubicBezTo>
                    <a:cubicBezTo>
                      <a:pt x="32143" y="17958"/>
                      <a:pt x="32314" y="18020"/>
                      <a:pt x="32314" y="18145"/>
                    </a:cubicBezTo>
                    <a:cubicBezTo>
                      <a:pt x="32314" y="18269"/>
                      <a:pt x="32127" y="18238"/>
                      <a:pt x="32189" y="18379"/>
                    </a:cubicBezTo>
                    <a:cubicBezTo>
                      <a:pt x="32252" y="18519"/>
                      <a:pt x="32314" y="18550"/>
                      <a:pt x="32314" y="18784"/>
                    </a:cubicBezTo>
                    <a:cubicBezTo>
                      <a:pt x="32314" y="19018"/>
                      <a:pt x="32719" y="18909"/>
                      <a:pt x="32579" y="19049"/>
                    </a:cubicBezTo>
                    <a:cubicBezTo>
                      <a:pt x="32439" y="19189"/>
                      <a:pt x="32158" y="19189"/>
                      <a:pt x="31956" y="19361"/>
                    </a:cubicBezTo>
                    <a:cubicBezTo>
                      <a:pt x="31956" y="19267"/>
                      <a:pt x="31956" y="19220"/>
                      <a:pt x="32049" y="19189"/>
                    </a:cubicBezTo>
                    <a:cubicBezTo>
                      <a:pt x="31862" y="19189"/>
                      <a:pt x="31628" y="18955"/>
                      <a:pt x="31519" y="19189"/>
                    </a:cubicBezTo>
                    <a:cubicBezTo>
                      <a:pt x="31363" y="19189"/>
                      <a:pt x="31410" y="19189"/>
                      <a:pt x="31301" y="19267"/>
                    </a:cubicBezTo>
                    <a:cubicBezTo>
                      <a:pt x="31192" y="19345"/>
                      <a:pt x="31301" y="19361"/>
                      <a:pt x="31410" y="19407"/>
                    </a:cubicBezTo>
                    <a:cubicBezTo>
                      <a:pt x="31519" y="19454"/>
                      <a:pt x="31239" y="19329"/>
                      <a:pt x="31254" y="19407"/>
                    </a:cubicBezTo>
                    <a:cubicBezTo>
                      <a:pt x="31270" y="19485"/>
                      <a:pt x="31363" y="19407"/>
                      <a:pt x="31254" y="19485"/>
                    </a:cubicBezTo>
                    <a:cubicBezTo>
                      <a:pt x="31145" y="19563"/>
                      <a:pt x="31005" y="19376"/>
                      <a:pt x="31254" y="19485"/>
                    </a:cubicBezTo>
                    <a:cubicBezTo>
                      <a:pt x="31129" y="19485"/>
                      <a:pt x="31083" y="19361"/>
                      <a:pt x="31005" y="19314"/>
                    </a:cubicBezTo>
                    <a:cubicBezTo>
                      <a:pt x="30927" y="19267"/>
                      <a:pt x="30786" y="19423"/>
                      <a:pt x="31005" y="19532"/>
                    </a:cubicBezTo>
                    <a:cubicBezTo>
                      <a:pt x="31223" y="19641"/>
                      <a:pt x="31348" y="19953"/>
                      <a:pt x="31005" y="19719"/>
                    </a:cubicBezTo>
                    <a:cubicBezTo>
                      <a:pt x="31005" y="19719"/>
                      <a:pt x="31005" y="19719"/>
                      <a:pt x="31005" y="19719"/>
                    </a:cubicBezTo>
                    <a:cubicBezTo>
                      <a:pt x="31005" y="19719"/>
                      <a:pt x="31005" y="19828"/>
                      <a:pt x="31005" y="19813"/>
                    </a:cubicBezTo>
                    <a:cubicBezTo>
                      <a:pt x="31176" y="19937"/>
                      <a:pt x="31472" y="19984"/>
                      <a:pt x="31457" y="20234"/>
                    </a:cubicBezTo>
                    <a:cubicBezTo>
                      <a:pt x="31348" y="20234"/>
                      <a:pt x="31285" y="20124"/>
                      <a:pt x="31161" y="20234"/>
                    </a:cubicBezTo>
                    <a:cubicBezTo>
                      <a:pt x="31036" y="20343"/>
                      <a:pt x="31441" y="20452"/>
                      <a:pt x="31270" y="20389"/>
                    </a:cubicBezTo>
                    <a:cubicBezTo>
                      <a:pt x="31098" y="20327"/>
                      <a:pt x="31270" y="20389"/>
                      <a:pt x="31270" y="20389"/>
                    </a:cubicBezTo>
                    <a:cubicBezTo>
                      <a:pt x="31270" y="20389"/>
                      <a:pt x="31270" y="20608"/>
                      <a:pt x="31270" y="20670"/>
                    </a:cubicBezTo>
                    <a:cubicBezTo>
                      <a:pt x="31270" y="20732"/>
                      <a:pt x="31051" y="20499"/>
                      <a:pt x="31083" y="20670"/>
                    </a:cubicBezTo>
                    <a:cubicBezTo>
                      <a:pt x="31083" y="20530"/>
                      <a:pt x="30989" y="20545"/>
                      <a:pt x="30927" y="20436"/>
                    </a:cubicBezTo>
                    <a:cubicBezTo>
                      <a:pt x="30864" y="20327"/>
                      <a:pt x="30927" y="20514"/>
                      <a:pt x="30927" y="20561"/>
                    </a:cubicBezTo>
                    <a:cubicBezTo>
                      <a:pt x="30845" y="20514"/>
                      <a:pt x="30806" y="20417"/>
                      <a:pt x="30833" y="20327"/>
                    </a:cubicBezTo>
                    <a:cubicBezTo>
                      <a:pt x="30724" y="20234"/>
                      <a:pt x="30553" y="20171"/>
                      <a:pt x="30724" y="20047"/>
                    </a:cubicBezTo>
                    <a:cubicBezTo>
                      <a:pt x="30896" y="19922"/>
                      <a:pt x="31036" y="20202"/>
                      <a:pt x="31176" y="20047"/>
                    </a:cubicBezTo>
                    <a:cubicBezTo>
                      <a:pt x="31051" y="20047"/>
                      <a:pt x="30911" y="19891"/>
                      <a:pt x="30818" y="20047"/>
                    </a:cubicBezTo>
                    <a:cubicBezTo>
                      <a:pt x="30724" y="20202"/>
                      <a:pt x="30709" y="19937"/>
                      <a:pt x="30662" y="20047"/>
                    </a:cubicBezTo>
                    <a:cubicBezTo>
                      <a:pt x="30444" y="19828"/>
                      <a:pt x="30288" y="19485"/>
                      <a:pt x="30007" y="19345"/>
                    </a:cubicBezTo>
                    <a:cubicBezTo>
                      <a:pt x="30007" y="19174"/>
                      <a:pt x="30007" y="18987"/>
                      <a:pt x="30007" y="18815"/>
                    </a:cubicBezTo>
                    <a:cubicBezTo>
                      <a:pt x="29820" y="18815"/>
                      <a:pt x="29711" y="18566"/>
                      <a:pt x="29571" y="18441"/>
                    </a:cubicBezTo>
                    <a:cubicBezTo>
                      <a:pt x="29430" y="18316"/>
                      <a:pt x="29337" y="18441"/>
                      <a:pt x="29290" y="18441"/>
                    </a:cubicBezTo>
                    <a:cubicBezTo>
                      <a:pt x="29243" y="18441"/>
                      <a:pt x="29290" y="18441"/>
                      <a:pt x="29399" y="18441"/>
                    </a:cubicBezTo>
                    <a:cubicBezTo>
                      <a:pt x="29508" y="18441"/>
                      <a:pt x="29134" y="18207"/>
                      <a:pt x="28978" y="18269"/>
                    </a:cubicBezTo>
                    <a:cubicBezTo>
                      <a:pt x="28822" y="18332"/>
                      <a:pt x="28511" y="18004"/>
                      <a:pt x="28807" y="18020"/>
                    </a:cubicBezTo>
                    <a:cubicBezTo>
                      <a:pt x="28448" y="17802"/>
                      <a:pt x="28620" y="17365"/>
                      <a:pt x="28292" y="17817"/>
                    </a:cubicBezTo>
                    <a:cubicBezTo>
                      <a:pt x="28292" y="17724"/>
                      <a:pt x="28168" y="17615"/>
                      <a:pt x="28292" y="17521"/>
                    </a:cubicBezTo>
                    <a:cubicBezTo>
                      <a:pt x="28417" y="17428"/>
                      <a:pt x="27981" y="17521"/>
                      <a:pt x="27903" y="17630"/>
                    </a:cubicBezTo>
                    <a:cubicBezTo>
                      <a:pt x="27903" y="18098"/>
                      <a:pt x="28448" y="18394"/>
                      <a:pt x="28729" y="18768"/>
                    </a:cubicBezTo>
                    <a:cubicBezTo>
                      <a:pt x="28869" y="18768"/>
                      <a:pt x="29243" y="18768"/>
                      <a:pt x="29025" y="18955"/>
                    </a:cubicBezTo>
                    <a:cubicBezTo>
                      <a:pt x="29243" y="19080"/>
                      <a:pt x="29929" y="19205"/>
                      <a:pt x="29773" y="19548"/>
                    </a:cubicBezTo>
                    <a:cubicBezTo>
                      <a:pt x="29633" y="19548"/>
                      <a:pt x="29773" y="19314"/>
                      <a:pt x="29524" y="19361"/>
                    </a:cubicBezTo>
                    <a:cubicBezTo>
                      <a:pt x="29274" y="19407"/>
                      <a:pt x="29274" y="19548"/>
                      <a:pt x="29321" y="19626"/>
                    </a:cubicBezTo>
                    <a:cubicBezTo>
                      <a:pt x="29649" y="19719"/>
                      <a:pt x="29321" y="19906"/>
                      <a:pt x="29321" y="20093"/>
                    </a:cubicBezTo>
                    <a:cubicBezTo>
                      <a:pt x="29321" y="20280"/>
                      <a:pt x="28900" y="20343"/>
                      <a:pt x="29119" y="20093"/>
                    </a:cubicBezTo>
                    <a:cubicBezTo>
                      <a:pt x="29219" y="19835"/>
                      <a:pt x="29104" y="19543"/>
                      <a:pt x="28854" y="19423"/>
                    </a:cubicBezTo>
                    <a:cubicBezTo>
                      <a:pt x="28713" y="19423"/>
                      <a:pt x="28854" y="19314"/>
                      <a:pt x="28729" y="19267"/>
                    </a:cubicBezTo>
                    <a:cubicBezTo>
                      <a:pt x="28603" y="19264"/>
                      <a:pt x="28490" y="19192"/>
                      <a:pt x="28433" y="19080"/>
                    </a:cubicBezTo>
                    <a:cubicBezTo>
                      <a:pt x="27513" y="19080"/>
                      <a:pt x="27357" y="17225"/>
                      <a:pt x="26391" y="18347"/>
                    </a:cubicBezTo>
                    <a:cubicBezTo>
                      <a:pt x="26391" y="18534"/>
                      <a:pt x="26079" y="18347"/>
                      <a:pt x="25985" y="18254"/>
                    </a:cubicBezTo>
                    <a:cubicBezTo>
                      <a:pt x="25019" y="18145"/>
                      <a:pt x="25985" y="18987"/>
                      <a:pt x="24910" y="19142"/>
                    </a:cubicBezTo>
                    <a:cubicBezTo>
                      <a:pt x="24988" y="19142"/>
                      <a:pt x="24910" y="19298"/>
                      <a:pt x="24910" y="19252"/>
                    </a:cubicBezTo>
                    <a:cubicBezTo>
                      <a:pt x="24271" y="19750"/>
                      <a:pt x="24910" y="19719"/>
                      <a:pt x="24676" y="19969"/>
                    </a:cubicBezTo>
                    <a:cubicBezTo>
                      <a:pt x="24458" y="19969"/>
                      <a:pt x="24567" y="20374"/>
                      <a:pt x="24364" y="20327"/>
                    </a:cubicBezTo>
                    <a:cubicBezTo>
                      <a:pt x="23974" y="20748"/>
                      <a:pt x="23522" y="20327"/>
                      <a:pt x="23070" y="20779"/>
                    </a:cubicBezTo>
                    <a:cubicBezTo>
                      <a:pt x="22774" y="20779"/>
                      <a:pt x="22821" y="20140"/>
                      <a:pt x="22416" y="20421"/>
                    </a:cubicBezTo>
                    <a:cubicBezTo>
                      <a:pt x="22416" y="20421"/>
                      <a:pt x="22229" y="20296"/>
                      <a:pt x="22151" y="20421"/>
                    </a:cubicBezTo>
                    <a:cubicBezTo>
                      <a:pt x="22167" y="20247"/>
                      <a:pt x="22198" y="20075"/>
                      <a:pt x="22244" y="19906"/>
                    </a:cubicBezTo>
                    <a:cubicBezTo>
                      <a:pt x="21948" y="19906"/>
                      <a:pt x="22244" y="19906"/>
                      <a:pt x="22244" y="19750"/>
                    </a:cubicBezTo>
                    <a:cubicBezTo>
                      <a:pt x="21870" y="19984"/>
                      <a:pt x="22338" y="19329"/>
                      <a:pt x="22353" y="19189"/>
                    </a:cubicBezTo>
                    <a:cubicBezTo>
                      <a:pt x="22369" y="19049"/>
                      <a:pt x="22353" y="18690"/>
                      <a:pt x="22447" y="18566"/>
                    </a:cubicBezTo>
                    <a:lnTo>
                      <a:pt x="22447" y="18566"/>
                    </a:lnTo>
                    <a:cubicBezTo>
                      <a:pt x="22447" y="18566"/>
                      <a:pt x="22447" y="18566"/>
                      <a:pt x="22447" y="18457"/>
                    </a:cubicBezTo>
                    <a:cubicBezTo>
                      <a:pt x="22447" y="18347"/>
                      <a:pt x="22447" y="18457"/>
                      <a:pt x="22447" y="18363"/>
                    </a:cubicBezTo>
                    <a:cubicBezTo>
                      <a:pt x="22447" y="18269"/>
                      <a:pt x="22634" y="18238"/>
                      <a:pt x="22712" y="18192"/>
                    </a:cubicBezTo>
                    <a:cubicBezTo>
                      <a:pt x="22790" y="18145"/>
                      <a:pt x="23055" y="18192"/>
                      <a:pt x="23133" y="18192"/>
                    </a:cubicBezTo>
                    <a:cubicBezTo>
                      <a:pt x="23460" y="18192"/>
                      <a:pt x="23819" y="18347"/>
                      <a:pt x="24146" y="18269"/>
                    </a:cubicBezTo>
                    <a:cubicBezTo>
                      <a:pt x="24723" y="18722"/>
                      <a:pt x="24364" y="17163"/>
                      <a:pt x="24754" y="17755"/>
                    </a:cubicBezTo>
                    <a:cubicBezTo>
                      <a:pt x="24754" y="17662"/>
                      <a:pt x="24660" y="17521"/>
                      <a:pt x="24551" y="17506"/>
                    </a:cubicBezTo>
                    <a:cubicBezTo>
                      <a:pt x="24707" y="17303"/>
                      <a:pt x="24411" y="17256"/>
                      <a:pt x="24333" y="17116"/>
                    </a:cubicBezTo>
                    <a:cubicBezTo>
                      <a:pt x="24255" y="16976"/>
                      <a:pt x="24333" y="16898"/>
                      <a:pt x="24458" y="16991"/>
                    </a:cubicBezTo>
                    <a:cubicBezTo>
                      <a:pt x="24364" y="16851"/>
                      <a:pt x="24255" y="17085"/>
                      <a:pt x="24255" y="16835"/>
                    </a:cubicBezTo>
                    <a:cubicBezTo>
                      <a:pt x="24146" y="16835"/>
                      <a:pt x="23959" y="16648"/>
                      <a:pt x="23803" y="16757"/>
                    </a:cubicBezTo>
                    <a:cubicBezTo>
                      <a:pt x="23647" y="16867"/>
                      <a:pt x="23803" y="16757"/>
                      <a:pt x="23803" y="16648"/>
                    </a:cubicBezTo>
                    <a:cubicBezTo>
                      <a:pt x="23803" y="16539"/>
                      <a:pt x="23897" y="16508"/>
                      <a:pt x="23803" y="16648"/>
                    </a:cubicBezTo>
                    <a:cubicBezTo>
                      <a:pt x="23709" y="16789"/>
                      <a:pt x="23803" y="16648"/>
                      <a:pt x="23803" y="16648"/>
                    </a:cubicBezTo>
                    <a:cubicBezTo>
                      <a:pt x="23460" y="16539"/>
                      <a:pt x="23990" y="16524"/>
                      <a:pt x="24099" y="16446"/>
                    </a:cubicBezTo>
                    <a:cubicBezTo>
                      <a:pt x="24224" y="16602"/>
                      <a:pt x="24317" y="16446"/>
                      <a:pt x="24520" y="16555"/>
                    </a:cubicBezTo>
                    <a:cubicBezTo>
                      <a:pt x="24493" y="16422"/>
                      <a:pt x="24457" y="16292"/>
                      <a:pt x="24411" y="16165"/>
                    </a:cubicBezTo>
                    <a:cubicBezTo>
                      <a:pt x="24411" y="16165"/>
                      <a:pt x="24551" y="16165"/>
                      <a:pt x="24598" y="16165"/>
                    </a:cubicBezTo>
                    <a:cubicBezTo>
                      <a:pt x="24645" y="16165"/>
                      <a:pt x="24863" y="16337"/>
                      <a:pt x="24957" y="16165"/>
                    </a:cubicBezTo>
                    <a:cubicBezTo>
                      <a:pt x="24738" y="15994"/>
                      <a:pt x="25206" y="16072"/>
                      <a:pt x="25206" y="15978"/>
                    </a:cubicBezTo>
                    <a:cubicBezTo>
                      <a:pt x="25206" y="15884"/>
                      <a:pt x="25284" y="15775"/>
                      <a:pt x="25315" y="15682"/>
                    </a:cubicBezTo>
                    <a:cubicBezTo>
                      <a:pt x="25346" y="15588"/>
                      <a:pt x="25596" y="15417"/>
                      <a:pt x="25814" y="15542"/>
                    </a:cubicBezTo>
                    <a:cubicBezTo>
                      <a:pt x="25658" y="15542"/>
                      <a:pt x="25611" y="15354"/>
                      <a:pt x="25814" y="15542"/>
                    </a:cubicBezTo>
                    <a:cubicBezTo>
                      <a:pt x="26017" y="15729"/>
                      <a:pt x="25705" y="15432"/>
                      <a:pt x="25907" y="15448"/>
                    </a:cubicBezTo>
                    <a:cubicBezTo>
                      <a:pt x="25580" y="15214"/>
                      <a:pt x="26250" y="14622"/>
                      <a:pt x="26578" y="14918"/>
                    </a:cubicBezTo>
                    <a:cubicBezTo>
                      <a:pt x="26344" y="14747"/>
                      <a:pt x="26671" y="14622"/>
                      <a:pt x="26734" y="14918"/>
                    </a:cubicBezTo>
                    <a:cubicBezTo>
                      <a:pt x="26734" y="14700"/>
                      <a:pt x="26734" y="14918"/>
                      <a:pt x="26858" y="14918"/>
                    </a:cubicBezTo>
                    <a:cubicBezTo>
                      <a:pt x="26718" y="14544"/>
                      <a:pt x="26999" y="14731"/>
                      <a:pt x="27186" y="14793"/>
                    </a:cubicBezTo>
                    <a:cubicBezTo>
                      <a:pt x="26671" y="14559"/>
                      <a:pt x="26812" y="14061"/>
                      <a:pt x="26671" y="13718"/>
                    </a:cubicBezTo>
                    <a:cubicBezTo>
                      <a:pt x="26889" y="13718"/>
                      <a:pt x="26796" y="13577"/>
                      <a:pt x="26921" y="13718"/>
                    </a:cubicBezTo>
                    <a:cubicBezTo>
                      <a:pt x="26921" y="13281"/>
                      <a:pt x="27077" y="13718"/>
                      <a:pt x="27248" y="13718"/>
                    </a:cubicBezTo>
                    <a:cubicBezTo>
                      <a:pt x="27248" y="13952"/>
                      <a:pt x="26796" y="14092"/>
                      <a:pt x="27154" y="14528"/>
                    </a:cubicBezTo>
                    <a:cubicBezTo>
                      <a:pt x="27154" y="14419"/>
                      <a:pt x="27529" y="14528"/>
                      <a:pt x="27279" y="14606"/>
                    </a:cubicBezTo>
                    <a:cubicBezTo>
                      <a:pt x="27762" y="14606"/>
                      <a:pt x="27575" y="14310"/>
                      <a:pt x="28027" y="14606"/>
                    </a:cubicBezTo>
                    <a:cubicBezTo>
                      <a:pt x="28246" y="14949"/>
                      <a:pt x="28729" y="13936"/>
                      <a:pt x="29134" y="14310"/>
                    </a:cubicBezTo>
                    <a:cubicBezTo>
                      <a:pt x="28885" y="14310"/>
                      <a:pt x="29134" y="14559"/>
                      <a:pt x="29337" y="14310"/>
                    </a:cubicBezTo>
                    <a:cubicBezTo>
                      <a:pt x="29312" y="14365"/>
                      <a:pt x="29267" y="14410"/>
                      <a:pt x="29212" y="14435"/>
                    </a:cubicBezTo>
                    <a:cubicBezTo>
                      <a:pt x="30927" y="14357"/>
                      <a:pt x="28729" y="13858"/>
                      <a:pt x="29680" y="13157"/>
                    </a:cubicBezTo>
                    <a:cubicBezTo>
                      <a:pt x="30023" y="13687"/>
                      <a:pt x="30132" y="13328"/>
                      <a:pt x="29976" y="12907"/>
                    </a:cubicBezTo>
                    <a:cubicBezTo>
                      <a:pt x="29976" y="13094"/>
                      <a:pt x="29711" y="12907"/>
                      <a:pt x="29804" y="12767"/>
                    </a:cubicBezTo>
                    <a:cubicBezTo>
                      <a:pt x="29524" y="12767"/>
                      <a:pt x="29804" y="12486"/>
                      <a:pt x="29804" y="12424"/>
                    </a:cubicBezTo>
                    <a:cubicBezTo>
                      <a:pt x="29804" y="12362"/>
                      <a:pt x="30023" y="12424"/>
                      <a:pt x="29929" y="12424"/>
                    </a:cubicBezTo>
                    <a:lnTo>
                      <a:pt x="30506" y="12517"/>
                    </a:lnTo>
                    <a:cubicBezTo>
                      <a:pt x="30334" y="12252"/>
                      <a:pt x="30506" y="12424"/>
                      <a:pt x="30631" y="12221"/>
                    </a:cubicBezTo>
                    <a:cubicBezTo>
                      <a:pt x="30755" y="12019"/>
                      <a:pt x="30225" y="12128"/>
                      <a:pt x="30444" y="11972"/>
                    </a:cubicBezTo>
                    <a:cubicBezTo>
                      <a:pt x="30444" y="11972"/>
                      <a:pt x="30334" y="12065"/>
                      <a:pt x="30319" y="11972"/>
                    </a:cubicBezTo>
                    <a:cubicBezTo>
                      <a:pt x="30319" y="12112"/>
                      <a:pt x="30038" y="12128"/>
                      <a:pt x="29976" y="12081"/>
                    </a:cubicBezTo>
                    <a:cubicBezTo>
                      <a:pt x="29914" y="12034"/>
                      <a:pt x="29976" y="12081"/>
                      <a:pt x="29976" y="12081"/>
                    </a:cubicBezTo>
                    <a:cubicBezTo>
                      <a:pt x="29976" y="12081"/>
                      <a:pt x="29976" y="12299"/>
                      <a:pt x="29976" y="12081"/>
                    </a:cubicBezTo>
                    <a:cubicBezTo>
                      <a:pt x="29976" y="12206"/>
                      <a:pt x="29586" y="12221"/>
                      <a:pt x="29555" y="12362"/>
                    </a:cubicBezTo>
                    <a:cubicBezTo>
                      <a:pt x="29555" y="12081"/>
                      <a:pt x="29415" y="12174"/>
                      <a:pt x="29197" y="12034"/>
                    </a:cubicBezTo>
                    <a:cubicBezTo>
                      <a:pt x="28978" y="11894"/>
                      <a:pt x="28760" y="11021"/>
                      <a:pt x="28963" y="10943"/>
                    </a:cubicBezTo>
                    <a:cubicBezTo>
                      <a:pt x="29165" y="10865"/>
                      <a:pt x="28963" y="10865"/>
                      <a:pt x="29056" y="10943"/>
                    </a:cubicBezTo>
                    <a:cubicBezTo>
                      <a:pt x="29150" y="11021"/>
                      <a:pt x="29056" y="10818"/>
                      <a:pt x="29056" y="10725"/>
                    </a:cubicBezTo>
                    <a:cubicBezTo>
                      <a:pt x="29056" y="10631"/>
                      <a:pt x="29259" y="10304"/>
                      <a:pt x="29321" y="10397"/>
                    </a:cubicBezTo>
                    <a:cubicBezTo>
                      <a:pt x="29134" y="9992"/>
                      <a:pt x="28776" y="10117"/>
                      <a:pt x="28589" y="10148"/>
                    </a:cubicBezTo>
                    <a:cubicBezTo>
                      <a:pt x="28698" y="10304"/>
                      <a:pt x="28589" y="10507"/>
                      <a:pt x="28729" y="10631"/>
                    </a:cubicBezTo>
                    <a:cubicBezTo>
                      <a:pt x="28616" y="10941"/>
                      <a:pt x="28422" y="11216"/>
                      <a:pt x="28168" y="11426"/>
                    </a:cubicBezTo>
                    <a:cubicBezTo>
                      <a:pt x="28277" y="11504"/>
                      <a:pt x="28168" y="11660"/>
                      <a:pt x="28292" y="11769"/>
                    </a:cubicBezTo>
                    <a:cubicBezTo>
                      <a:pt x="28027" y="11909"/>
                      <a:pt x="29212" y="12704"/>
                      <a:pt x="28479" y="12517"/>
                    </a:cubicBezTo>
                    <a:cubicBezTo>
                      <a:pt x="28479" y="12517"/>
                      <a:pt x="28043" y="12517"/>
                      <a:pt x="28324" y="12627"/>
                    </a:cubicBezTo>
                    <a:cubicBezTo>
                      <a:pt x="28604" y="12736"/>
                      <a:pt x="28869" y="12814"/>
                      <a:pt x="28573" y="12751"/>
                    </a:cubicBezTo>
                    <a:cubicBezTo>
                      <a:pt x="28573" y="12751"/>
                      <a:pt x="28573" y="12938"/>
                      <a:pt x="28464" y="12876"/>
                    </a:cubicBezTo>
                    <a:cubicBezTo>
                      <a:pt x="28355" y="12814"/>
                      <a:pt x="28557" y="13001"/>
                      <a:pt x="28464" y="13016"/>
                    </a:cubicBezTo>
                    <a:cubicBezTo>
                      <a:pt x="28573" y="13016"/>
                      <a:pt x="28604" y="13250"/>
                      <a:pt x="28464" y="13172"/>
                    </a:cubicBezTo>
                    <a:cubicBezTo>
                      <a:pt x="28589" y="13422"/>
                      <a:pt x="28604" y="14076"/>
                      <a:pt x="28214" y="13827"/>
                    </a:cubicBezTo>
                    <a:cubicBezTo>
                      <a:pt x="27965" y="14793"/>
                      <a:pt x="27279" y="12845"/>
                      <a:pt x="27373" y="12751"/>
                    </a:cubicBezTo>
                    <a:cubicBezTo>
                      <a:pt x="27217" y="12658"/>
                      <a:pt x="27170" y="12564"/>
                      <a:pt x="27170" y="12533"/>
                    </a:cubicBezTo>
                    <a:cubicBezTo>
                      <a:pt x="27188" y="12620"/>
                      <a:pt x="27188" y="12711"/>
                      <a:pt x="27170" y="12798"/>
                    </a:cubicBezTo>
                    <a:cubicBezTo>
                      <a:pt x="27170" y="12798"/>
                      <a:pt x="27170" y="12798"/>
                      <a:pt x="26983" y="12673"/>
                    </a:cubicBezTo>
                    <a:cubicBezTo>
                      <a:pt x="26983" y="12814"/>
                      <a:pt x="26983" y="13032"/>
                      <a:pt x="26858" y="12969"/>
                    </a:cubicBezTo>
                    <a:cubicBezTo>
                      <a:pt x="26983" y="13125"/>
                      <a:pt x="26578" y="13234"/>
                      <a:pt x="26484" y="13094"/>
                    </a:cubicBezTo>
                    <a:cubicBezTo>
                      <a:pt x="26391" y="13203"/>
                      <a:pt x="26001" y="12751"/>
                      <a:pt x="26484" y="12798"/>
                    </a:cubicBezTo>
                    <a:cubicBezTo>
                      <a:pt x="26282" y="12798"/>
                      <a:pt x="26484" y="12704"/>
                      <a:pt x="26328" y="12595"/>
                    </a:cubicBezTo>
                    <a:cubicBezTo>
                      <a:pt x="26328" y="12876"/>
                      <a:pt x="26110" y="12424"/>
                      <a:pt x="26328" y="12595"/>
                    </a:cubicBezTo>
                    <a:cubicBezTo>
                      <a:pt x="26547" y="12767"/>
                      <a:pt x="26328" y="12595"/>
                      <a:pt x="26469" y="12502"/>
                    </a:cubicBezTo>
                    <a:cubicBezTo>
                      <a:pt x="26282" y="12502"/>
                      <a:pt x="26469" y="12206"/>
                      <a:pt x="26469" y="12393"/>
                    </a:cubicBezTo>
                    <a:cubicBezTo>
                      <a:pt x="26426" y="12350"/>
                      <a:pt x="26425" y="12281"/>
                      <a:pt x="26467" y="12238"/>
                    </a:cubicBezTo>
                    <a:cubicBezTo>
                      <a:pt x="26467" y="12238"/>
                      <a:pt x="26468" y="12237"/>
                      <a:pt x="26469" y="12237"/>
                    </a:cubicBezTo>
                    <a:cubicBezTo>
                      <a:pt x="26266" y="12315"/>
                      <a:pt x="26157" y="12455"/>
                      <a:pt x="26266" y="12237"/>
                    </a:cubicBezTo>
                    <a:cubicBezTo>
                      <a:pt x="26126" y="12237"/>
                      <a:pt x="26079" y="12315"/>
                      <a:pt x="26266" y="12143"/>
                    </a:cubicBezTo>
                    <a:cubicBezTo>
                      <a:pt x="25954" y="12019"/>
                      <a:pt x="26812" y="12237"/>
                      <a:pt x="26640" y="11941"/>
                    </a:cubicBezTo>
                    <a:cubicBezTo>
                      <a:pt x="26640" y="12097"/>
                      <a:pt x="25939" y="12065"/>
                      <a:pt x="26313" y="11941"/>
                    </a:cubicBezTo>
                    <a:cubicBezTo>
                      <a:pt x="26001" y="11941"/>
                      <a:pt x="26313" y="11832"/>
                      <a:pt x="26484" y="11816"/>
                    </a:cubicBezTo>
                    <a:cubicBezTo>
                      <a:pt x="26157" y="11816"/>
                      <a:pt x="26094" y="11644"/>
                      <a:pt x="26359" y="11722"/>
                    </a:cubicBezTo>
                    <a:cubicBezTo>
                      <a:pt x="26282" y="11722"/>
                      <a:pt x="26359" y="11598"/>
                      <a:pt x="26484" y="11722"/>
                    </a:cubicBezTo>
                    <a:lnTo>
                      <a:pt x="26484" y="11613"/>
                    </a:lnTo>
                    <a:cubicBezTo>
                      <a:pt x="26484" y="11613"/>
                      <a:pt x="26484" y="11613"/>
                      <a:pt x="26718" y="11613"/>
                    </a:cubicBezTo>
                    <a:cubicBezTo>
                      <a:pt x="26422" y="11613"/>
                      <a:pt x="26593" y="11426"/>
                      <a:pt x="26843" y="11613"/>
                    </a:cubicBezTo>
                    <a:cubicBezTo>
                      <a:pt x="26515" y="11348"/>
                      <a:pt x="26843" y="11613"/>
                      <a:pt x="26843" y="11504"/>
                    </a:cubicBezTo>
                    <a:cubicBezTo>
                      <a:pt x="26843" y="11395"/>
                      <a:pt x="27154" y="11083"/>
                      <a:pt x="27014" y="11504"/>
                    </a:cubicBezTo>
                    <a:cubicBezTo>
                      <a:pt x="27232" y="11379"/>
                      <a:pt x="27201" y="11379"/>
                      <a:pt x="27279" y="11161"/>
                    </a:cubicBezTo>
                    <a:cubicBezTo>
                      <a:pt x="27357" y="10943"/>
                      <a:pt x="27030" y="11629"/>
                      <a:pt x="27045" y="11270"/>
                    </a:cubicBezTo>
                    <a:cubicBezTo>
                      <a:pt x="26921" y="11364"/>
                      <a:pt x="27045" y="11037"/>
                      <a:pt x="27045" y="11068"/>
                    </a:cubicBezTo>
                    <a:cubicBezTo>
                      <a:pt x="27045" y="11099"/>
                      <a:pt x="27217" y="10896"/>
                      <a:pt x="27357" y="10678"/>
                    </a:cubicBezTo>
                    <a:cubicBezTo>
                      <a:pt x="27217" y="10787"/>
                      <a:pt x="27279" y="10460"/>
                      <a:pt x="27357" y="10538"/>
                    </a:cubicBezTo>
                    <a:cubicBezTo>
                      <a:pt x="27435" y="10616"/>
                      <a:pt x="27357" y="10382"/>
                      <a:pt x="27357" y="10460"/>
                    </a:cubicBezTo>
                    <a:cubicBezTo>
                      <a:pt x="27264" y="10273"/>
                      <a:pt x="27357" y="10382"/>
                      <a:pt x="27357" y="10288"/>
                    </a:cubicBezTo>
                    <a:cubicBezTo>
                      <a:pt x="27170" y="10288"/>
                      <a:pt x="27357" y="10195"/>
                      <a:pt x="27248" y="10117"/>
                    </a:cubicBezTo>
                    <a:cubicBezTo>
                      <a:pt x="27139" y="10039"/>
                      <a:pt x="27248" y="9821"/>
                      <a:pt x="27529" y="9961"/>
                    </a:cubicBezTo>
                    <a:cubicBezTo>
                      <a:pt x="27388" y="9883"/>
                      <a:pt x="27326" y="9743"/>
                      <a:pt x="27529" y="9836"/>
                    </a:cubicBezTo>
                    <a:cubicBezTo>
                      <a:pt x="27731" y="9930"/>
                      <a:pt x="27373" y="9711"/>
                      <a:pt x="27529" y="9696"/>
                    </a:cubicBezTo>
                    <a:cubicBezTo>
                      <a:pt x="27264" y="9696"/>
                      <a:pt x="27529" y="9696"/>
                      <a:pt x="27529" y="9509"/>
                    </a:cubicBezTo>
                    <a:cubicBezTo>
                      <a:pt x="27700" y="9509"/>
                      <a:pt x="27669" y="9509"/>
                      <a:pt x="27684" y="9509"/>
                    </a:cubicBezTo>
                    <a:cubicBezTo>
                      <a:pt x="28059" y="9587"/>
                      <a:pt x="27419" y="9369"/>
                      <a:pt x="27684" y="9369"/>
                    </a:cubicBezTo>
                    <a:cubicBezTo>
                      <a:pt x="27684" y="9369"/>
                      <a:pt x="27684" y="9275"/>
                      <a:pt x="27684" y="9275"/>
                    </a:cubicBezTo>
                    <a:cubicBezTo>
                      <a:pt x="27684" y="9275"/>
                      <a:pt x="27684" y="8994"/>
                      <a:pt x="27778" y="9182"/>
                    </a:cubicBezTo>
                    <a:cubicBezTo>
                      <a:pt x="27872" y="9369"/>
                      <a:pt x="27778" y="9182"/>
                      <a:pt x="27778" y="9182"/>
                    </a:cubicBezTo>
                    <a:cubicBezTo>
                      <a:pt x="27575" y="9057"/>
                      <a:pt x="27778" y="9088"/>
                      <a:pt x="27778" y="9182"/>
                    </a:cubicBezTo>
                    <a:cubicBezTo>
                      <a:pt x="27778" y="9275"/>
                      <a:pt x="27778" y="8870"/>
                      <a:pt x="27778" y="9182"/>
                    </a:cubicBezTo>
                    <a:cubicBezTo>
                      <a:pt x="27778" y="8776"/>
                      <a:pt x="27778" y="9291"/>
                      <a:pt x="27949" y="9182"/>
                    </a:cubicBezTo>
                    <a:cubicBezTo>
                      <a:pt x="27778" y="8870"/>
                      <a:pt x="28152" y="9182"/>
                      <a:pt x="27949" y="8839"/>
                    </a:cubicBezTo>
                    <a:cubicBezTo>
                      <a:pt x="28043" y="8839"/>
                      <a:pt x="28168" y="8994"/>
                      <a:pt x="28246" y="8979"/>
                    </a:cubicBezTo>
                    <a:cubicBezTo>
                      <a:pt x="28324" y="8963"/>
                      <a:pt x="28246" y="8714"/>
                      <a:pt x="28246" y="8729"/>
                    </a:cubicBezTo>
                    <a:cubicBezTo>
                      <a:pt x="28246" y="8745"/>
                      <a:pt x="28105" y="8589"/>
                      <a:pt x="28246" y="8729"/>
                    </a:cubicBezTo>
                    <a:cubicBezTo>
                      <a:pt x="28386" y="8870"/>
                      <a:pt x="28246" y="8620"/>
                      <a:pt x="28246" y="8729"/>
                    </a:cubicBezTo>
                    <a:cubicBezTo>
                      <a:pt x="28355" y="8574"/>
                      <a:pt x="28386" y="9462"/>
                      <a:pt x="28370" y="8729"/>
                    </a:cubicBezTo>
                    <a:cubicBezTo>
                      <a:pt x="28620" y="9197"/>
                      <a:pt x="28370" y="8636"/>
                      <a:pt x="28542" y="8620"/>
                    </a:cubicBezTo>
                    <a:cubicBezTo>
                      <a:pt x="28713" y="8605"/>
                      <a:pt x="28542" y="8761"/>
                      <a:pt x="28635" y="8932"/>
                    </a:cubicBezTo>
                    <a:cubicBezTo>
                      <a:pt x="28729" y="9104"/>
                      <a:pt x="28713" y="8932"/>
                      <a:pt x="28744" y="8932"/>
                    </a:cubicBezTo>
                    <a:cubicBezTo>
                      <a:pt x="28589" y="8620"/>
                      <a:pt x="28916" y="8792"/>
                      <a:pt x="28900" y="8932"/>
                    </a:cubicBezTo>
                    <a:cubicBezTo>
                      <a:pt x="29197" y="8932"/>
                      <a:pt x="29087" y="9197"/>
                      <a:pt x="28807" y="9104"/>
                    </a:cubicBezTo>
                    <a:cubicBezTo>
                      <a:pt x="28900" y="9104"/>
                      <a:pt x="28994" y="9104"/>
                      <a:pt x="29041" y="9275"/>
                    </a:cubicBezTo>
                    <a:cubicBezTo>
                      <a:pt x="29087" y="9446"/>
                      <a:pt x="29150" y="9150"/>
                      <a:pt x="29290" y="9275"/>
                    </a:cubicBezTo>
                    <a:cubicBezTo>
                      <a:pt x="29290" y="9166"/>
                      <a:pt x="29290" y="9182"/>
                      <a:pt x="29290" y="9119"/>
                    </a:cubicBezTo>
                    <a:cubicBezTo>
                      <a:pt x="29290" y="9057"/>
                      <a:pt x="29633" y="9353"/>
                      <a:pt x="29384" y="9119"/>
                    </a:cubicBezTo>
                    <a:cubicBezTo>
                      <a:pt x="29384" y="9291"/>
                      <a:pt x="29555" y="9119"/>
                      <a:pt x="29571" y="9275"/>
                    </a:cubicBezTo>
                    <a:cubicBezTo>
                      <a:pt x="29586" y="9431"/>
                      <a:pt x="30147" y="9275"/>
                      <a:pt x="30568" y="9556"/>
                    </a:cubicBezTo>
                    <a:cubicBezTo>
                      <a:pt x="30459" y="9431"/>
                      <a:pt x="30896" y="9743"/>
                      <a:pt x="30677" y="9556"/>
                    </a:cubicBezTo>
                    <a:cubicBezTo>
                      <a:pt x="31488" y="9836"/>
                      <a:pt x="31410" y="10756"/>
                      <a:pt x="30490" y="10304"/>
                    </a:cubicBezTo>
                    <a:cubicBezTo>
                      <a:pt x="30381" y="10304"/>
                      <a:pt x="30381" y="10304"/>
                      <a:pt x="30334" y="10304"/>
                    </a:cubicBezTo>
                    <a:cubicBezTo>
                      <a:pt x="30288" y="10304"/>
                      <a:pt x="29867" y="10070"/>
                      <a:pt x="30007" y="10304"/>
                    </a:cubicBezTo>
                    <a:cubicBezTo>
                      <a:pt x="30147" y="10538"/>
                      <a:pt x="30366" y="10429"/>
                      <a:pt x="30272" y="10584"/>
                    </a:cubicBezTo>
                    <a:cubicBezTo>
                      <a:pt x="30521" y="10584"/>
                      <a:pt x="31613" y="12050"/>
                      <a:pt x="31379" y="11192"/>
                    </a:cubicBezTo>
                    <a:cubicBezTo>
                      <a:pt x="31207" y="11348"/>
                      <a:pt x="30958" y="10943"/>
                      <a:pt x="31083" y="10896"/>
                    </a:cubicBezTo>
                    <a:cubicBezTo>
                      <a:pt x="32392" y="11722"/>
                      <a:pt x="30833" y="10117"/>
                      <a:pt x="31737" y="10413"/>
                    </a:cubicBezTo>
                    <a:cubicBezTo>
                      <a:pt x="31737" y="10288"/>
                      <a:pt x="31846" y="10413"/>
                      <a:pt x="31893" y="10413"/>
                    </a:cubicBezTo>
                    <a:cubicBezTo>
                      <a:pt x="31668" y="10019"/>
                      <a:pt x="31372" y="9671"/>
                      <a:pt x="31020" y="9384"/>
                    </a:cubicBezTo>
                    <a:cubicBezTo>
                      <a:pt x="31301" y="9384"/>
                      <a:pt x="31737" y="9478"/>
                      <a:pt x="31581" y="9758"/>
                    </a:cubicBezTo>
                    <a:cubicBezTo>
                      <a:pt x="31940" y="10304"/>
                      <a:pt x="32080" y="9758"/>
                      <a:pt x="31893" y="9556"/>
                    </a:cubicBezTo>
                    <a:cubicBezTo>
                      <a:pt x="32049" y="9556"/>
                      <a:pt x="31893" y="9026"/>
                      <a:pt x="32127" y="9337"/>
                    </a:cubicBezTo>
                    <a:cubicBezTo>
                      <a:pt x="32127" y="9244"/>
                      <a:pt x="31924" y="9057"/>
                      <a:pt x="32127" y="9213"/>
                    </a:cubicBezTo>
                    <a:cubicBezTo>
                      <a:pt x="31971" y="8807"/>
                      <a:pt x="32236" y="9213"/>
                      <a:pt x="32423" y="9353"/>
                    </a:cubicBezTo>
                    <a:cubicBezTo>
                      <a:pt x="32423" y="9259"/>
                      <a:pt x="32423" y="9228"/>
                      <a:pt x="32423" y="9353"/>
                    </a:cubicBezTo>
                    <a:cubicBezTo>
                      <a:pt x="32221" y="9119"/>
                      <a:pt x="32564" y="9197"/>
                      <a:pt x="32517" y="8932"/>
                    </a:cubicBezTo>
                    <a:cubicBezTo>
                      <a:pt x="32626" y="9072"/>
                      <a:pt x="32953" y="9322"/>
                      <a:pt x="32688" y="9026"/>
                    </a:cubicBezTo>
                    <a:cubicBezTo>
                      <a:pt x="32844" y="9026"/>
                      <a:pt x="32595" y="8885"/>
                      <a:pt x="32782" y="9026"/>
                    </a:cubicBezTo>
                    <a:cubicBezTo>
                      <a:pt x="32702" y="8968"/>
                      <a:pt x="32619" y="8916"/>
                      <a:pt x="32532" y="8870"/>
                    </a:cubicBezTo>
                    <a:lnTo>
                      <a:pt x="32532" y="8870"/>
                    </a:lnTo>
                    <a:cubicBezTo>
                      <a:pt x="31815" y="8309"/>
                      <a:pt x="33203" y="8729"/>
                      <a:pt x="33561" y="8979"/>
                    </a:cubicBezTo>
                    <a:cubicBezTo>
                      <a:pt x="33390" y="8729"/>
                      <a:pt x="33140" y="8683"/>
                      <a:pt x="32906" y="8496"/>
                    </a:cubicBezTo>
                    <a:lnTo>
                      <a:pt x="32906" y="8496"/>
                    </a:lnTo>
                    <a:cubicBezTo>
                      <a:pt x="32906" y="8496"/>
                      <a:pt x="32906" y="8496"/>
                      <a:pt x="32797" y="8496"/>
                    </a:cubicBezTo>
                    <a:lnTo>
                      <a:pt x="32797" y="8496"/>
                    </a:lnTo>
                    <a:lnTo>
                      <a:pt x="32564" y="8309"/>
                    </a:lnTo>
                    <a:cubicBezTo>
                      <a:pt x="32688" y="8309"/>
                      <a:pt x="32330" y="8153"/>
                      <a:pt x="32423" y="8153"/>
                    </a:cubicBezTo>
                    <a:cubicBezTo>
                      <a:pt x="32221" y="8059"/>
                      <a:pt x="31176" y="7186"/>
                      <a:pt x="31394" y="7155"/>
                    </a:cubicBezTo>
                    <a:cubicBezTo>
                      <a:pt x="32158" y="7436"/>
                      <a:pt x="32953" y="8246"/>
                      <a:pt x="33701" y="8714"/>
                    </a:cubicBezTo>
                    <a:lnTo>
                      <a:pt x="33701" y="8714"/>
                    </a:lnTo>
                    <a:cubicBezTo>
                      <a:pt x="33931" y="8894"/>
                      <a:pt x="34135" y="9103"/>
                      <a:pt x="34309" y="9337"/>
                    </a:cubicBezTo>
                    <a:lnTo>
                      <a:pt x="34309" y="9337"/>
                    </a:lnTo>
                    <a:cubicBezTo>
                      <a:pt x="34481" y="9446"/>
                      <a:pt x="34465" y="9602"/>
                      <a:pt x="34309" y="9337"/>
                    </a:cubicBezTo>
                    <a:cubicBezTo>
                      <a:pt x="34309" y="9337"/>
                      <a:pt x="34013" y="9337"/>
                      <a:pt x="34216" y="9462"/>
                    </a:cubicBezTo>
                    <a:cubicBezTo>
                      <a:pt x="35338" y="9711"/>
                      <a:pt x="33811" y="8729"/>
                      <a:pt x="33670" y="8418"/>
                    </a:cubicBezTo>
                    <a:cubicBezTo>
                      <a:pt x="33670" y="8418"/>
                      <a:pt x="33670" y="8418"/>
                      <a:pt x="33670" y="8418"/>
                    </a:cubicBezTo>
                    <a:cubicBezTo>
                      <a:pt x="32928" y="8092"/>
                      <a:pt x="32240" y="7655"/>
                      <a:pt x="31628" y="7124"/>
                    </a:cubicBezTo>
                    <a:cubicBezTo>
                      <a:pt x="31971" y="7280"/>
                      <a:pt x="32283" y="7623"/>
                      <a:pt x="32610" y="7669"/>
                    </a:cubicBezTo>
                    <a:cubicBezTo>
                      <a:pt x="32486" y="7498"/>
                      <a:pt x="32860" y="7779"/>
                      <a:pt x="32766" y="7669"/>
                    </a:cubicBezTo>
                    <a:cubicBezTo>
                      <a:pt x="32514" y="7656"/>
                      <a:pt x="32275" y="7551"/>
                      <a:pt x="32096" y="7373"/>
                    </a:cubicBezTo>
                    <a:cubicBezTo>
                      <a:pt x="32423" y="7514"/>
                      <a:pt x="32096" y="7373"/>
                      <a:pt x="32096" y="7295"/>
                    </a:cubicBezTo>
                    <a:lnTo>
                      <a:pt x="32096" y="7295"/>
                    </a:lnTo>
                    <a:cubicBezTo>
                      <a:pt x="31659" y="6765"/>
                      <a:pt x="33655" y="8059"/>
                      <a:pt x="33000" y="7560"/>
                    </a:cubicBezTo>
                    <a:cubicBezTo>
                      <a:pt x="33249" y="7742"/>
                      <a:pt x="33522" y="7889"/>
                      <a:pt x="33811" y="7997"/>
                    </a:cubicBezTo>
                    <a:cubicBezTo>
                      <a:pt x="33530" y="7810"/>
                      <a:pt x="33811" y="7888"/>
                      <a:pt x="33966" y="7997"/>
                    </a:cubicBezTo>
                    <a:cubicBezTo>
                      <a:pt x="33873" y="7903"/>
                      <a:pt x="33608" y="7794"/>
                      <a:pt x="33670" y="7903"/>
                    </a:cubicBezTo>
                    <a:cubicBezTo>
                      <a:pt x="33187" y="7685"/>
                      <a:pt x="32688" y="7311"/>
                      <a:pt x="32111" y="7077"/>
                    </a:cubicBezTo>
                    <a:cubicBezTo>
                      <a:pt x="31956" y="7077"/>
                      <a:pt x="31223" y="6719"/>
                      <a:pt x="31332" y="6563"/>
                    </a:cubicBezTo>
                    <a:cubicBezTo>
                      <a:pt x="31114" y="6282"/>
                      <a:pt x="31488" y="6656"/>
                      <a:pt x="31628" y="6641"/>
                    </a:cubicBezTo>
                    <a:cubicBezTo>
                      <a:pt x="31426" y="6641"/>
                      <a:pt x="31301" y="6391"/>
                      <a:pt x="31098" y="6360"/>
                    </a:cubicBezTo>
                    <a:cubicBezTo>
                      <a:pt x="30896" y="6329"/>
                      <a:pt x="30911" y="6360"/>
                      <a:pt x="30880" y="6282"/>
                    </a:cubicBezTo>
                    <a:cubicBezTo>
                      <a:pt x="30849" y="6204"/>
                      <a:pt x="30974" y="6282"/>
                      <a:pt x="30880" y="6282"/>
                    </a:cubicBezTo>
                    <a:cubicBezTo>
                      <a:pt x="30786" y="6282"/>
                      <a:pt x="30709" y="6204"/>
                      <a:pt x="30740" y="6282"/>
                    </a:cubicBezTo>
                    <a:cubicBezTo>
                      <a:pt x="30771" y="6360"/>
                      <a:pt x="30568" y="6173"/>
                      <a:pt x="30740" y="6282"/>
                    </a:cubicBezTo>
                    <a:lnTo>
                      <a:pt x="30506" y="6142"/>
                    </a:lnTo>
                    <a:cubicBezTo>
                      <a:pt x="30506" y="6142"/>
                      <a:pt x="30506" y="6142"/>
                      <a:pt x="30506" y="6142"/>
                    </a:cubicBezTo>
                    <a:lnTo>
                      <a:pt x="30101" y="5861"/>
                    </a:lnTo>
                    <a:lnTo>
                      <a:pt x="30101" y="5861"/>
                    </a:lnTo>
                    <a:cubicBezTo>
                      <a:pt x="30026" y="5804"/>
                      <a:pt x="29948" y="5752"/>
                      <a:pt x="29867" y="5705"/>
                    </a:cubicBezTo>
                    <a:lnTo>
                      <a:pt x="29867" y="5705"/>
                    </a:lnTo>
                    <a:lnTo>
                      <a:pt x="29867" y="5705"/>
                    </a:lnTo>
                    <a:lnTo>
                      <a:pt x="29867" y="5705"/>
                    </a:lnTo>
                    <a:lnTo>
                      <a:pt x="29664" y="5612"/>
                    </a:lnTo>
                    <a:lnTo>
                      <a:pt x="29664" y="5612"/>
                    </a:lnTo>
                    <a:cubicBezTo>
                      <a:pt x="29664" y="5612"/>
                      <a:pt x="29508" y="5612"/>
                      <a:pt x="29664" y="5612"/>
                    </a:cubicBezTo>
                    <a:lnTo>
                      <a:pt x="29664" y="5612"/>
                    </a:lnTo>
                    <a:lnTo>
                      <a:pt x="29664" y="5612"/>
                    </a:lnTo>
                    <a:lnTo>
                      <a:pt x="29914" y="5705"/>
                    </a:lnTo>
                    <a:lnTo>
                      <a:pt x="29711" y="5612"/>
                    </a:lnTo>
                    <a:lnTo>
                      <a:pt x="29851" y="5612"/>
                    </a:lnTo>
                    <a:lnTo>
                      <a:pt x="29773" y="5612"/>
                    </a:lnTo>
                    <a:cubicBezTo>
                      <a:pt x="29732" y="5603"/>
                      <a:pt x="29690" y="5603"/>
                      <a:pt x="29649" y="5612"/>
                    </a:cubicBezTo>
                    <a:lnTo>
                      <a:pt x="29649" y="5612"/>
                    </a:lnTo>
                    <a:cubicBezTo>
                      <a:pt x="29607" y="5620"/>
                      <a:pt x="29565" y="5620"/>
                      <a:pt x="29524" y="5612"/>
                    </a:cubicBezTo>
                    <a:lnTo>
                      <a:pt x="29836" y="5721"/>
                    </a:lnTo>
                    <a:cubicBezTo>
                      <a:pt x="29722" y="5665"/>
                      <a:pt x="29601" y="5623"/>
                      <a:pt x="29477" y="5596"/>
                    </a:cubicBezTo>
                    <a:lnTo>
                      <a:pt x="29477" y="5596"/>
                    </a:lnTo>
                    <a:cubicBezTo>
                      <a:pt x="29477" y="5596"/>
                      <a:pt x="29306" y="5596"/>
                      <a:pt x="29352" y="5596"/>
                    </a:cubicBezTo>
                    <a:cubicBezTo>
                      <a:pt x="29399" y="5596"/>
                      <a:pt x="29352" y="5596"/>
                      <a:pt x="29352" y="5596"/>
                    </a:cubicBezTo>
                    <a:lnTo>
                      <a:pt x="29352" y="5596"/>
                    </a:lnTo>
                    <a:lnTo>
                      <a:pt x="29228" y="5596"/>
                    </a:lnTo>
                    <a:lnTo>
                      <a:pt x="29228" y="5596"/>
                    </a:lnTo>
                    <a:lnTo>
                      <a:pt x="28807" y="5471"/>
                    </a:lnTo>
                    <a:lnTo>
                      <a:pt x="28807" y="5471"/>
                    </a:lnTo>
                    <a:cubicBezTo>
                      <a:pt x="28651" y="5471"/>
                      <a:pt x="27918" y="5191"/>
                      <a:pt x="28090" y="5222"/>
                    </a:cubicBezTo>
                    <a:lnTo>
                      <a:pt x="28090" y="5222"/>
                    </a:lnTo>
                    <a:lnTo>
                      <a:pt x="28183" y="5222"/>
                    </a:lnTo>
                    <a:lnTo>
                      <a:pt x="28183" y="5222"/>
                    </a:lnTo>
                    <a:cubicBezTo>
                      <a:pt x="28355" y="5222"/>
                      <a:pt x="28511" y="5316"/>
                      <a:pt x="28682" y="5362"/>
                    </a:cubicBezTo>
                    <a:lnTo>
                      <a:pt x="28511" y="5362"/>
                    </a:lnTo>
                    <a:lnTo>
                      <a:pt x="28667" y="5362"/>
                    </a:lnTo>
                    <a:lnTo>
                      <a:pt x="28573" y="5362"/>
                    </a:lnTo>
                    <a:cubicBezTo>
                      <a:pt x="28667" y="5362"/>
                      <a:pt x="28464" y="5362"/>
                      <a:pt x="28573" y="5362"/>
                    </a:cubicBezTo>
                    <a:lnTo>
                      <a:pt x="28573" y="5362"/>
                    </a:lnTo>
                    <a:cubicBezTo>
                      <a:pt x="28854" y="5440"/>
                      <a:pt x="29477" y="5627"/>
                      <a:pt x="28869" y="5362"/>
                    </a:cubicBezTo>
                    <a:lnTo>
                      <a:pt x="28869" y="5362"/>
                    </a:lnTo>
                    <a:lnTo>
                      <a:pt x="28776" y="5362"/>
                    </a:lnTo>
                    <a:lnTo>
                      <a:pt x="28776" y="5362"/>
                    </a:lnTo>
                    <a:lnTo>
                      <a:pt x="28776" y="5362"/>
                    </a:lnTo>
                    <a:lnTo>
                      <a:pt x="28776" y="5362"/>
                    </a:lnTo>
                    <a:lnTo>
                      <a:pt x="28776" y="5362"/>
                    </a:lnTo>
                    <a:lnTo>
                      <a:pt x="29306" y="5487"/>
                    </a:lnTo>
                    <a:lnTo>
                      <a:pt x="29087" y="5487"/>
                    </a:lnTo>
                    <a:lnTo>
                      <a:pt x="29384" y="5487"/>
                    </a:lnTo>
                    <a:lnTo>
                      <a:pt x="29617" y="5487"/>
                    </a:lnTo>
                    <a:lnTo>
                      <a:pt x="29617" y="5487"/>
                    </a:lnTo>
                    <a:cubicBezTo>
                      <a:pt x="29415" y="5487"/>
                      <a:pt x="29617" y="5487"/>
                      <a:pt x="29742" y="5487"/>
                    </a:cubicBezTo>
                    <a:lnTo>
                      <a:pt x="29742" y="5487"/>
                    </a:lnTo>
                    <a:lnTo>
                      <a:pt x="29742" y="5487"/>
                    </a:lnTo>
                    <a:cubicBezTo>
                      <a:pt x="30128" y="5587"/>
                      <a:pt x="30504" y="5722"/>
                      <a:pt x="30864" y="5892"/>
                    </a:cubicBezTo>
                    <a:cubicBezTo>
                      <a:pt x="30864" y="5892"/>
                      <a:pt x="30864" y="5892"/>
                      <a:pt x="30864" y="5892"/>
                    </a:cubicBezTo>
                    <a:cubicBezTo>
                      <a:pt x="30864" y="5892"/>
                      <a:pt x="31270" y="6048"/>
                      <a:pt x="31441" y="6142"/>
                    </a:cubicBezTo>
                    <a:lnTo>
                      <a:pt x="31441" y="6142"/>
                    </a:lnTo>
                    <a:lnTo>
                      <a:pt x="32189" y="6500"/>
                    </a:lnTo>
                    <a:cubicBezTo>
                      <a:pt x="31956" y="6376"/>
                      <a:pt x="31722" y="6235"/>
                      <a:pt x="31457" y="6111"/>
                    </a:cubicBezTo>
                    <a:lnTo>
                      <a:pt x="31457" y="6111"/>
                    </a:lnTo>
                    <a:lnTo>
                      <a:pt x="31176" y="5986"/>
                    </a:lnTo>
                    <a:lnTo>
                      <a:pt x="31301" y="5986"/>
                    </a:lnTo>
                    <a:cubicBezTo>
                      <a:pt x="31301" y="5986"/>
                      <a:pt x="30896" y="5846"/>
                      <a:pt x="31083" y="5892"/>
                    </a:cubicBezTo>
                    <a:lnTo>
                      <a:pt x="30958" y="5892"/>
                    </a:lnTo>
                    <a:lnTo>
                      <a:pt x="31239" y="5986"/>
                    </a:lnTo>
                    <a:cubicBezTo>
                      <a:pt x="31152" y="5934"/>
                      <a:pt x="31057" y="5897"/>
                      <a:pt x="30958" y="5877"/>
                    </a:cubicBezTo>
                    <a:cubicBezTo>
                      <a:pt x="31116" y="5914"/>
                      <a:pt x="31273" y="5961"/>
                      <a:pt x="31426" y="6017"/>
                    </a:cubicBezTo>
                    <a:lnTo>
                      <a:pt x="31285" y="6017"/>
                    </a:lnTo>
                    <a:lnTo>
                      <a:pt x="31285" y="6017"/>
                    </a:lnTo>
                    <a:lnTo>
                      <a:pt x="30584" y="4380"/>
                    </a:lnTo>
                    <a:cubicBezTo>
                      <a:pt x="38732" y="7070"/>
                      <a:pt x="44371" y="14514"/>
                      <a:pt x="44753" y="23086"/>
                    </a:cubicBezTo>
                    <a:cubicBezTo>
                      <a:pt x="44742" y="23396"/>
                      <a:pt x="44700" y="23704"/>
                      <a:pt x="44629" y="24006"/>
                    </a:cubicBezTo>
                    <a:cubicBezTo>
                      <a:pt x="44691" y="23912"/>
                      <a:pt x="44613" y="24084"/>
                      <a:pt x="44613" y="241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0" name="Google Shape;220;p25"/>
              <p:cNvSpPr/>
              <p:nvPr/>
            </p:nvSpPr>
            <p:spPr>
              <a:xfrm rot="-5400000">
                <a:off x="10654635" y="7242900"/>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1" name="Google Shape;221;p25"/>
              <p:cNvSpPr/>
              <p:nvPr/>
            </p:nvSpPr>
            <p:spPr>
              <a:xfrm rot="-5400000">
                <a:off x="10647776" y="7212394"/>
                <a:ext cx="41027" cy="46516"/>
              </a:xfrm>
              <a:custGeom>
                <a:avLst/>
                <a:gdLst/>
                <a:ahLst/>
                <a:cxnLst/>
                <a:rect l="l" t="t" r="r" b="b"/>
                <a:pathLst>
                  <a:path w="41027" h="46516" extrusionOk="0">
                    <a:moveTo>
                      <a:pt x="36554" y="3664"/>
                    </a:moveTo>
                    <a:cubicBezTo>
                      <a:pt x="39537" y="6127"/>
                      <a:pt x="41028" y="10206"/>
                      <a:pt x="41028" y="15901"/>
                    </a:cubicBezTo>
                    <a:lnTo>
                      <a:pt x="41028" y="46517"/>
                    </a:lnTo>
                    <a:lnTo>
                      <a:pt x="28854" y="46517"/>
                    </a:lnTo>
                    <a:lnTo>
                      <a:pt x="28854" y="18863"/>
                    </a:lnTo>
                    <a:cubicBezTo>
                      <a:pt x="28943" y="16981"/>
                      <a:pt x="28618" y="15103"/>
                      <a:pt x="27903" y="13360"/>
                    </a:cubicBezTo>
                    <a:cubicBezTo>
                      <a:pt x="26734" y="11038"/>
                      <a:pt x="24536" y="9869"/>
                      <a:pt x="21278" y="9869"/>
                    </a:cubicBezTo>
                    <a:cubicBezTo>
                      <a:pt x="17705" y="9597"/>
                      <a:pt x="14368" y="11672"/>
                      <a:pt x="13032" y="14997"/>
                    </a:cubicBezTo>
                    <a:cubicBezTo>
                      <a:pt x="12195" y="17206"/>
                      <a:pt x="11803" y="19558"/>
                      <a:pt x="11878" y="21918"/>
                    </a:cubicBezTo>
                    <a:lnTo>
                      <a:pt x="11878" y="46517"/>
                    </a:lnTo>
                    <a:lnTo>
                      <a:pt x="0" y="46517"/>
                    </a:lnTo>
                    <a:lnTo>
                      <a:pt x="0" y="1155"/>
                    </a:lnTo>
                    <a:lnTo>
                      <a:pt x="11504" y="1155"/>
                    </a:lnTo>
                    <a:lnTo>
                      <a:pt x="11504" y="7811"/>
                    </a:lnTo>
                    <a:cubicBezTo>
                      <a:pt x="12650" y="5897"/>
                      <a:pt x="14110" y="4190"/>
                      <a:pt x="15822" y="2760"/>
                    </a:cubicBezTo>
                    <a:cubicBezTo>
                      <a:pt x="18522" y="851"/>
                      <a:pt x="21777" y="-114"/>
                      <a:pt x="25081" y="17"/>
                    </a:cubicBezTo>
                    <a:cubicBezTo>
                      <a:pt x="29217" y="-165"/>
                      <a:pt x="33283" y="1128"/>
                      <a:pt x="36554"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2" name="Google Shape;222;p25"/>
              <p:cNvSpPr/>
              <p:nvPr/>
            </p:nvSpPr>
            <p:spPr>
              <a:xfrm rot="-5400000">
                <a:off x="10647372" y="7164586"/>
                <a:ext cx="26265" cy="62088"/>
              </a:xfrm>
              <a:custGeom>
                <a:avLst/>
                <a:gdLst/>
                <a:ahLst/>
                <a:cxnLst/>
                <a:rect l="l" t="t" r="r" b="b"/>
                <a:pathLst>
                  <a:path w="26265" h="62088" extrusionOk="0">
                    <a:moveTo>
                      <a:pt x="23476" y="0"/>
                    </a:moveTo>
                    <a:lnTo>
                      <a:pt x="25970" y="187"/>
                    </a:lnTo>
                    <a:lnTo>
                      <a:pt x="25970" y="9930"/>
                    </a:lnTo>
                    <a:cubicBezTo>
                      <a:pt x="24857" y="9809"/>
                      <a:pt x="23738" y="9746"/>
                      <a:pt x="22618" y="9743"/>
                    </a:cubicBezTo>
                    <a:cubicBezTo>
                      <a:pt x="21432" y="9564"/>
                      <a:pt x="20229" y="9943"/>
                      <a:pt x="19360" y="10771"/>
                    </a:cubicBezTo>
                    <a:cubicBezTo>
                      <a:pt x="18789" y="11459"/>
                      <a:pt x="18475" y="12325"/>
                      <a:pt x="18472" y="13219"/>
                    </a:cubicBezTo>
                    <a:lnTo>
                      <a:pt x="18472" y="17054"/>
                    </a:lnTo>
                    <a:lnTo>
                      <a:pt x="26266" y="17054"/>
                    </a:lnTo>
                    <a:lnTo>
                      <a:pt x="26266" y="25440"/>
                    </a:lnTo>
                    <a:lnTo>
                      <a:pt x="18472" y="25440"/>
                    </a:lnTo>
                    <a:lnTo>
                      <a:pt x="18472" y="62088"/>
                    </a:lnTo>
                    <a:lnTo>
                      <a:pt x="6672" y="62088"/>
                    </a:lnTo>
                    <a:lnTo>
                      <a:pt x="6672" y="25440"/>
                    </a:lnTo>
                    <a:lnTo>
                      <a:pt x="0" y="25440"/>
                    </a:lnTo>
                    <a:lnTo>
                      <a:pt x="0" y="17054"/>
                    </a:lnTo>
                    <a:lnTo>
                      <a:pt x="6500" y="17054"/>
                    </a:lnTo>
                    <a:lnTo>
                      <a:pt x="6500" y="14139"/>
                    </a:lnTo>
                    <a:cubicBezTo>
                      <a:pt x="6500" y="9275"/>
                      <a:pt x="7321" y="5924"/>
                      <a:pt x="8963" y="4084"/>
                    </a:cubicBezTo>
                    <a:cubicBezTo>
                      <a:pt x="10693" y="1356"/>
                      <a:pt x="14840" y="0"/>
                      <a:pt x="21434" y="0"/>
                    </a:cubicBezTo>
                    <a:cubicBezTo>
                      <a:pt x="22182" y="0"/>
                      <a:pt x="22868" y="0"/>
                      <a:pt x="2347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3" name="Google Shape;223;p25"/>
              <p:cNvSpPr/>
              <p:nvPr/>
            </p:nvSpPr>
            <p:spPr>
              <a:xfrm rot="-5400000">
                <a:off x="10646133" y="6877843"/>
                <a:ext cx="44501" cy="46328"/>
              </a:xfrm>
              <a:custGeom>
                <a:avLst/>
                <a:gdLst/>
                <a:ahLst/>
                <a:cxnLst/>
                <a:rect l="l" t="t" r="r" b="b"/>
                <a:pathLst>
                  <a:path w="44501" h="46328" extrusionOk="0">
                    <a:moveTo>
                      <a:pt x="38977" y="39516"/>
                    </a:moveTo>
                    <a:cubicBezTo>
                      <a:pt x="35309" y="44047"/>
                      <a:pt x="29733" y="46318"/>
                      <a:pt x="22251" y="46328"/>
                    </a:cubicBezTo>
                    <a:cubicBezTo>
                      <a:pt x="14769" y="46339"/>
                      <a:pt x="9188" y="44068"/>
                      <a:pt x="5510" y="39516"/>
                    </a:cubicBezTo>
                    <a:cubicBezTo>
                      <a:pt x="1815" y="34897"/>
                      <a:pt x="-132" y="29124"/>
                      <a:pt x="7" y="23211"/>
                    </a:cubicBezTo>
                    <a:cubicBezTo>
                      <a:pt x="-118" y="17296"/>
                      <a:pt x="1829" y="11523"/>
                      <a:pt x="5510" y="6890"/>
                    </a:cubicBezTo>
                    <a:cubicBezTo>
                      <a:pt x="9188" y="2286"/>
                      <a:pt x="14769" y="-10"/>
                      <a:pt x="22251" y="0"/>
                    </a:cubicBezTo>
                    <a:cubicBezTo>
                      <a:pt x="29733" y="10"/>
                      <a:pt x="35309" y="2307"/>
                      <a:pt x="38977" y="6890"/>
                    </a:cubicBezTo>
                    <a:cubicBezTo>
                      <a:pt x="42662" y="11521"/>
                      <a:pt x="44614" y="17294"/>
                      <a:pt x="44495" y="23211"/>
                    </a:cubicBezTo>
                    <a:cubicBezTo>
                      <a:pt x="44629" y="29126"/>
                      <a:pt x="42675" y="34898"/>
                      <a:pt x="38977" y="39516"/>
                    </a:cubicBezTo>
                    <a:close/>
                    <a:moveTo>
                      <a:pt x="29874" y="33281"/>
                    </a:moveTo>
                    <a:cubicBezTo>
                      <a:pt x="31833" y="30303"/>
                      <a:pt x="32775" y="26769"/>
                      <a:pt x="32555" y="23211"/>
                    </a:cubicBezTo>
                    <a:cubicBezTo>
                      <a:pt x="32782" y="19652"/>
                      <a:pt x="31841" y="16116"/>
                      <a:pt x="29874" y="13141"/>
                    </a:cubicBezTo>
                    <a:cubicBezTo>
                      <a:pt x="26221" y="8901"/>
                      <a:pt x="19824" y="8424"/>
                      <a:pt x="15584" y="12076"/>
                    </a:cubicBezTo>
                    <a:cubicBezTo>
                      <a:pt x="15204" y="12404"/>
                      <a:pt x="14847" y="12760"/>
                      <a:pt x="14519" y="13141"/>
                    </a:cubicBezTo>
                    <a:cubicBezTo>
                      <a:pt x="12548" y="16114"/>
                      <a:pt x="11600" y="19650"/>
                      <a:pt x="11823" y="23211"/>
                    </a:cubicBezTo>
                    <a:cubicBezTo>
                      <a:pt x="11600" y="26782"/>
                      <a:pt x="12546" y="30328"/>
                      <a:pt x="14519" y="33312"/>
                    </a:cubicBezTo>
                    <a:cubicBezTo>
                      <a:pt x="18145" y="37552"/>
                      <a:pt x="24521" y="38050"/>
                      <a:pt x="28761" y="34425"/>
                    </a:cubicBezTo>
                    <a:cubicBezTo>
                      <a:pt x="29160" y="34083"/>
                      <a:pt x="29532" y="33711"/>
                      <a:pt x="29874" y="333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5"/>
              <p:cNvSpPr/>
              <p:nvPr/>
            </p:nvSpPr>
            <p:spPr>
              <a:xfrm rot="-5400000">
                <a:off x="10635737" y="7067825"/>
                <a:ext cx="65151" cy="46470"/>
              </a:xfrm>
              <a:custGeom>
                <a:avLst/>
                <a:gdLst/>
                <a:ahLst/>
                <a:cxnLst/>
                <a:rect l="l" t="t" r="r" b="b"/>
                <a:pathLst>
                  <a:path w="65151" h="46470" extrusionOk="0">
                    <a:moveTo>
                      <a:pt x="56850" y="1186"/>
                    </a:moveTo>
                    <a:cubicBezTo>
                      <a:pt x="58932" y="2071"/>
                      <a:pt x="60753" y="3478"/>
                      <a:pt x="62134" y="5271"/>
                    </a:cubicBezTo>
                    <a:cubicBezTo>
                      <a:pt x="63468" y="6974"/>
                      <a:pt x="64359" y="8983"/>
                      <a:pt x="64722" y="11116"/>
                    </a:cubicBezTo>
                    <a:cubicBezTo>
                      <a:pt x="65051" y="13335"/>
                      <a:pt x="65191" y="15577"/>
                      <a:pt x="65143" y="17819"/>
                    </a:cubicBezTo>
                    <a:lnTo>
                      <a:pt x="65143" y="46470"/>
                    </a:lnTo>
                    <a:lnTo>
                      <a:pt x="52953" y="46470"/>
                    </a:lnTo>
                    <a:lnTo>
                      <a:pt x="52953" y="17523"/>
                    </a:lnTo>
                    <a:cubicBezTo>
                      <a:pt x="53012" y="16064"/>
                      <a:pt x="52728" y="14612"/>
                      <a:pt x="52127" y="13283"/>
                    </a:cubicBezTo>
                    <a:cubicBezTo>
                      <a:pt x="50992" y="11152"/>
                      <a:pt x="48682" y="9920"/>
                      <a:pt x="46281" y="10165"/>
                    </a:cubicBezTo>
                    <a:cubicBezTo>
                      <a:pt x="43382" y="9944"/>
                      <a:pt x="40660" y="11583"/>
                      <a:pt x="39500" y="14249"/>
                    </a:cubicBezTo>
                    <a:cubicBezTo>
                      <a:pt x="38811" y="15902"/>
                      <a:pt x="38482" y="17682"/>
                      <a:pt x="38534" y="19471"/>
                    </a:cubicBezTo>
                    <a:lnTo>
                      <a:pt x="38534" y="46470"/>
                    </a:lnTo>
                    <a:lnTo>
                      <a:pt x="26562" y="46470"/>
                    </a:lnTo>
                    <a:lnTo>
                      <a:pt x="26562" y="19409"/>
                    </a:lnTo>
                    <a:cubicBezTo>
                      <a:pt x="26671" y="17415"/>
                      <a:pt x="26391" y="15419"/>
                      <a:pt x="25736" y="13532"/>
                    </a:cubicBezTo>
                    <a:cubicBezTo>
                      <a:pt x="24678" y="11295"/>
                      <a:pt x="22321" y="9970"/>
                      <a:pt x="19859" y="10228"/>
                    </a:cubicBezTo>
                    <a:cubicBezTo>
                      <a:pt x="16461" y="10228"/>
                      <a:pt x="14180" y="11329"/>
                      <a:pt x="13016" y="13532"/>
                    </a:cubicBezTo>
                    <a:cubicBezTo>
                      <a:pt x="12276" y="15295"/>
                      <a:pt x="11945" y="17204"/>
                      <a:pt x="12050" y="19113"/>
                    </a:cubicBezTo>
                    <a:lnTo>
                      <a:pt x="12050" y="46470"/>
                    </a:lnTo>
                    <a:lnTo>
                      <a:pt x="0" y="46470"/>
                    </a:lnTo>
                    <a:lnTo>
                      <a:pt x="0" y="1108"/>
                    </a:lnTo>
                    <a:lnTo>
                      <a:pt x="11551" y="1108"/>
                    </a:lnTo>
                    <a:lnTo>
                      <a:pt x="11551" y="7765"/>
                    </a:lnTo>
                    <a:cubicBezTo>
                      <a:pt x="12642" y="5853"/>
                      <a:pt x="14056" y="4144"/>
                      <a:pt x="15728" y="2714"/>
                    </a:cubicBezTo>
                    <a:cubicBezTo>
                      <a:pt x="20982" y="-698"/>
                      <a:pt x="27714" y="-843"/>
                      <a:pt x="33109" y="2340"/>
                    </a:cubicBezTo>
                    <a:cubicBezTo>
                      <a:pt x="34832" y="3792"/>
                      <a:pt x="36157" y="5659"/>
                      <a:pt x="36959" y="7765"/>
                    </a:cubicBezTo>
                    <a:cubicBezTo>
                      <a:pt x="38303" y="5303"/>
                      <a:pt x="40306" y="3263"/>
                      <a:pt x="42743" y="1872"/>
                    </a:cubicBezTo>
                    <a:cubicBezTo>
                      <a:pt x="45282" y="604"/>
                      <a:pt x="48088" y="-38"/>
                      <a:pt x="50926" y="2"/>
                    </a:cubicBezTo>
                    <a:cubicBezTo>
                      <a:pt x="52959" y="13"/>
                      <a:pt x="54970" y="415"/>
                      <a:pt x="56850" y="11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5" name="Google Shape;225;p25"/>
              <p:cNvSpPr/>
              <p:nvPr/>
            </p:nvSpPr>
            <p:spPr>
              <a:xfrm rot="-5400000">
                <a:off x="10654635" y="7010498"/>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6" name="Google Shape;226;p25"/>
              <p:cNvSpPr/>
              <p:nvPr/>
            </p:nvSpPr>
            <p:spPr>
              <a:xfrm rot="-5400000">
                <a:off x="10647776" y="6979991"/>
                <a:ext cx="41027" cy="46516"/>
              </a:xfrm>
              <a:custGeom>
                <a:avLst/>
                <a:gdLst/>
                <a:ahLst/>
                <a:cxnLst/>
                <a:rect l="l" t="t" r="r" b="b"/>
                <a:pathLst>
                  <a:path w="41027" h="46516" extrusionOk="0">
                    <a:moveTo>
                      <a:pt x="36570" y="3664"/>
                    </a:moveTo>
                    <a:cubicBezTo>
                      <a:pt x="39531" y="6127"/>
                      <a:pt x="41028" y="10211"/>
                      <a:pt x="41028" y="15901"/>
                    </a:cubicBezTo>
                    <a:lnTo>
                      <a:pt x="41028" y="46517"/>
                    </a:lnTo>
                    <a:lnTo>
                      <a:pt x="28854" y="46517"/>
                    </a:lnTo>
                    <a:lnTo>
                      <a:pt x="28854" y="18863"/>
                    </a:lnTo>
                    <a:cubicBezTo>
                      <a:pt x="28950" y="16981"/>
                      <a:pt x="28626" y="15101"/>
                      <a:pt x="27903" y="13360"/>
                    </a:cubicBezTo>
                    <a:cubicBezTo>
                      <a:pt x="26734" y="11038"/>
                      <a:pt x="24536" y="9869"/>
                      <a:pt x="21278" y="9869"/>
                    </a:cubicBezTo>
                    <a:cubicBezTo>
                      <a:pt x="17707" y="9588"/>
                      <a:pt x="14369" y="11668"/>
                      <a:pt x="13047" y="14997"/>
                    </a:cubicBezTo>
                    <a:cubicBezTo>
                      <a:pt x="12196" y="17202"/>
                      <a:pt x="11799" y="19556"/>
                      <a:pt x="11878" y="21918"/>
                    </a:cubicBezTo>
                    <a:lnTo>
                      <a:pt x="11878" y="46517"/>
                    </a:lnTo>
                    <a:lnTo>
                      <a:pt x="0" y="46517"/>
                    </a:lnTo>
                    <a:lnTo>
                      <a:pt x="0" y="1155"/>
                    </a:lnTo>
                    <a:lnTo>
                      <a:pt x="11504" y="1155"/>
                    </a:lnTo>
                    <a:lnTo>
                      <a:pt x="11504" y="7811"/>
                    </a:lnTo>
                    <a:cubicBezTo>
                      <a:pt x="12656" y="5901"/>
                      <a:pt x="14115" y="4195"/>
                      <a:pt x="15822" y="2760"/>
                    </a:cubicBezTo>
                    <a:cubicBezTo>
                      <a:pt x="18522" y="851"/>
                      <a:pt x="21777" y="-114"/>
                      <a:pt x="25081" y="17"/>
                    </a:cubicBezTo>
                    <a:cubicBezTo>
                      <a:pt x="29221" y="-164"/>
                      <a:pt x="33292" y="1128"/>
                      <a:pt x="36570"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7" name="Google Shape;227;p25"/>
              <p:cNvSpPr/>
              <p:nvPr/>
            </p:nvSpPr>
            <p:spPr>
              <a:xfrm rot="-5400000">
                <a:off x="10646435" y="6930030"/>
                <a:ext cx="43636" cy="46747"/>
              </a:xfrm>
              <a:custGeom>
                <a:avLst/>
                <a:gdLst/>
                <a:ahLst/>
                <a:cxnLst/>
                <a:rect l="l" t="t" r="r" b="b"/>
                <a:pathLst>
                  <a:path w="43636" h="46747" extrusionOk="0">
                    <a:moveTo>
                      <a:pt x="32111" y="2070"/>
                    </a:moveTo>
                    <a:cubicBezTo>
                      <a:pt x="35215" y="3467"/>
                      <a:pt x="37854" y="5723"/>
                      <a:pt x="39718" y="8570"/>
                    </a:cubicBezTo>
                    <a:cubicBezTo>
                      <a:pt x="41567" y="11297"/>
                      <a:pt x="42768" y="14411"/>
                      <a:pt x="43226" y="17674"/>
                    </a:cubicBezTo>
                    <a:cubicBezTo>
                      <a:pt x="43580" y="20569"/>
                      <a:pt x="43706" y="23488"/>
                      <a:pt x="43600" y="26403"/>
                    </a:cubicBezTo>
                    <a:lnTo>
                      <a:pt x="11535" y="26403"/>
                    </a:lnTo>
                    <a:cubicBezTo>
                      <a:pt x="11707" y="30815"/>
                      <a:pt x="13250" y="33917"/>
                      <a:pt x="16134" y="35756"/>
                    </a:cubicBezTo>
                    <a:cubicBezTo>
                      <a:pt x="18045" y="36908"/>
                      <a:pt x="20247" y="37487"/>
                      <a:pt x="22478" y="37424"/>
                    </a:cubicBezTo>
                    <a:cubicBezTo>
                      <a:pt x="24782" y="37530"/>
                      <a:pt x="27047" y="36812"/>
                      <a:pt x="28869" y="35398"/>
                    </a:cubicBezTo>
                    <a:cubicBezTo>
                      <a:pt x="29850" y="34559"/>
                      <a:pt x="30651" y="33530"/>
                      <a:pt x="31223" y="32374"/>
                    </a:cubicBezTo>
                    <a:lnTo>
                      <a:pt x="43023" y="32374"/>
                    </a:lnTo>
                    <a:cubicBezTo>
                      <a:pt x="42488" y="35413"/>
                      <a:pt x="40992" y="38200"/>
                      <a:pt x="38752" y="40324"/>
                    </a:cubicBezTo>
                    <a:cubicBezTo>
                      <a:pt x="34808" y="44611"/>
                      <a:pt x="29306" y="46746"/>
                      <a:pt x="22197" y="46746"/>
                    </a:cubicBezTo>
                    <a:cubicBezTo>
                      <a:pt x="16558" y="46814"/>
                      <a:pt x="11074" y="44900"/>
                      <a:pt x="6703" y="41337"/>
                    </a:cubicBezTo>
                    <a:cubicBezTo>
                      <a:pt x="2234" y="37721"/>
                      <a:pt x="0" y="31849"/>
                      <a:pt x="0" y="23722"/>
                    </a:cubicBezTo>
                    <a:cubicBezTo>
                      <a:pt x="0" y="16105"/>
                      <a:pt x="2022" y="10259"/>
                      <a:pt x="6064" y="6185"/>
                    </a:cubicBezTo>
                    <a:cubicBezTo>
                      <a:pt x="10212" y="2046"/>
                      <a:pt x="15889" y="-189"/>
                      <a:pt x="21745" y="13"/>
                    </a:cubicBezTo>
                    <a:cubicBezTo>
                      <a:pt x="25307" y="-48"/>
                      <a:pt x="28843" y="654"/>
                      <a:pt x="32111" y="2070"/>
                    </a:cubicBezTo>
                    <a:close/>
                    <a:moveTo>
                      <a:pt x="14965" y="12000"/>
                    </a:moveTo>
                    <a:cubicBezTo>
                      <a:pt x="13208" y="13893"/>
                      <a:pt x="12115" y="16306"/>
                      <a:pt x="11847" y="18874"/>
                    </a:cubicBezTo>
                    <a:lnTo>
                      <a:pt x="31659" y="18874"/>
                    </a:lnTo>
                    <a:cubicBezTo>
                      <a:pt x="31622" y="16226"/>
                      <a:pt x="30493" y="13711"/>
                      <a:pt x="28542" y="11922"/>
                    </a:cubicBezTo>
                    <a:cubicBezTo>
                      <a:pt x="26648" y="10316"/>
                      <a:pt x="24229" y="9462"/>
                      <a:pt x="21745" y="9521"/>
                    </a:cubicBezTo>
                    <a:cubicBezTo>
                      <a:pt x="19240" y="9381"/>
                      <a:pt x="16788" y="10278"/>
                      <a:pt x="14965" y="120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28" name="Google Shape;228;p25"/>
            <p:cNvSpPr txBox="1"/>
            <p:nvPr/>
          </p:nvSpPr>
          <p:spPr>
            <a:xfrm rot="-5400000">
              <a:off x="9874832" y="6107266"/>
              <a:ext cx="1384995" cy="97271"/>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IN" sz="702" b="0" i="0" u="none" strike="noStrike" cap="none">
                  <a:solidFill>
                    <a:schemeClr val="lt2"/>
                  </a:solidFill>
                  <a:latin typeface="Calibri"/>
                  <a:ea typeface="Calibri"/>
                  <a:cs typeface="Calibri"/>
                  <a:sym typeface="Calibri"/>
                </a:rPr>
                <a:t>Copyright © 2022. All rights reserved.</a:t>
              </a:r>
              <a:endParaRPr/>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7_Custom Layout">
  <p:cSld name="7_Custom Layout">
    <p:spTree>
      <p:nvGrpSpPr>
        <p:cNvPr id="1" name="Shape 229"/>
        <p:cNvGrpSpPr/>
        <p:nvPr/>
      </p:nvGrpSpPr>
      <p:grpSpPr>
        <a:xfrm>
          <a:off x="0" y="0"/>
          <a:ext cx="0" cy="0"/>
          <a:chOff x="0" y="0"/>
          <a:chExt cx="0" cy="0"/>
        </a:xfrm>
      </p:grpSpPr>
      <p:sp>
        <p:nvSpPr>
          <p:cNvPr id="230" name="Google Shape;230;p26"/>
          <p:cNvSpPr/>
          <p:nvPr/>
        </p:nvSpPr>
        <p:spPr>
          <a:xfrm>
            <a:off x="5345910" y="-1"/>
            <a:ext cx="5348133" cy="7559676"/>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231" name="Google Shape;231;p26"/>
          <p:cNvSpPr txBox="1">
            <a:spLocks noGrp="1"/>
          </p:cNvSpPr>
          <p:nvPr>
            <p:ph type="sldNum" idx="12"/>
          </p:nvPr>
        </p:nvSpPr>
        <p:spPr>
          <a:xfrm>
            <a:off x="10075683" y="7135906"/>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sp>
        <p:nvSpPr>
          <p:cNvPr id="232" name="Google Shape;232;p26"/>
          <p:cNvSpPr txBox="1">
            <a:spLocks noGrp="1"/>
          </p:cNvSpPr>
          <p:nvPr>
            <p:ph type="ftr" idx="11"/>
          </p:nvPr>
        </p:nvSpPr>
        <p:spPr>
          <a:xfrm>
            <a:off x="483080" y="7158305"/>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3" name="Google Shape;233;p26"/>
          <p:cNvSpPr txBox="1">
            <a:spLocks noGrp="1"/>
          </p:cNvSpPr>
          <p:nvPr>
            <p:ph type="title"/>
          </p:nvPr>
        </p:nvSpPr>
        <p:spPr>
          <a:xfrm>
            <a:off x="483827" y="484188"/>
            <a:ext cx="4735873"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grpSp>
        <p:nvGrpSpPr>
          <p:cNvPr id="234" name="Google Shape;234;p26"/>
          <p:cNvGrpSpPr/>
          <p:nvPr/>
        </p:nvGrpSpPr>
        <p:grpSpPr>
          <a:xfrm>
            <a:off x="10518694" y="5451766"/>
            <a:ext cx="97271" cy="1805187"/>
            <a:chOff x="10518694" y="5474626"/>
            <a:chExt cx="97271" cy="1805187"/>
          </a:xfrm>
        </p:grpSpPr>
        <p:grpSp>
          <p:nvGrpSpPr>
            <p:cNvPr id="235" name="Google Shape;235;p26"/>
            <p:cNvGrpSpPr/>
            <p:nvPr/>
          </p:nvGrpSpPr>
          <p:grpSpPr>
            <a:xfrm>
              <a:off x="10530628" y="6878757"/>
              <a:ext cx="62166" cy="401056"/>
              <a:chOff x="10629461" y="6878757"/>
              <a:chExt cx="62166" cy="401056"/>
            </a:xfrm>
          </p:grpSpPr>
          <p:sp>
            <p:nvSpPr>
              <p:cNvPr id="236" name="Google Shape;236;p26"/>
              <p:cNvSpPr/>
              <p:nvPr/>
            </p:nvSpPr>
            <p:spPr>
              <a:xfrm rot="-5400000">
                <a:off x="10688095" y="7163862"/>
                <a:ext cx="15" cy="1558"/>
              </a:xfrm>
              <a:custGeom>
                <a:avLst/>
                <a:gdLst/>
                <a:ahLst/>
                <a:cxnLst/>
                <a:rect l="l" t="t" r="r" b="b"/>
                <a:pathLst>
                  <a:path w="15" h="1558" extrusionOk="0">
                    <a:moveTo>
                      <a:pt x="0" y="0"/>
                    </a:moveTo>
                    <a:lnTo>
                      <a:pt x="16" y="0"/>
                    </a:lnTo>
                    <a:lnTo>
                      <a:pt x="16" y="0"/>
                    </a:lnTo>
                    <a:lnTo>
                      <a:pt x="0" y="0"/>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7" name="Google Shape;237;p26"/>
              <p:cNvSpPr/>
              <p:nvPr/>
            </p:nvSpPr>
            <p:spPr>
              <a:xfrm rot="-5400000">
                <a:off x="10652401" y="7145302"/>
                <a:ext cx="411" cy="246"/>
              </a:xfrm>
              <a:custGeom>
                <a:avLst/>
                <a:gdLst/>
                <a:ahLst/>
                <a:cxnLst/>
                <a:rect l="l" t="t" r="r" b="b"/>
                <a:pathLst>
                  <a:path w="411" h="246" extrusionOk="0">
                    <a:moveTo>
                      <a:pt x="0" y="0"/>
                    </a:moveTo>
                    <a:cubicBezTo>
                      <a:pt x="234" y="156"/>
                      <a:pt x="452" y="312"/>
                      <a:pt x="405" y="218"/>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8" name="Google Shape;238;p26"/>
              <p:cNvSpPr/>
              <p:nvPr/>
            </p:nvSpPr>
            <p:spPr>
              <a:xfrm rot="-5400000">
                <a:off x="10652556" y="7165151"/>
                <a:ext cx="13" cy="69"/>
              </a:xfrm>
              <a:custGeom>
                <a:avLst/>
                <a:gdLst/>
                <a:ahLst/>
                <a:cxnLst/>
                <a:rect l="l" t="t" r="r" b="b"/>
                <a:pathLst>
                  <a:path w="13" h="69" extrusionOk="0">
                    <a:moveTo>
                      <a:pt x="14" y="35"/>
                    </a:moveTo>
                    <a:cubicBezTo>
                      <a:pt x="14" y="35"/>
                      <a:pt x="14" y="-43"/>
                      <a:pt x="14" y="35"/>
                    </a:cubicBezTo>
                    <a:cubicBezTo>
                      <a:pt x="14" y="113"/>
                      <a:pt x="-17" y="35"/>
                      <a:pt x="14" y="35"/>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9" name="Google Shape;239;p26"/>
              <p:cNvSpPr/>
              <p:nvPr/>
            </p:nvSpPr>
            <p:spPr>
              <a:xfrm rot="-5400000">
                <a:off x="10650495" y="7161416"/>
                <a:ext cx="237" cy="93"/>
              </a:xfrm>
              <a:custGeom>
                <a:avLst/>
                <a:gdLst/>
                <a:ahLst/>
                <a:cxnLst/>
                <a:rect l="l" t="t" r="r" b="b"/>
                <a:pathLst>
                  <a:path w="237" h="93" extrusionOk="0">
                    <a:moveTo>
                      <a:pt x="238" y="0"/>
                    </a:moveTo>
                    <a:lnTo>
                      <a:pt x="50" y="94"/>
                    </a:lnTo>
                    <a:cubicBezTo>
                      <a:pt x="160" y="94"/>
                      <a:pt x="-105" y="94"/>
                      <a:pt x="50" y="9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0" name="Google Shape;240;p26"/>
              <p:cNvSpPr/>
              <p:nvPr/>
            </p:nvSpPr>
            <p:spPr>
              <a:xfrm rot="-5400000">
                <a:off x="10645049" y="7132879"/>
                <a:ext cx="46577" cy="46577"/>
              </a:xfrm>
              <a:custGeom>
                <a:avLst/>
                <a:gdLst/>
                <a:ahLst/>
                <a:cxnLst/>
                <a:rect l="l" t="t" r="r" b="b"/>
                <a:pathLst>
                  <a:path w="46577" h="46577" extrusionOk="0">
                    <a:moveTo>
                      <a:pt x="23289" y="0"/>
                    </a:moveTo>
                    <a:cubicBezTo>
                      <a:pt x="10427" y="0"/>
                      <a:pt x="0" y="10427"/>
                      <a:pt x="0" y="23289"/>
                    </a:cubicBezTo>
                    <a:cubicBezTo>
                      <a:pt x="0" y="36151"/>
                      <a:pt x="10427" y="46578"/>
                      <a:pt x="23289" y="46578"/>
                    </a:cubicBezTo>
                    <a:cubicBezTo>
                      <a:pt x="36151" y="46578"/>
                      <a:pt x="46577" y="36151"/>
                      <a:pt x="46577" y="23289"/>
                    </a:cubicBezTo>
                    <a:cubicBezTo>
                      <a:pt x="46577" y="23273"/>
                      <a:pt x="46577" y="23258"/>
                      <a:pt x="46577" y="23242"/>
                    </a:cubicBezTo>
                    <a:cubicBezTo>
                      <a:pt x="46569" y="10397"/>
                      <a:pt x="36149" y="-9"/>
                      <a:pt x="23304" y="0"/>
                    </a:cubicBezTo>
                    <a:cubicBezTo>
                      <a:pt x="23299" y="0"/>
                      <a:pt x="23294" y="0"/>
                      <a:pt x="23289" y="0"/>
                    </a:cubicBezTo>
                    <a:close/>
                    <a:moveTo>
                      <a:pt x="24473" y="14201"/>
                    </a:moveTo>
                    <a:cubicBezTo>
                      <a:pt x="24380" y="14201"/>
                      <a:pt x="24473" y="14326"/>
                      <a:pt x="24473" y="14372"/>
                    </a:cubicBezTo>
                    <a:cubicBezTo>
                      <a:pt x="24407" y="14358"/>
                      <a:pt x="24337" y="14358"/>
                      <a:pt x="24271" y="14372"/>
                    </a:cubicBezTo>
                    <a:cubicBezTo>
                      <a:pt x="24411" y="14372"/>
                      <a:pt x="24629" y="14559"/>
                      <a:pt x="24442" y="14669"/>
                    </a:cubicBezTo>
                    <a:cubicBezTo>
                      <a:pt x="24255" y="14778"/>
                      <a:pt x="24520" y="14669"/>
                      <a:pt x="24536" y="14669"/>
                    </a:cubicBezTo>
                    <a:cubicBezTo>
                      <a:pt x="24660" y="14388"/>
                      <a:pt x="25034" y="14778"/>
                      <a:pt x="24769" y="14965"/>
                    </a:cubicBezTo>
                    <a:lnTo>
                      <a:pt x="24769" y="14965"/>
                    </a:lnTo>
                    <a:cubicBezTo>
                      <a:pt x="24769" y="14965"/>
                      <a:pt x="24769" y="14965"/>
                      <a:pt x="24769" y="14965"/>
                    </a:cubicBezTo>
                    <a:lnTo>
                      <a:pt x="24769" y="14965"/>
                    </a:lnTo>
                    <a:cubicBezTo>
                      <a:pt x="24769" y="14965"/>
                      <a:pt x="24676" y="14965"/>
                      <a:pt x="24645" y="14965"/>
                    </a:cubicBezTo>
                    <a:cubicBezTo>
                      <a:pt x="24614" y="14965"/>
                      <a:pt x="24645" y="14965"/>
                      <a:pt x="24645" y="15058"/>
                    </a:cubicBezTo>
                    <a:cubicBezTo>
                      <a:pt x="24645" y="15152"/>
                      <a:pt x="24754" y="15058"/>
                      <a:pt x="24645" y="15058"/>
                    </a:cubicBezTo>
                    <a:cubicBezTo>
                      <a:pt x="24536" y="15058"/>
                      <a:pt x="24769" y="15058"/>
                      <a:pt x="24847" y="15058"/>
                    </a:cubicBezTo>
                    <a:cubicBezTo>
                      <a:pt x="24925" y="15058"/>
                      <a:pt x="24754" y="15167"/>
                      <a:pt x="24754" y="15245"/>
                    </a:cubicBezTo>
                    <a:cubicBezTo>
                      <a:pt x="24754" y="15323"/>
                      <a:pt x="24317" y="15370"/>
                      <a:pt x="24271" y="15245"/>
                    </a:cubicBezTo>
                    <a:cubicBezTo>
                      <a:pt x="24224" y="15121"/>
                      <a:pt x="23865" y="15245"/>
                      <a:pt x="23663" y="15339"/>
                    </a:cubicBezTo>
                    <a:cubicBezTo>
                      <a:pt x="23460" y="15432"/>
                      <a:pt x="23663" y="15542"/>
                      <a:pt x="23476" y="15417"/>
                    </a:cubicBezTo>
                    <a:cubicBezTo>
                      <a:pt x="23289" y="15292"/>
                      <a:pt x="23242" y="15417"/>
                      <a:pt x="23195" y="15557"/>
                    </a:cubicBezTo>
                    <a:cubicBezTo>
                      <a:pt x="23148" y="15697"/>
                      <a:pt x="23195" y="15557"/>
                      <a:pt x="23055" y="15557"/>
                    </a:cubicBezTo>
                    <a:cubicBezTo>
                      <a:pt x="23189" y="15454"/>
                      <a:pt x="23315" y="15339"/>
                      <a:pt x="23429" y="15214"/>
                    </a:cubicBezTo>
                    <a:cubicBezTo>
                      <a:pt x="23429" y="15058"/>
                      <a:pt x="23647" y="15214"/>
                      <a:pt x="23772" y="15214"/>
                    </a:cubicBezTo>
                    <a:cubicBezTo>
                      <a:pt x="23897" y="15214"/>
                      <a:pt x="23865" y="15074"/>
                      <a:pt x="23912" y="15012"/>
                    </a:cubicBezTo>
                    <a:cubicBezTo>
                      <a:pt x="23959" y="14949"/>
                      <a:pt x="23678" y="15214"/>
                      <a:pt x="23600" y="15089"/>
                    </a:cubicBezTo>
                    <a:cubicBezTo>
                      <a:pt x="23522" y="14965"/>
                      <a:pt x="23367" y="15089"/>
                      <a:pt x="23507" y="15089"/>
                    </a:cubicBezTo>
                    <a:cubicBezTo>
                      <a:pt x="23647" y="15089"/>
                      <a:pt x="23382" y="15089"/>
                      <a:pt x="23289" y="15089"/>
                    </a:cubicBezTo>
                    <a:lnTo>
                      <a:pt x="23289" y="15089"/>
                    </a:lnTo>
                    <a:cubicBezTo>
                      <a:pt x="23289" y="15089"/>
                      <a:pt x="23289" y="15089"/>
                      <a:pt x="23289" y="15089"/>
                    </a:cubicBezTo>
                    <a:cubicBezTo>
                      <a:pt x="23522" y="15012"/>
                      <a:pt x="23632" y="14949"/>
                      <a:pt x="23600" y="14715"/>
                    </a:cubicBezTo>
                    <a:lnTo>
                      <a:pt x="23444" y="14715"/>
                    </a:lnTo>
                    <a:cubicBezTo>
                      <a:pt x="23554" y="14606"/>
                      <a:pt x="23709" y="14466"/>
                      <a:pt x="23865" y="14575"/>
                    </a:cubicBezTo>
                    <a:cubicBezTo>
                      <a:pt x="23741" y="14419"/>
                      <a:pt x="23865" y="14575"/>
                      <a:pt x="23865" y="14575"/>
                    </a:cubicBezTo>
                    <a:cubicBezTo>
                      <a:pt x="23865" y="14575"/>
                      <a:pt x="23772" y="14372"/>
                      <a:pt x="23865" y="14326"/>
                    </a:cubicBezTo>
                    <a:cubicBezTo>
                      <a:pt x="23959" y="14279"/>
                      <a:pt x="23865" y="14201"/>
                      <a:pt x="23772" y="14326"/>
                    </a:cubicBezTo>
                    <a:lnTo>
                      <a:pt x="23772" y="14326"/>
                    </a:lnTo>
                    <a:cubicBezTo>
                      <a:pt x="23647" y="14326"/>
                      <a:pt x="23772" y="14045"/>
                      <a:pt x="23772" y="14061"/>
                    </a:cubicBezTo>
                    <a:cubicBezTo>
                      <a:pt x="23616" y="14061"/>
                      <a:pt x="23585" y="14170"/>
                      <a:pt x="23444" y="14061"/>
                    </a:cubicBezTo>
                    <a:cubicBezTo>
                      <a:pt x="23304" y="13952"/>
                      <a:pt x="23444" y="14061"/>
                      <a:pt x="23444" y="14154"/>
                    </a:cubicBezTo>
                    <a:cubicBezTo>
                      <a:pt x="23444" y="14248"/>
                      <a:pt x="23289" y="14029"/>
                      <a:pt x="23335" y="14154"/>
                    </a:cubicBezTo>
                    <a:cubicBezTo>
                      <a:pt x="23382" y="14279"/>
                      <a:pt x="23335" y="14061"/>
                      <a:pt x="23335" y="14029"/>
                    </a:cubicBezTo>
                    <a:lnTo>
                      <a:pt x="23335" y="14029"/>
                    </a:lnTo>
                    <a:cubicBezTo>
                      <a:pt x="23335" y="14029"/>
                      <a:pt x="23335" y="13874"/>
                      <a:pt x="23429" y="13827"/>
                    </a:cubicBezTo>
                    <a:cubicBezTo>
                      <a:pt x="23522" y="13780"/>
                      <a:pt x="23335" y="13640"/>
                      <a:pt x="23429" y="13671"/>
                    </a:cubicBezTo>
                    <a:cubicBezTo>
                      <a:pt x="23522" y="13702"/>
                      <a:pt x="23429" y="13671"/>
                      <a:pt x="23429" y="13577"/>
                    </a:cubicBezTo>
                    <a:cubicBezTo>
                      <a:pt x="23429" y="13484"/>
                      <a:pt x="23429" y="13655"/>
                      <a:pt x="23429" y="13687"/>
                    </a:cubicBezTo>
                    <a:lnTo>
                      <a:pt x="23429" y="13687"/>
                    </a:lnTo>
                    <a:cubicBezTo>
                      <a:pt x="23429" y="13687"/>
                      <a:pt x="23429" y="13687"/>
                      <a:pt x="23429" y="13687"/>
                    </a:cubicBezTo>
                    <a:cubicBezTo>
                      <a:pt x="23429" y="13687"/>
                      <a:pt x="23429" y="13687"/>
                      <a:pt x="23429" y="13687"/>
                    </a:cubicBezTo>
                    <a:cubicBezTo>
                      <a:pt x="23425" y="13770"/>
                      <a:pt x="23425" y="13853"/>
                      <a:pt x="23429" y="13936"/>
                    </a:cubicBezTo>
                    <a:cubicBezTo>
                      <a:pt x="23335" y="13936"/>
                      <a:pt x="23429" y="13811"/>
                      <a:pt x="23429" y="13764"/>
                    </a:cubicBezTo>
                    <a:cubicBezTo>
                      <a:pt x="23429" y="13718"/>
                      <a:pt x="23429" y="13484"/>
                      <a:pt x="23522" y="13453"/>
                    </a:cubicBezTo>
                    <a:cubicBezTo>
                      <a:pt x="23616" y="13422"/>
                      <a:pt x="23522" y="13453"/>
                      <a:pt x="23522" y="13453"/>
                    </a:cubicBezTo>
                    <a:cubicBezTo>
                      <a:pt x="23522" y="13453"/>
                      <a:pt x="23413" y="13593"/>
                      <a:pt x="23351" y="13453"/>
                    </a:cubicBezTo>
                    <a:cubicBezTo>
                      <a:pt x="23289" y="13312"/>
                      <a:pt x="23351" y="13453"/>
                      <a:pt x="23351" y="13453"/>
                    </a:cubicBezTo>
                    <a:cubicBezTo>
                      <a:pt x="23351" y="13453"/>
                      <a:pt x="23351" y="13328"/>
                      <a:pt x="23476" y="13375"/>
                    </a:cubicBezTo>
                    <a:cubicBezTo>
                      <a:pt x="23600" y="13422"/>
                      <a:pt x="23476" y="13375"/>
                      <a:pt x="23476" y="13375"/>
                    </a:cubicBezTo>
                    <a:cubicBezTo>
                      <a:pt x="23476" y="13375"/>
                      <a:pt x="23476" y="13375"/>
                      <a:pt x="23476" y="13375"/>
                    </a:cubicBezTo>
                    <a:cubicBezTo>
                      <a:pt x="23476" y="13375"/>
                      <a:pt x="23476" y="13375"/>
                      <a:pt x="23476" y="13375"/>
                    </a:cubicBezTo>
                    <a:cubicBezTo>
                      <a:pt x="23476" y="13375"/>
                      <a:pt x="23476" y="13375"/>
                      <a:pt x="23476" y="13375"/>
                    </a:cubicBezTo>
                    <a:lnTo>
                      <a:pt x="23476" y="13375"/>
                    </a:lnTo>
                    <a:lnTo>
                      <a:pt x="23476" y="13297"/>
                    </a:lnTo>
                    <a:cubicBezTo>
                      <a:pt x="23476" y="13297"/>
                      <a:pt x="23476" y="13297"/>
                      <a:pt x="23476" y="13297"/>
                    </a:cubicBezTo>
                    <a:cubicBezTo>
                      <a:pt x="23476" y="13297"/>
                      <a:pt x="23476" y="13219"/>
                      <a:pt x="23476" y="13172"/>
                    </a:cubicBezTo>
                    <a:lnTo>
                      <a:pt x="23476" y="13172"/>
                    </a:lnTo>
                    <a:cubicBezTo>
                      <a:pt x="23476" y="13172"/>
                      <a:pt x="23476" y="13172"/>
                      <a:pt x="23476" y="13172"/>
                    </a:cubicBezTo>
                    <a:cubicBezTo>
                      <a:pt x="23476" y="13172"/>
                      <a:pt x="23476" y="13172"/>
                      <a:pt x="23569" y="13172"/>
                    </a:cubicBezTo>
                    <a:cubicBezTo>
                      <a:pt x="23574" y="13146"/>
                      <a:pt x="23574" y="13120"/>
                      <a:pt x="23569" y="13094"/>
                    </a:cubicBezTo>
                    <a:cubicBezTo>
                      <a:pt x="23569" y="13094"/>
                      <a:pt x="23678" y="12782"/>
                      <a:pt x="23709" y="12969"/>
                    </a:cubicBezTo>
                    <a:cubicBezTo>
                      <a:pt x="23741" y="13157"/>
                      <a:pt x="23709" y="12969"/>
                      <a:pt x="23709" y="12969"/>
                    </a:cubicBezTo>
                    <a:cubicBezTo>
                      <a:pt x="24084" y="12829"/>
                      <a:pt x="23990" y="12969"/>
                      <a:pt x="23709" y="13188"/>
                    </a:cubicBezTo>
                    <a:lnTo>
                      <a:pt x="23709" y="13188"/>
                    </a:lnTo>
                    <a:cubicBezTo>
                      <a:pt x="23507" y="13375"/>
                      <a:pt x="23928" y="13188"/>
                      <a:pt x="24037" y="13188"/>
                    </a:cubicBezTo>
                    <a:cubicBezTo>
                      <a:pt x="24146" y="13188"/>
                      <a:pt x="24037" y="13640"/>
                      <a:pt x="23834" y="13609"/>
                    </a:cubicBezTo>
                    <a:cubicBezTo>
                      <a:pt x="23632" y="13577"/>
                      <a:pt x="23834" y="13609"/>
                      <a:pt x="23834" y="13609"/>
                    </a:cubicBezTo>
                    <a:cubicBezTo>
                      <a:pt x="23834" y="13609"/>
                      <a:pt x="23694" y="13733"/>
                      <a:pt x="23600" y="13609"/>
                    </a:cubicBezTo>
                    <a:cubicBezTo>
                      <a:pt x="23654" y="13665"/>
                      <a:pt x="23743" y="13666"/>
                      <a:pt x="23799" y="13613"/>
                    </a:cubicBezTo>
                    <a:cubicBezTo>
                      <a:pt x="23800" y="13612"/>
                      <a:pt x="23802" y="13610"/>
                      <a:pt x="23803" y="13609"/>
                    </a:cubicBezTo>
                    <a:cubicBezTo>
                      <a:pt x="24037" y="13702"/>
                      <a:pt x="24052" y="13952"/>
                      <a:pt x="24130" y="14139"/>
                    </a:cubicBezTo>
                    <a:cubicBezTo>
                      <a:pt x="24208" y="14326"/>
                      <a:pt x="24349" y="14107"/>
                      <a:pt x="24473" y="14170"/>
                    </a:cubicBezTo>
                    <a:close/>
                    <a:moveTo>
                      <a:pt x="16461" y="43086"/>
                    </a:moveTo>
                    <a:lnTo>
                      <a:pt x="16461" y="43086"/>
                    </a:lnTo>
                    <a:lnTo>
                      <a:pt x="16461" y="43086"/>
                    </a:lnTo>
                    <a:lnTo>
                      <a:pt x="16461" y="43086"/>
                    </a:lnTo>
                    <a:lnTo>
                      <a:pt x="16539" y="43086"/>
                    </a:lnTo>
                    <a:lnTo>
                      <a:pt x="16539" y="43086"/>
                    </a:lnTo>
                    <a:lnTo>
                      <a:pt x="16321" y="42961"/>
                    </a:lnTo>
                    <a:lnTo>
                      <a:pt x="16321" y="42961"/>
                    </a:lnTo>
                    <a:lnTo>
                      <a:pt x="16321" y="42961"/>
                    </a:lnTo>
                    <a:lnTo>
                      <a:pt x="16399" y="42961"/>
                    </a:lnTo>
                    <a:lnTo>
                      <a:pt x="16399" y="42961"/>
                    </a:lnTo>
                    <a:lnTo>
                      <a:pt x="16399" y="42961"/>
                    </a:lnTo>
                    <a:lnTo>
                      <a:pt x="16149" y="42852"/>
                    </a:lnTo>
                    <a:lnTo>
                      <a:pt x="16149" y="42852"/>
                    </a:lnTo>
                    <a:cubicBezTo>
                      <a:pt x="16149" y="42852"/>
                      <a:pt x="16149" y="42852"/>
                      <a:pt x="16149" y="42852"/>
                    </a:cubicBezTo>
                    <a:cubicBezTo>
                      <a:pt x="16120" y="42838"/>
                      <a:pt x="16085" y="42838"/>
                      <a:pt x="16056" y="42852"/>
                    </a:cubicBezTo>
                    <a:lnTo>
                      <a:pt x="16056" y="42852"/>
                    </a:lnTo>
                    <a:lnTo>
                      <a:pt x="16056" y="42852"/>
                    </a:lnTo>
                    <a:lnTo>
                      <a:pt x="16056" y="42852"/>
                    </a:lnTo>
                    <a:lnTo>
                      <a:pt x="16212" y="42852"/>
                    </a:lnTo>
                    <a:lnTo>
                      <a:pt x="16025" y="42852"/>
                    </a:lnTo>
                    <a:lnTo>
                      <a:pt x="16025" y="42852"/>
                    </a:lnTo>
                    <a:lnTo>
                      <a:pt x="15806" y="42759"/>
                    </a:lnTo>
                    <a:lnTo>
                      <a:pt x="15806" y="42759"/>
                    </a:lnTo>
                    <a:lnTo>
                      <a:pt x="15806" y="42759"/>
                    </a:lnTo>
                    <a:lnTo>
                      <a:pt x="15682" y="42759"/>
                    </a:lnTo>
                    <a:lnTo>
                      <a:pt x="15853" y="42852"/>
                    </a:lnTo>
                    <a:lnTo>
                      <a:pt x="15604" y="42727"/>
                    </a:lnTo>
                    <a:lnTo>
                      <a:pt x="15604" y="42727"/>
                    </a:lnTo>
                    <a:lnTo>
                      <a:pt x="15760" y="42727"/>
                    </a:lnTo>
                    <a:lnTo>
                      <a:pt x="15635" y="42727"/>
                    </a:lnTo>
                    <a:lnTo>
                      <a:pt x="15760" y="42727"/>
                    </a:lnTo>
                    <a:lnTo>
                      <a:pt x="15526" y="42618"/>
                    </a:lnTo>
                    <a:lnTo>
                      <a:pt x="15526" y="42618"/>
                    </a:lnTo>
                    <a:lnTo>
                      <a:pt x="15432" y="42618"/>
                    </a:lnTo>
                    <a:lnTo>
                      <a:pt x="15432" y="42618"/>
                    </a:lnTo>
                    <a:lnTo>
                      <a:pt x="15230" y="42525"/>
                    </a:lnTo>
                    <a:lnTo>
                      <a:pt x="15230" y="42525"/>
                    </a:lnTo>
                    <a:lnTo>
                      <a:pt x="15152" y="42525"/>
                    </a:lnTo>
                    <a:lnTo>
                      <a:pt x="15152" y="42525"/>
                    </a:lnTo>
                    <a:cubicBezTo>
                      <a:pt x="15026" y="42475"/>
                      <a:pt x="14906" y="42412"/>
                      <a:pt x="14793" y="42338"/>
                    </a:cubicBezTo>
                    <a:lnTo>
                      <a:pt x="14793" y="42338"/>
                    </a:lnTo>
                    <a:lnTo>
                      <a:pt x="14637" y="42244"/>
                    </a:lnTo>
                    <a:lnTo>
                      <a:pt x="14778" y="42338"/>
                    </a:lnTo>
                    <a:lnTo>
                      <a:pt x="14466" y="42166"/>
                    </a:lnTo>
                    <a:lnTo>
                      <a:pt x="14466" y="42166"/>
                    </a:lnTo>
                    <a:lnTo>
                      <a:pt x="14372" y="42166"/>
                    </a:lnTo>
                    <a:lnTo>
                      <a:pt x="14372" y="42166"/>
                    </a:lnTo>
                    <a:lnTo>
                      <a:pt x="14216" y="42073"/>
                    </a:lnTo>
                    <a:lnTo>
                      <a:pt x="14216" y="42073"/>
                    </a:lnTo>
                    <a:lnTo>
                      <a:pt x="14216" y="42073"/>
                    </a:lnTo>
                    <a:lnTo>
                      <a:pt x="14216" y="42073"/>
                    </a:lnTo>
                    <a:lnTo>
                      <a:pt x="14076" y="41995"/>
                    </a:lnTo>
                    <a:lnTo>
                      <a:pt x="14076" y="41995"/>
                    </a:lnTo>
                    <a:lnTo>
                      <a:pt x="13920" y="41886"/>
                    </a:lnTo>
                    <a:lnTo>
                      <a:pt x="13920" y="41886"/>
                    </a:lnTo>
                    <a:lnTo>
                      <a:pt x="13795" y="41886"/>
                    </a:lnTo>
                    <a:lnTo>
                      <a:pt x="13795" y="41886"/>
                    </a:lnTo>
                    <a:cubicBezTo>
                      <a:pt x="13760" y="41896"/>
                      <a:pt x="13722" y="41896"/>
                      <a:pt x="13686" y="41886"/>
                    </a:cubicBezTo>
                    <a:lnTo>
                      <a:pt x="13686" y="41886"/>
                    </a:lnTo>
                    <a:lnTo>
                      <a:pt x="13811" y="41964"/>
                    </a:lnTo>
                    <a:lnTo>
                      <a:pt x="13686" y="41886"/>
                    </a:lnTo>
                    <a:lnTo>
                      <a:pt x="13686" y="41886"/>
                    </a:lnTo>
                    <a:lnTo>
                      <a:pt x="13577" y="41886"/>
                    </a:lnTo>
                    <a:lnTo>
                      <a:pt x="13577" y="41886"/>
                    </a:lnTo>
                    <a:lnTo>
                      <a:pt x="13453" y="41808"/>
                    </a:lnTo>
                    <a:cubicBezTo>
                      <a:pt x="13513" y="41833"/>
                      <a:pt x="13570" y="41864"/>
                      <a:pt x="13624" y="41901"/>
                    </a:cubicBezTo>
                    <a:cubicBezTo>
                      <a:pt x="13624" y="41901"/>
                      <a:pt x="13749" y="41995"/>
                      <a:pt x="13780" y="41995"/>
                    </a:cubicBezTo>
                    <a:lnTo>
                      <a:pt x="13359" y="41699"/>
                    </a:lnTo>
                    <a:lnTo>
                      <a:pt x="13359" y="41699"/>
                    </a:lnTo>
                    <a:cubicBezTo>
                      <a:pt x="13110" y="41496"/>
                      <a:pt x="12829" y="41324"/>
                      <a:pt x="12595" y="41122"/>
                    </a:cubicBezTo>
                    <a:lnTo>
                      <a:pt x="12689" y="41122"/>
                    </a:lnTo>
                    <a:lnTo>
                      <a:pt x="12548" y="41013"/>
                    </a:lnTo>
                    <a:lnTo>
                      <a:pt x="12548" y="41013"/>
                    </a:lnTo>
                    <a:cubicBezTo>
                      <a:pt x="12548" y="41013"/>
                      <a:pt x="12548" y="41013"/>
                      <a:pt x="12455" y="41013"/>
                    </a:cubicBezTo>
                    <a:lnTo>
                      <a:pt x="12455" y="41013"/>
                    </a:lnTo>
                    <a:lnTo>
                      <a:pt x="12455" y="41013"/>
                    </a:lnTo>
                    <a:lnTo>
                      <a:pt x="12455" y="41013"/>
                    </a:lnTo>
                    <a:cubicBezTo>
                      <a:pt x="12251" y="40890"/>
                      <a:pt x="12063" y="40743"/>
                      <a:pt x="11894" y="40576"/>
                    </a:cubicBezTo>
                    <a:lnTo>
                      <a:pt x="11894" y="40576"/>
                    </a:lnTo>
                    <a:cubicBezTo>
                      <a:pt x="11675" y="40342"/>
                      <a:pt x="11410" y="40171"/>
                      <a:pt x="11177" y="39953"/>
                    </a:cubicBezTo>
                    <a:cubicBezTo>
                      <a:pt x="11177" y="39953"/>
                      <a:pt x="11177" y="39953"/>
                      <a:pt x="11177" y="39953"/>
                    </a:cubicBezTo>
                    <a:cubicBezTo>
                      <a:pt x="10229" y="38961"/>
                      <a:pt x="9393" y="37869"/>
                      <a:pt x="8683" y="36695"/>
                    </a:cubicBezTo>
                    <a:lnTo>
                      <a:pt x="8683" y="36695"/>
                    </a:lnTo>
                    <a:cubicBezTo>
                      <a:pt x="8363" y="35817"/>
                      <a:pt x="7887" y="35004"/>
                      <a:pt x="7280" y="34294"/>
                    </a:cubicBezTo>
                    <a:lnTo>
                      <a:pt x="7280" y="34294"/>
                    </a:lnTo>
                    <a:cubicBezTo>
                      <a:pt x="6307" y="33179"/>
                      <a:pt x="5626" y="31840"/>
                      <a:pt x="5300" y="30397"/>
                    </a:cubicBezTo>
                    <a:cubicBezTo>
                      <a:pt x="5300" y="30397"/>
                      <a:pt x="5300" y="30397"/>
                      <a:pt x="5300" y="30475"/>
                    </a:cubicBezTo>
                    <a:cubicBezTo>
                      <a:pt x="5309" y="30444"/>
                      <a:pt x="5309" y="30412"/>
                      <a:pt x="5300" y="30382"/>
                    </a:cubicBezTo>
                    <a:cubicBezTo>
                      <a:pt x="5300" y="30382"/>
                      <a:pt x="5300" y="30475"/>
                      <a:pt x="5300" y="30506"/>
                    </a:cubicBezTo>
                    <a:cubicBezTo>
                      <a:pt x="5082" y="30132"/>
                      <a:pt x="5160" y="25830"/>
                      <a:pt x="4739" y="27498"/>
                    </a:cubicBezTo>
                    <a:cubicBezTo>
                      <a:pt x="4739" y="27498"/>
                      <a:pt x="4739" y="27311"/>
                      <a:pt x="4739" y="27264"/>
                    </a:cubicBezTo>
                    <a:cubicBezTo>
                      <a:pt x="4739" y="27217"/>
                      <a:pt x="4739" y="27264"/>
                      <a:pt x="4739" y="27342"/>
                    </a:cubicBezTo>
                    <a:cubicBezTo>
                      <a:pt x="4739" y="27420"/>
                      <a:pt x="4739" y="27124"/>
                      <a:pt x="4598" y="27030"/>
                    </a:cubicBezTo>
                    <a:cubicBezTo>
                      <a:pt x="4458" y="26937"/>
                      <a:pt x="4598" y="27030"/>
                      <a:pt x="4598" y="27030"/>
                    </a:cubicBezTo>
                    <a:lnTo>
                      <a:pt x="4598" y="27030"/>
                    </a:lnTo>
                    <a:cubicBezTo>
                      <a:pt x="4598" y="27030"/>
                      <a:pt x="4598" y="26874"/>
                      <a:pt x="4598" y="26812"/>
                    </a:cubicBezTo>
                    <a:cubicBezTo>
                      <a:pt x="4598" y="26749"/>
                      <a:pt x="4598" y="26921"/>
                      <a:pt x="4598" y="26968"/>
                    </a:cubicBezTo>
                    <a:cubicBezTo>
                      <a:pt x="4598" y="26734"/>
                      <a:pt x="4489" y="26469"/>
                      <a:pt x="4396" y="26235"/>
                    </a:cubicBezTo>
                    <a:cubicBezTo>
                      <a:pt x="4396" y="26313"/>
                      <a:pt x="4396" y="26391"/>
                      <a:pt x="4396" y="26484"/>
                    </a:cubicBezTo>
                    <a:cubicBezTo>
                      <a:pt x="4256" y="26095"/>
                      <a:pt x="4240" y="25674"/>
                      <a:pt x="4131" y="25269"/>
                    </a:cubicBezTo>
                    <a:cubicBezTo>
                      <a:pt x="4131" y="25347"/>
                      <a:pt x="4131" y="25269"/>
                      <a:pt x="4131" y="25175"/>
                    </a:cubicBezTo>
                    <a:cubicBezTo>
                      <a:pt x="4131" y="25082"/>
                      <a:pt x="4131" y="25175"/>
                      <a:pt x="4131" y="25175"/>
                    </a:cubicBezTo>
                    <a:cubicBezTo>
                      <a:pt x="4131" y="25175"/>
                      <a:pt x="4131" y="25175"/>
                      <a:pt x="4131" y="25175"/>
                    </a:cubicBezTo>
                    <a:cubicBezTo>
                      <a:pt x="4131" y="25175"/>
                      <a:pt x="4131" y="25175"/>
                      <a:pt x="4131" y="25175"/>
                    </a:cubicBezTo>
                    <a:cubicBezTo>
                      <a:pt x="3941" y="24764"/>
                      <a:pt x="3835" y="24318"/>
                      <a:pt x="3819" y="23866"/>
                    </a:cubicBezTo>
                    <a:cubicBezTo>
                      <a:pt x="3828" y="23928"/>
                      <a:pt x="3828" y="23991"/>
                      <a:pt x="3819" y="24053"/>
                    </a:cubicBezTo>
                    <a:cubicBezTo>
                      <a:pt x="3828" y="23991"/>
                      <a:pt x="3828" y="23928"/>
                      <a:pt x="3819" y="23866"/>
                    </a:cubicBezTo>
                    <a:lnTo>
                      <a:pt x="3819" y="23866"/>
                    </a:lnTo>
                    <a:cubicBezTo>
                      <a:pt x="3819" y="23866"/>
                      <a:pt x="3819" y="23866"/>
                      <a:pt x="3819" y="23866"/>
                    </a:cubicBezTo>
                    <a:lnTo>
                      <a:pt x="3819" y="23866"/>
                    </a:lnTo>
                    <a:lnTo>
                      <a:pt x="3819" y="23866"/>
                    </a:lnTo>
                    <a:cubicBezTo>
                      <a:pt x="3819" y="23866"/>
                      <a:pt x="3819" y="23866"/>
                      <a:pt x="3819" y="23959"/>
                    </a:cubicBezTo>
                    <a:cubicBezTo>
                      <a:pt x="3819" y="24053"/>
                      <a:pt x="3819" y="23959"/>
                      <a:pt x="3819" y="23959"/>
                    </a:cubicBezTo>
                    <a:lnTo>
                      <a:pt x="3819" y="23959"/>
                    </a:lnTo>
                    <a:lnTo>
                      <a:pt x="3819" y="23959"/>
                    </a:lnTo>
                    <a:cubicBezTo>
                      <a:pt x="3819" y="23881"/>
                      <a:pt x="3819" y="23772"/>
                      <a:pt x="3819" y="23679"/>
                    </a:cubicBezTo>
                    <a:lnTo>
                      <a:pt x="3819" y="23679"/>
                    </a:lnTo>
                    <a:cubicBezTo>
                      <a:pt x="3811" y="23627"/>
                      <a:pt x="3811" y="23574"/>
                      <a:pt x="3819" y="23523"/>
                    </a:cubicBezTo>
                    <a:lnTo>
                      <a:pt x="3819" y="23523"/>
                    </a:lnTo>
                    <a:cubicBezTo>
                      <a:pt x="3803" y="23305"/>
                      <a:pt x="3803" y="23086"/>
                      <a:pt x="3819" y="22868"/>
                    </a:cubicBezTo>
                    <a:lnTo>
                      <a:pt x="3819" y="22868"/>
                    </a:lnTo>
                    <a:cubicBezTo>
                      <a:pt x="3819" y="22868"/>
                      <a:pt x="3819" y="22790"/>
                      <a:pt x="3819" y="22759"/>
                    </a:cubicBezTo>
                    <a:lnTo>
                      <a:pt x="3819" y="22759"/>
                    </a:lnTo>
                    <a:cubicBezTo>
                      <a:pt x="4323" y="14291"/>
                      <a:pt x="9917" y="6976"/>
                      <a:pt x="17957" y="4271"/>
                    </a:cubicBezTo>
                    <a:lnTo>
                      <a:pt x="17957" y="4271"/>
                    </a:lnTo>
                    <a:lnTo>
                      <a:pt x="18145" y="4271"/>
                    </a:lnTo>
                    <a:lnTo>
                      <a:pt x="18145" y="4271"/>
                    </a:lnTo>
                    <a:lnTo>
                      <a:pt x="18347" y="4271"/>
                    </a:lnTo>
                    <a:lnTo>
                      <a:pt x="18207" y="4271"/>
                    </a:lnTo>
                    <a:lnTo>
                      <a:pt x="18456" y="4271"/>
                    </a:lnTo>
                    <a:lnTo>
                      <a:pt x="18363" y="4271"/>
                    </a:lnTo>
                    <a:lnTo>
                      <a:pt x="18363" y="4271"/>
                    </a:lnTo>
                    <a:lnTo>
                      <a:pt x="18534" y="4271"/>
                    </a:lnTo>
                    <a:lnTo>
                      <a:pt x="18534" y="4271"/>
                    </a:lnTo>
                    <a:lnTo>
                      <a:pt x="19703" y="4006"/>
                    </a:lnTo>
                    <a:lnTo>
                      <a:pt x="19703" y="4006"/>
                    </a:lnTo>
                    <a:lnTo>
                      <a:pt x="20000" y="4006"/>
                    </a:lnTo>
                    <a:lnTo>
                      <a:pt x="19797" y="4006"/>
                    </a:lnTo>
                    <a:lnTo>
                      <a:pt x="19797" y="4006"/>
                    </a:lnTo>
                    <a:lnTo>
                      <a:pt x="20342" y="4006"/>
                    </a:lnTo>
                    <a:lnTo>
                      <a:pt x="20342" y="4006"/>
                    </a:lnTo>
                    <a:lnTo>
                      <a:pt x="20062" y="4006"/>
                    </a:lnTo>
                    <a:lnTo>
                      <a:pt x="20327" y="4006"/>
                    </a:lnTo>
                    <a:lnTo>
                      <a:pt x="20327" y="4006"/>
                    </a:lnTo>
                    <a:lnTo>
                      <a:pt x="20592" y="4006"/>
                    </a:lnTo>
                    <a:lnTo>
                      <a:pt x="20498" y="4006"/>
                    </a:lnTo>
                    <a:lnTo>
                      <a:pt x="20405" y="4006"/>
                    </a:lnTo>
                    <a:lnTo>
                      <a:pt x="20623" y="4006"/>
                    </a:lnTo>
                    <a:lnTo>
                      <a:pt x="20280" y="4006"/>
                    </a:lnTo>
                    <a:lnTo>
                      <a:pt x="20187" y="4006"/>
                    </a:lnTo>
                    <a:lnTo>
                      <a:pt x="20015" y="4006"/>
                    </a:lnTo>
                    <a:lnTo>
                      <a:pt x="20342" y="4006"/>
                    </a:lnTo>
                    <a:lnTo>
                      <a:pt x="19984" y="4006"/>
                    </a:lnTo>
                    <a:lnTo>
                      <a:pt x="19984" y="4006"/>
                    </a:lnTo>
                    <a:lnTo>
                      <a:pt x="19610" y="4006"/>
                    </a:lnTo>
                    <a:lnTo>
                      <a:pt x="19610" y="4006"/>
                    </a:lnTo>
                    <a:lnTo>
                      <a:pt x="19251" y="4084"/>
                    </a:lnTo>
                    <a:lnTo>
                      <a:pt x="19407" y="4084"/>
                    </a:lnTo>
                    <a:lnTo>
                      <a:pt x="19407" y="4084"/>
                    </a:lnTo>
                    <a:cubicBezTo>
                      <a:pt x="19286" y="4123"/>
                      <a:pt x="19160" y="4150"/>
                      <a:pt x="19033" y="4162"/>
                    </a:cubicBezTo>
                    <a:lnTo>
                      <a:pt x="19189" y="4162"/>
                    </a:lnTo>
                    <a:lnTo>
                      <a:pt x="19017" y="4162"/>
                    </a:lnTo>
                    <a:lnTo>
                      <a:pt x="19017" y="4162"/>
                    </a:lnTo>
                    <a:lnTo>
                      <a:pt x="18908" y="4162"/>
                    </a:lnTo>
                    <a:lnTo>
                      <a:pt x="18908" y="4162"/>
                    </a:lnTo>
                    <a:lnTo>
                      <a:pt x="18908" y="4162"/>
                    </a:lnTo>
                    <a:cubicBezTo>
                      <a:pt x="18908" y="4162"/>
                      <a:pt x="18908" y="4162"/>
                      <a:pt x="18908" y="4162"/>
                    </a:cubicBezTo>
                    <a:lnTo>
                      <a:pt x="18908" y="4162"/>
                    </a:lnTo>
                    <a:lnTo>
                      <a:pt x="18752" y="4162"/>
                    </a:lnTo>
                    <a:lnTo>
                      <a:pt x="18752" y="4162"/>
                    </a:lnTo>
                    <a:lnTo>
                      <a:pt x="18752" y="4162"/>
                    </a:lnTo>
                    <a:lnTo>
                      <a:pt x="18752" y="4162"/>
                    </a:lnTo>
                    <a:lnTo>
                      <a:pt x="18659" y="4162"/>
                    </a:lnTo>
                    <a:lnTo>
                      <a:pt x="18659" y="4162"/>
                    </a:lnTo>
                    <a:lnTo>
                      <a:pt x="18254" y="4271"/>
                    </a:lnTo>
                    <a:lnTo>
                      <a:pt x="18254" y="4271"/>
                    </a:lnTo>
                    <a:lnTo>
                      <a:pt x="17957" y="4380"/>
                    </a:lnTo>
                    <a:lnTo>
                      <a:pt x="17957" y="4380"/>
                    </a:lnTo>
                    <a:lnTo>
                      <a:pt x="17599" y="4489"/>
                    </a:lnTo>
                    <a:lnTo>
                      <a:pt x="17599" y="4489"/>
                    </a:lnTo>
                    <a:lnTo>
                      <a:pt x="17334" y="4676"/>
                    </a:lnTo>
                    <a:lnTo>
                      <a:pt x="17334" y="4676"/>
                    </a:lnTo>
                    <a:lnTo>
                      <a:pt x="17240" y="4676"/>
                    </a:lnTo>
                    <a:lnTo>
                      <a:pt x="17240" y="4676"/>
                    </a:lnTo>
                    <a:lnTo>
                      <a:pt x="16726" y="4864"/>
                    </a:lnTo>
                    <a:lnTo>
                      <a:pt x="16851" y="4864"/>
                    </a:lnTo>
                    <a:lnTo>
                      <a:pt x="16851" y="4864"/>
                    </a:lnTo>
                    <a:cubicBezTo>
                      <a:pt x="17028" y="4797"/>
                      <a:pt x="17211" y="4745"/>
                      <a:pt x="17396" y="4708"/>
                    </a:cubicBezTo>
                    <a:lnTo>
                      <a:pt x="17396" y="4708"/>
                    </a:lnTo>
                    <a:lnTo>
                      <a:pt x="17552" y="4708"/>
                    </a:lnTo>
                    <a:lnTo>
                      <a:pt x="17661" y="4708"/>
                    </a:lnTo>
                    <a:lnTo>
                      <a:pt x="17412" y="4708"/>
                    </a:lnTo>
                    <a:lnTo>
                      <a:pt x="17412" y="4708"/>
                    </a:lnTo>
                    <a:lnTo>
                      <a:pt x="17272" y="4708"/>
                    </a:lnTo>
                    <a:lnTo>
                      <a:pt x="17272" y="4708"/>
                    </a:lnTo>
                    <a:lnTo>
                      <a:pt x="17162" y="4708"/>
                    </a:lnTo>
                    <a:lnTo>
                      <a:pt x="17162" y="4708"/>
                    </a:lnTo>
                    <a:lnTo>
                      <a:pt x="17007" y="4708"/>
                    </a:lnTo>
                    <a:lnTo>
                      <a:pt x="17007" y="4708"/>
                    </a:lnTo>
                    <a:lnTo>
                      <a:pt x="17147" y="4708"/>
                    </a:lnTo>
                    <a:lnTo>
                      <a:pt x="17147" y="4708"/>
                    </a:lnTo>
                    <a:lnTo>
                      <a:pt x="17287" y="4708"/>
                    </a:lnTo>
                    <a:lnTo>
                      <a:pt x="17287" y="4708"/>
                    </a:lnTo>
                    <a:lnTo>
                      <a:pt x="17116" y="4708"/>
                    </a:lnTo>
                    <a:cubicBezTo>
                      <a:pt x="17240" y="4708"/>
                      <a:pt x="17599" y="4599"/>
                      <a:pt x="17272" y="4708"/>
                    </a:cubicBezTo>
                    <a:lnTo>
                      <a:pt x="17412" y="4708"/>
                    </a:lnTo>
                    <a:lnTo>
                      <a:pt x="17505" y="4708"/>
                    </a:lnTo>
                    <a:lnTo>
                      <a:pt x="17833" y="4614"/>
                    </a:lnTo>
                    <a:cubicBezTo>
                      <a:pt x="17472" y="4715"/>
                      <a:pt x="17118" y="4840"/>
                      <a:pt x="16773" y="4988"/>
                    </a:cubicBezTo>
                    <a:lnTo>
                      <a:pt x="16929" y="4988"/>
                    </a:lnTo>
                    <a:lnTo>
                      <a:pt x="16929" y="4988"/>
                    </a:lnTo>
                    <a:cubicBezTo>
                      <a:pt x="16929" y="4988"/>
                      <a:pt x="17116" y="4988"/>
                      <a:pt x="17007" y="4988"/>
                    </a:cubicBezTo>
                    <a:lnTo>
                      <a:pt x="17147" y="4988"/>
                    </a:lnTo>
                    <a:lnTo>
                      <a:pt x="17147" y="4988"/>
                    </a:lnTo>
                    <a:lnTo>
                      <a:pt x="17272" y="4988"/>
                    </a:lnTo>
                    <a:cubicBezTo>
                      <a:pt x="17178" y="4988"/>
                      <a:pt x="17069" y="4988"/>
                      <a:pt x="16991" y="5097"/>
                    </a:cubicBezTo>
                    <a:lnTo>
                      <a:pt x="16991" y="5097"/>
                    </a:lnTo>
                    <a:lnTo>
                      <a:pt x="16866" y="5097"/>
                    </a:lnTo>
                    <a:lnTo>
                      <a:pt x="16866" y="5097"/>
                    </a:lnTo>
                    <a:lnTo>
                      <a:pt x="16710" y="5097"/>
                    </a:lnTo>
                    <a:cubicBezTo>
                      <a:pt x="16793" y="5104"/>
                      <a:pt x="16877" y="5104"/>
                      <a:pt x="16960" y="5097"/>
                    </a:cubicBezTo>
                    <a:cubicBezTo>
                      <a:pt x="16695" y="5238"/>
                      <a:pt x="16367" y="5362"/>
                      <a:pt x="16103" y="5534"/>
                    </a:cubicBezTo>
                    <a:lnTo>
                      <a:pt x="16103" y="5534"/>
                    </a:lnTo>
                    <a:lnTo>
                      <a:pt x="15931" y="5627"/>
                    </a:lnTo>
                    <a:lnTo>
                      <a:pt x="16103" y="5627"/>
                    </a:lnTo>
                    <a:lnTo>
                      <a:pt x="16103" y="5627"/>
                    </a:lnTo>
                    <a:cubicBezTo>
                      <a:pt x="16103" y="5627"/>
                      <a:pt x="16103" y="5627"/>
                      <a:pt x="16103" y="5627"/>
                    </a:cubicBezTo>
                    <a:cubicBezTo>
                      <a:pt x="15934" y="5726"/>
                      <a:pt x="15756" y="5810"/>
                      <a:pt x="15573" y="5877"/>
                    </a:cubicBezTo>
                    <a:cubicBezTo>
                      <a:pt x="15573" y="5877"/>
                      <a:pt x="15573" y="5877"/>
                      <a:pt x="15573" y="5877"/>
                    </a:cubicBezTo>
                    <a:cubicBezTo>
                      <a:pt x="15573" y="5877"/>
                      <a:pt x="15479" y="5877"/>
                      <a:pt x="15463" y="5877"/>
                    </a:cubicBezTo>
                    <a:lnTo>
                      <a:pt x="15463" y="5877"/>
                    </a:lnTo>
                    <a:cubicBezTo>
                      <a:pt x="15406" y="5898"/>
                      <a:pt x="15353" y="5930"/>
                      <a:pt x="15308" y="5970"/>
                    </a:cubicBezTo>
                    <a:lnTo>
                      <a:pt x="15308" y="5970"/>
                    </a:lnTo>
                    <a:cubicBezTo>
                      <a:pt x="15308" y="5970"/>
                      <a:pt x="15089" y="6126"/>
                      <a:pt x="15183" y="6095"/>
                    </a:cubicBezTo>
                    <a:lnTo>
                      <a:pt x="15183" y="6095"/>
                    </a:lnTo>
                    <a:lnTo>
                      <a:pt x="15183" y="6095"/>
                    </a:lnTo>
                    <a:lnTo>
                      <a:pt x="15183" y="6095"/>
                    </a:lnTo>
                    <a:cubicBezTo>
                      <a:pt x="15183" y="6095"/>
                      <a:pt x="15183" y="6095"/>
                      <a:pt x="15183" y="6095"/>
                    </a:cubicBezTo>
                    <a:lnTo>
                      <a:pt x="15323" y="6095"/>
                    </a:lnTo>
                    <a:lnTo>
                      <a:pt x="15089" y="6220"/>
                    </a:lnTo>
                    <a:lnTo>
                      <a:pt x="15089" y="6220"/>
                    </a:lnTo>
                    <a:cubicBezTo>
                      <a:pt x="15089" y="6220"/>
                      <a:pt x="14933" y="6220"/>
                      <a:pt x="14871" y="6344"/>
                    </a:cubicBezTo>
                    <a:cubicBezTo>
                      <a:pt x="14809" y="6469"/>
                      <a:pt x="14980" y="6344"/>
                      <a:pt x="15027" y="6344"/>
                    </a:cubicBezTo>
                    <a:cubicBezTo>
                      <a:pt x="14873" y="6412"/>
                      <a:pt x="14727" y="6496"/>
                      <a:pt x="14590" y="6594"/>
                    </a:cubicBezTo>
                    <a:lnTo>
                      <a:pt x="14590" y="6594"/>
                    </a:lnTo>
                    <a:lnTo>
                      <a:pt x="14590" y="6594"/>
                    </a:lnTo>
                    <a:cubicBezTo>
                      <a:pt x="14808" y="6458"/>
                      <a:pt x="15037" y="6343"/>
                      <a:pt x="15276" y="6251"/>
                    </a:cubicBezTo>
                    <a:lnTo>
                      <a:pt x="15276" y="6251"/>
                    </a:lnTo>
                    <a:cubicBezTo>
                      <a:pt x="15276" y="6251"/>
                      <a:pt x="15276" y="6251"/>
                      <a:pt x="15276" y="6251"/>
                    </a:cubicBezTo>
                    <a:lnTo>
                      <a:pt x="15276" y="6251"/>
                    </a:lnTo>
                    <a:lnTo>
                      <a:pt x="15370" y="6251"/>
                    </a:lnTo>
                    <a:lnTo>
                      <a:pt x="15276" y="6251"/>
                    </a:lnTo>
                    <a:cubicBezTo>
                      <a:pt x="15276" y="6251"/>
                      <a:pt x="15417" y="6157"/>
                      <a:pt x="15479" y="6157"/>
                    </a:cubicBezTo>
                    <a:lnTo>
                      <a:pt x="15479" y="6157"/>
                    </a:lnTo>
                    <a:cubicBezTo>
                      <a:pt x="15479" y="6157"/>
                      <a:pt x="15713" y="6064"/>
                      <a:pt x="15573" y="6157"/>
                    </a:cubicBezTo>
                    <a:lnTo>
                      <a:pt x="15463" y="6157"/>
                    </a:lnTo>
                    <a:cubicBezTo>
                      <a:pt x="15494" y="6149"/>
                      <a:pt x="15526" y="6149"/>
                      <a:pt x="15557" y="6157"/>
                    </a:cubicBezTo>
                    <a:lnTo>
                      <a:pt x="15448" y="6157"/>
                    </a:lnTo>
                    <a:lnTo>
                      <a:pt x="15448" y="6157"/>
                    </a:lnTo>
                    <a:cubicBezTo>
                      <a:pt x="15448" y="6157"/>
                      <a:pt x="15448" y="6157"/>
                      <a:pt x="15323" y="6157"/>
                    </a:cubicBezTo>
                    <a:cubicBezTo>
                      <a:pt x="15198" y="6157"/>
                      <a:pt x="15495" y="6157"/>
                      <a:pt x="15432" y="6157"/>
                    </a:cubicBezTo>
                    <a:cubicBezTo>
                      <a:pt x="15522" y="6121"/>
                      <a:pt x="15623" y="6121"/>
                      <a:pt x="15713" y="6157"/>
                    </a:cubicBezTo>
                    <a:lnTo>
                      <a:pt x="15713" y="6157"/>
                    </a:lnTo>
                    <a:cubicBezTo>
                      <a:pt x="15541" y="6282"/>
                      <a:pt x="15339" y="6376"/>
                      <a:pt x="15152" y="6485"/>
                    </a:cubicBezTo>
                    <a:lnTo>
                      <a:pt x="15152" y="6485"/>
                    </a:lnTo>
                    <a:lnTo>
                      <a:pt x="15152" y="6485"/>
                    </a:lnTo>
                    <a:lnTo>
                      <a:pt x="15152" y="6485"/>
                    </a:lnTo>
                    <a:cubicBezTo>
                      <a:pt x="15152" y="6485"/>
                      <a:pt x="15152" y="6485"/>
                      <a:pt x="15152" y="6485"/>
                    </a:cubicBezTo>
                    <a:lnTo>
                      <a:pt x="15152" y="6485"/>
                    </a:lnTo>
                    <a:lnTo>
                      <a:pt x="15152" y="6485"/>
                    </a:lnTo>
                    <a:lnTo>
                      <a:pt x="14933" y="6625"/>
                    </a:lnTo>
                    <a:lnTo>
                      <a:pt x="14933" y="6625"/>
                    </a:lnTo>
                    <a:cubicBezTo>
                      <a:pt x="14933" y="6625"/>
                      <a:pt x="14933" y="6625"/>
                      <a:pt x="14933" y="6703"/>
                    </a:cubicBezTo>
                    <a:lnTo>
                      <a:pt x="15074" y="6703"/>
                    </a:lnTo>
                    <a:lnTo>
                      <a:pt x="15074" y="6703"/>
                    </a:lnTo>
                    <a:lnTo>
                      <a:pt x="15074" y="6796"/>
                    </a:lnTo>
                    <a:cubicBezTo>
                      <a:pt x="15074" y="6796"/>
                      <a:pt x="15074" y="6796"/>
                      <a:pt x="15074" y="6796"/>
                    </a:cubicBezTo>
                    <a:lnTo>
                      <a:pt x="15074" y="6796"/>
                    </a:lnTo>
                    <a:cubicBezTo>
                      <a:pt x="15385" y="6594"/>
                      <a:pt x="15167" y="6796"/>
                      <a:pt x="15074" y="6890"/>
                    </a:cubicBezTo>
                    <a:cubicBezTo>
                      <a:pt x="15183" y="6890"/>
                      <a:pt x="15276" y="6703"/>
                      <a:pt x="15401" y="6656"/>
                    </a:cubicBezTo>
                    <a:lnTo>
                      <a:pt x="15401" y="6656"/>
                    </a:lnTo>
                    <a:cubicBezTo>
                      <a:pt x="15401" y="6656"/>
                      <a:pt x="15682" y="6485"/>
                      <a:pt x="15526" y="6656"/>
                    </a:cubicBezTo>
                    <a:lnTo>
                      <a:pt x="15650" y="6656"/>
                    </a:lnTo>
                    <a:lnTo>
                      <a:pt x="15557" y="6656"/>
                    </a:lnTo>
                    <a:cubicBezTo>
                      <a:pt x="15557" y="6656"/>
                      <a:pt x="15557" y="6656"/>
                      <a:pt x="15557" y="6656"/>
                    </a:cubicBezTo>
                    <a:cubicBezTo>
                      <a:pt x="15557" y="6656"/>
                      <a:pt x="15448" y="6656"/>
                      <a:pt x="15417" y="6750"/>
                    </a:cubicBezTo>
                    <a:lnTo>
                      <a:pt x="15417" y="6750"/>
                    </a:lnTo>
                    <a:cubicBezTo>
                      <a:pt x="15417" y="6750"/>
                      <a:pt x="15323" y="6750"/>
                      <a:pt x="15308" y="6750"/>
                    </a:cubicBezTo>
                    <a:cubicBezTo>
                      <a:pt x="15619" y="6641"/>
                      <a:pt x="15198" y="6750"/>
                      <a:pt x="15074" y="6874"/>
                    </a:cubicBezTo>
                    <a:lnTo>
                      <a:pt x="15074" y="6874"/>
                    </a:lnTo>
                    <a:lnTo>
                      <a:pt x="14902" y="6968"/>
                    </a:lnTo>
                    <a:lnTo>
                      <a:pt x="14902" y="6968"/>
                    </a:lnTo>
                    <a:lnTo>
                      <a:pt x="14778" y="6968"/>
                    </a:lnTo>
                    <a:cubicBezTo>
                      <a:pt x="14918" y="6968"/>
                      <a:pt x="14778" y="6968"/>
                      <a:pt x="14778" y="6968"/>
                    </a:cubicBezTo>
                    <a:lnTo>
                      <a:pt x="14778" y="6968"/>
                    </a:lnTo>
                    <a:lnTo>
                      <a:pt x="14637" y="6968"/>
                    </a:lnTo>
                    <a:lnTo>
                      <a:pt x="14637" y="6968"/>
                    </a:lnTo>
                    <a:lnTo>
                      <a:pt x="14637" y="6968"/>
                    </a:lnTo>
                    <a:lnTo>
                      <a:pt x="14637" y="6968"/>
                    </a:lnTo>
                    <a:cubicBezTo>
                      <a:pt x="14544" y="6968"/>
                      <a:pt x="14450" y="7108"/>
                      <a:pt x="14357" y="7139"/>
                    </a:cubicBezTo>
                    <a:cubicBezTo>
                      <a:pt x="14263" y="7171"/>
                      <a:pt x="14497" y="7046"/>
                      <a:pt x="14559" y="7030"/>
                    </a:cubicBezTo>
                    <a:cubicBezTo>
                      <a:pt x="14622" y="7015"/>
                      <a:pt x="14559" y="7030"/>
                      <a:pt x="14559" y="7030"/>
                    </a:cubicBezTo>
                    <a:cubicBezTo>
                      <a:pt x="14640" y="6992"/>
                      <a:pt x="14723" y="6961"/>
                      <a:pt x="14809" y="6937"/>
                    </a:cubicBezTo>
                    <a:lnTo>
                      <a:pt x="14700" y="6937"/>
                    </a:lnTo>
                    <a:cubicBezTo>
                      <a:pt x="14871" y="6859"/>
                      <a:pt x="15027" y="6734"/>
                      <a:pt x="15198" y="6672"/>
                    </a:cubicBezTo>
                    <a:lnTo>
                      <a:pt x="15198" y="6672"/>
                    </a:lnTo>
                    <a:lnTo>
                      <a:pt x="15198" y="6672"/>
                    </a:lnTo>
                    <a:cubicBezTo>
                      <a:pt x="15406" y="6614"/>
                      <a:pt x="15605" y="6531"/>
                      <a:pt x="15791" y="6422"/>
                    </a:cubicBezTo>
                    <a:cubicBezTo>
                      <a:pt x="15791" y="6422"/>
                      <a:pt x="15791" y="6422"/>
                      <a:pt x="15666" y="6422"/>
                    </a:cubicBezTo>
                    <a:lnTo>
                      <a:pt x="15666" y="6422"/>
                    </a:lnTo>
                    <a:cubicBezTo>
                      <a:pt x="15760" y="6422"/>
                      <a:pt x="16118" y="6204"/>
                      <a:pt x="15900" y="6344"/>
                    </a:cubicBezTo>
                    <a:cubicBezTo>
                      <a:pt x="16056" y="6344"/>
                      <a:pt x="16056" y="6189"/>
                      <a:pt x="16196" y="6142"/>
                    </a:cubicBezTo>
                    <a:cubicBezTo>
                      <a:pt x="16056" y="6142"/>
                      <a:pt x="16196" y="6142"/>
                      <a:pt x="16196" y="6142"/>
                    </a:cubicBezTo>
                    <a:lnTo>
                      <a:pt x="16196" y="6142"/>
                    </a:lnTo>
                    <a:cubicBezTo>
                      <a:pt x="16368" y="6015"/>
                      <a:pt x="16564" y="5925"/>
                      <a:pt x="16773" y="5877"/>
                    </a:cubicBezTo>
                    <a:lnTo>
                      <a:pt x="16773" y="5877"/>
                    </a:lnTo>
                    <a:cubicBezTo>
                      <a:pt x="16936" y="5775"/>
                      <a:pt x="17115" y="5701"/>
                      <a:pt x="17303" y="5659"/>
                    </a:cubicBezTo>
                    <a:lnTo>
                      <a:pt x="17162" y="5736"/>
                    </a:lnTo>
                    <a:cubicBezTo>
                      <a:pt x="17334" y="5736"/>
                      <a:pt x="17459" y="5581"/>
                      <a:pt x="17630" y="5549"/>
                    </a:cubicBezTo>
                    <a:lnTo>
                      <a:pt x="17459" y="5674"/>
                    </a:lnTo>
                    <a:cubicBezTo>
                      <a:pt x="18410" y="5097"/>
                      <a:pt x="20000" y="4536"/>
                      <a:pt x="18425" y="5362"/>
                    </a:cubicBezTo>
                    <a:cubicBezTo>
                      <a:pt x="18675" y="5284"/>
                      <a:pt x="19267" y="4910"/>
                      <a:pt x="19080" y="5129"/>
                    </a:cubicBezTo>
                    <a:cubicBezTo>
                      <a:pt x="19766" y="4895"/>
                      <a:pt x="18721" y="5456"/>
                      <a:pt x="18425" y="5581"/>
                    </a:cubicBezTo>
                    <a:cubicBezTo>
                      <a:pt x="18784" y="5456"/>
                      <a:pt x="18425" y="5581"/>
                      <a:pt x="18425" y="5581"/>
                    </a:cubicBezTo>
                    <a:cubicBezTo>
                      <a:pt x="18425" y="5581"/>
                      <a:pt x="18659" y="5425"/>
                      <a:pt x="18519" y="5581"/>
                    </a:cubicBezTo>
                    <a:cubicBezTo>
                      <a:pt x="18752" y="5316"/>
                      <a:pt x="18986" y="5581"/>
                      <a:pt x="18597" y="5659"/>
                    </a:cubicBezTo>
                    <a:cubicBezTo>
                      <a:pt x="18557" y="5643"/>
                      <a:pt x="18512" y="5643"/>
                      <a:pt x="18472" y="5659"/>
                    </a:cubicBezTo>
                    <a:cubicBezTo>
                      <a:pt x="18706" y="5659"/>
                      <a:pt x="18378" y="5736"/>
                      <a:pt x="18300" y="5768"/>
                    </a:cubicBezTo>
                    <a:cubicBezTo>
                      <a:pt x="18893" y="5581"/>
                      <a:pt x="17802" y="6033"/>
                      <a:pt x="18456" y="5768"/>
                    </a:cubicBezTo>
                    <a:cubicBezTo>
                      <a:pt x="17630" y="6126"/>
                      <a:pt x="18830" y="5768"/>
                      <a:pt x="18020" y="6095"/>
                    </a:cubicBezTo>
                    <a:cubicBezTo>
                      <a:pt x="18020" y="6189"/>
                      <a:pt x="18020" y="6095"/>
                      <a:pt x="18238" y="6095"/>
                    </a:cubicBezTo>
                    <a:cubicBezTo>
                      <a:pt x="18120" y="6184"/>
                      <a:pt x="17989" y="6252"/>
                      <a:pt x="17848" y="6298"/>
                    </a:cubicBezTo>
                    <a:cubicBezTo>
                      <a:pt x="17755" y="6298"/>
                      <a:pt x="18534" y="6298"/>
                      <a:pt x="17692" y="6485"/>
                    </a:cubicBezTo>
                    <a:cubicBezTo>
                      <a:pt x="17599" y="6485"/>
                      <a:pt x="18113" y="6485"/>
                      <a:pt x="17568" y="6594"/>
                    </a:cubicBezTo>
                    <a:cubicBezTo>
                      <a:pt x="18020" y="6438"/>
                      <a:pt x="18082" y="6594"/>
                      <a:pt x="17568" y="6672"/>
                    </a:cubicBezTo>
                    <a:cubicBezTo>
                      <a:pt x="17770" y="6843"/>
                      <a:pt x="17474" y="6890"/>
                      <a:pt x="17568" y="6828"/>
                    </a:cubicBezTo>
                    <a:cubicBezTo>
                      <a:pt x="17318" y="6828"/>
                      <a:pt x="17568" y="7030"/>
                      <a:pt x="17287" y="6921"/>
                    </a:cubicBezTo>
                    <a:cubicBezTo>
                      <a:pt x="17116" y="7217"/>
                      <a:pt x="17412" y="7046"/>
                      <a:pt x="17116" y="7186"/>
                    </a:cubicBezTo>
                    <a:cubicBezTo>
                      <a:pt x="17350" y="7108"/>
                      <a:pt x="16929" y="7436"/>
                      <a:pt x="17116" y="7295"/>
                    </a:cubicBezTo>
                    <a:cubicBezTo>
                      <a:pt x="16820" y="7591"/>
                      <a:pt x="17381" y="7124"/>
                      <a:pt x="16975" y="7623"/>
                    </a:cubicBezTo>
                    <a:cubicBezTo>
                      <a:pt x="16773" y="7732"/>
                      <a:pt x="17303" y="7623"/>
                      <a:pt x="16835" y="7794"/>
                    </a:cubicBezTo>
                    <a:cubicBezTo>
                      <a:pt x="17178" y="7654"/>
                      <a:pt x="16913" y="8137"/>
                      <a:pt x="16695" y="8012"/>
                    </a:cubicBezTo>
                    <a:cubicBezTo>
                      <a:pt x="16695" y="8137"/>
                      <a:pt x="16555" y="8231"/>
                      <a:pt x="16508" y="8137"/>
                    </a:cubicBezTo>
                    <a:cubicBezTo>
                      <a:pt x="16461" y="8044"/>
                      <a:pt x="16352" y="8309"/>
                      <a:pt x="16508" y="8137"/>
                    </a:cubicBezTo>
                    <a:cubicBezTo>
                      <a:pt x="16664" y="7966"/>
                      <a:pt x="16056" y="8574"/>
                      <a:pt x="16196" y="8309"/>
                    </a:cubicBezTo>
                    <a:cubicBezTo>
                      <a:pt x="16071" y="8137"/>
                      <a:pt x="16492" y="7903"/>
                      <a:pt x="16539" y="7810"/>
                    </a:cubicBezTo>
                    <a:cubicBezTo>
                      <a:pt x="16258" y="7966"/>
                      <a:pt x="16430" y="7810"/>
                      <a:pt x="16539" y="7654"/>
                    </a:cubicBezTo>
                    <a:cubicBezTo>
                      <a:pt x="16648" y="7498"/>
                      <a:pt x="16305" y="7841"/>
                      <a:pt x="16383" y="7654"/>
                    </a:cubicBezTo>
                    <a:cubicBezTo>
                      <a:pt x="16118" y="7903"/>
                      <a:pt x="15962" y="7934"/>
                      <a:pt x="15869" y="8309"/>
                    </a:cubicBezTo>
                    <a:cubicBezTo>
                      <a:pt x="15775" y="8683"/>
                      <a:pt x="15261" y="9135"/>
                      <a:pt x="15198" y="8932"/>
                    </a:cubicBezTo>
                    <a:cubicBezTo>
                      <a:pt x="15136" y="8729"/>
                      <a:pt x="15308" y="8823"/>
                      <a:pt x="15198" y="8527"/>
                    </a:cubicBezTo>
                    <a:cubicBezTo>
                      <a:pt x="14996" y="8885"/>
                      <a:pt x="14996" y="9353"/>
                      <a:pt x="14996" y="9353"/>
                    </a:cubicBezTo>
                    <a:cubicBezTo>
                      <a:pt x="14357" y="9493"/>
                      <a:pt x="15105" y="8262"/>
                      <a:pt x="15245" y="8231"/>
                    </a:cubicBezTo>
                    <a:cubicBezTo>
                      <a:pt x="14996" y="8324"/>
                      <a:pt x="15245" y="8231"/>
                      <a:pt x="15027" y="8231"/>
                    </a:cubicBezTo>
                    <a:cubicBezTo>
                      <a:pt x="15136" y="8075"/>
                      <a:pt x="14871" y="8309"/>
                      <a:pt x="14793" y="8231"/>
                    </a:cubicBezTo>
                    <a:cubicBezTo>
                      <a:pt x="14715" y="8153"/>
                      <a:pt x="15432" y="7607"/>
                      <a:pt x="15292" y="7981"/>
                    </a:cubicBezTo>
                    <a:cubicBezTo>
                      <a:pt x="16617" y="7701"/>
                      <a:pt x="17427" y="6422"/>
                      <a:pt x="17724" y="6111"/>
                    </a:cubicBezTo>
                    <a:cubicBezTo>
                      <a:pt x="17272" y="6485"/>
                      <a:pt x="17396" y="6111"/>
                      <a:pt x="17225" y="6111"/>
                    </a:cubicBezTo>
                    <a:cubicBezTo>
                      <a:pt x="17053" y="6111"/>
                      <a:pt x="17459" y="5970"/>
                      <a:pt x="17225" y="5955"/>
                    </a:cubicBezTo>
                    <a:cubicBezTo>
                      <a:pt x="17427" y="5736"/>
                      <a:pt x="17225" y="5955"/>
                      <a:pt x="17225" y="5783"/>
                    </a:cubicBezTo>
                    <a:lnTo>
                      <a:pt x="17318" y="5783"/>
                    </a:lnTo>
                    <a:lnTo>
                      <a:pt x="17178" y="5861"/>
                    </a:lnTo>
                    <a:cubicBezTo>
                      <a:pt x="16944" y="5970"/>
                      <a:pt x="16726" y="6111"/>
                      <a:pt x="16492" y="6235"/>
                    </a:cubicBezTo>
                    <a:lnTo>
                      <a:pt x="16492" y="6235"/>
                    </a:lnTo>
                    <a:lnTo>
                      <a:pt x="16601" y="6235"/>
                    </a:lnTo>
                    <a:lnTo>
                      <a:pt x="16555" y="6235"/>
                    </a:lnTo>
                    <a:lnTo>
                      <a:pt x="16555" y="6235"/>
                    </a:lnTo>
                    <a:cubicBezTo>
                      <a:pt x="16555" y="6313"/>
                      <a:pt x="16321" y="6235"/>
                      <a:pt x="16243" y="6376"/>
                    </a:cubicBezTo>
                    <a:lnTo>
                      <a:pt x="16243" y="6376"/>
                    </a:lnTo>
                    <a:lnTo>
                      <a:pt x="16243" y="6376"/>
                    </a:lnTo>
                    <a:lnTo>
                      <a:pt x="16336" y="6376"/>
                    </a:lnTo>
                    <a:cubicBezTo>
                      <a:pt x="16336" y="6376"/>
                      <a:pt x="16336" y="6376"/>
                      <a:pt x="16336" y="6376"/>
                    </a:cubicBezTo>
                    <a:lnTo>
                      <a:pt x="16336" y="6376"/>
                    </a:lnTo>
                    <a:cubicBezTo>
                      <a:pt x="16336" y="6376"/>
                      <a:pt x="16227" y="6376"/>
                      <a:pt x="16180" y="6376"/>
                    </a:cubicBezTo>
                    <a:lnTo>
                      <a:pt x="16180" y="6376"/>
                    </a:lnTo>
                    <a:lnTo>
                      <a:pt x="16180" y="6376"/>
                    </a:lnTo>
                    <a:cubicBezTo>
                      <a:pt x="15993" y="6516"/>
                      <a:pt x="15791" y="6625"/>
                      <a:pt x="15588" y="6750"/>
                    </a:cubicBezTo>
                    <a:lnTo>
                      <a:pt x="15822" y="6656"/>
                    </a:lnTo>
                    <a:lnTo>
                      <a:pt x="15822" y="6656"/>
                    </a:lnTo>
                    <a:lnTo>
                      <a:pt x="16212" y="6454"/>
                    </a:lnTo>
                    <a:cubicBezTo>
                      <a:pt x="16065" y="6587"/>
                      <a:pt x="15903" y="6702"/>
                      <a:pt x="15728" y="6796"/>
                    </a:cubicBezTo>
                    <a:lnTo>
                      <a:pt x="15728" y="6796"/>
                    </a:lnTo>
                    <a:cubicBezTo>
                      <a:pt x="15496" y="6904"/>
                      <a:pt x="15285" y="7052"/>
                      <a:pt x="15105" y="7233"/>
                    </a:cubicBezTo>
                    <a:cubicBezTo>
                      <a:pt x="15105" y="7233"/>
                      <a:pt x="15198" y="7155"/>
                      <a:pt x="15245" y="7155"/>
                    </a:cubicBezTo>
                    <a:lnTo>
                      <a:pt x="15245" y="7155"/>
                    </a:lnTo>
                    <a:lnTo>
                      <a:pt x="16040" y="6750"/>
                    </a:lnTo>
                    <a:lnTo>
                      <a:pt x="16040" y="6750"/>
                    </a:lnTo>
                    <a:lnTo>
                      <a:pt x="16040" y="6750"/>
                    </a:lnTo>
                    <a:cubicBezTo>
                      <a:pt x="16040" y="6750"/>
                      <a:pt x="16040" y="6656"/>
                      <a:pt x="16165" y="6672"/>
                    </a:cubicBezTo>
                    <a:lnTo>
                      <a:pt x="16165" y="6672"/>
                    </a:lnTo>
                    <a:cubicBezTo>
                      <a:pt x="16165" y="6672"/>
                      <a:pt x="16165" y="6672"/>
                      <a:pt x="16274" y="6672"/>
                    </a:cubicBezTo>
                    <a:lnTo>
                      <a:pt x="16274" y="6672"/>
                    </a:lnTo>
                    <a:lnTo>
                      <a:pt x="16664" y="6454"/>
                    </a:lnTo>
                    <a:cubicBezTo>
                      <a:pt x="16664" y="6454"/>
                      <a:pt x="16664" y="6454"/>
                      <a:pt x="16664" y="6594"/>
                    </a:cubicBezTo>
                    <a:lnTo>
                      <a:pt x="16664" y="6594"/>
                    </a:lnTo>
                    <a:cubicBezTo>
                      <a:pt x="16645" y="6644"/>
                      <a:pt x="16605" y="6684"/>
                      <a:pt x="16555" y="6703"/>
                    </a:cubicBezTo>
                    <a:cubicBezTo>
                      <a:pt x="16555" y="6625"/>
                      <a:pt x="16555" y="6781"/>
                      <a:pt x="16430" y="6796"/>
                    </a:cubicBezTo>
                    <a:cubicBezTo>
                      <a:pt x="16305" y="6812"/>
                      <a:pt x="16305" y="6921"/>
                      <a:pt x="16243" y="6921"/>
                    </a:cubicBezTo>
                    <a:cubicBezTo>
                      <a:pt x="16180" y="6921"/>
                      <a:pt x="16243" y="6921"/>
                      <a:pt x="16243" y="6921"/>
                    </a:cubicBezTo>
                    <a:lnTo>
                      <a:pt x="16243" y="6921"/>
                    </a:lnTo>
                    <a:cubicBezTo>
                      <a:pt x="16243" y="6921"/>
                      <a:pt x="15978" y="7046"/>
                      <a:pt x="16056" y="6921"/>
                    </a:cubicBezTo>
                    <a:lnTo>
                      <a:pt x="16056" y="6921"/>
                    </a:lnTo>
                    <a:cubicBezTo>
                      <a:pt x="16056" y="6921"/>
                      <a:pt x="16056" y="6999"/>
                      <a:pt x="15915" y="7015"/>
                    </a:cubicBezTo>
                    <a:lnTo>
                      <a:pt x="15915" y="7015"/>
                    </a:lnTo>
                    <a:cubicBezTo>
                      <a:pt x="15915" y="7015"/>
                      <a:pt x="15806" y="7015"/>
                      <a:pt x="15915" y="7015"/>
                    </a:cubicBezTo>
                    <a:cubicBezTo>
                      <a:pt x="15629" y="7264"/>
                      <a:pt x="15287" y="7441"/>
                      <a:pt x="14918" y="7529"/>
                    </a:cubicBezTo>
                    <a:cubicBezTo>
                      <a:pt x="14943" y="7513"/>
                      <a:pt x="14969" y="7497"/>
                      <a:pt x="14996" y="7482"/>
                    </a:cubicBezTo>
                    <a:lnTo>
                      <a:pt x="14996" y="7482"/>
                    </a:lnTo>
                    <a:lnTo>
                      <a:pt x="15120" y="7373"/>
                    </a:lnTo>
                    <a:lnTo>
                      <a:pt x="15120" y="7373"/>
                    </a:lnTo>
                    <a:cubicBezTo>
                      <a:pt x="15120" y="7373"/>
                      <a:pt x="14965" y="7451"/>
                      <a:pt x="15120" y="7373"/>
                    </a:cubicBezTo>
                    <a:cubicBezTo>
                      <a:pt x="15026" y="7487"/>
                      <a:pt x="14916" y="7587"/>
                      <a:pt x="14793" y="7669"/>
                    </a:cubicBezTo>
                    <a:lnTo>
                      <a:pt x="14887" y="7529"/>
                    </a:lnTo>
                    <a:cubicBezTo>
                      <a:pt x="14887" y="7529"/>
                      <a:pt x="14887" y="7607"/>
                      <a:pt x="14778" y="7623"/>
                    </a:cubicBezTo>
                    <a:cubicBezTo>
                      <a:pt x="14668" y="7638"/>
                      <a:pt x="14778" y="7623"/>
                      <a:pt x="14778" y="7623"/>
                    </a:cubicBezTo>
                    <a:lnTo>
                      <a:pt x="14778" y="7623"/>
                    </a:lnTo>
                    <a:lnTo>
                      <a:pt x="14918" y="7514"/>
                    </a:lnTo>
                    <a:cubicBezTo>
                      <a:pt x="14918" y="7514"/>
                      <a:pt x="14824" y="7514"/>
                      <a:pt x="14918" y="7514"/>
                    </a:cubicBezTo>
                    <a:lnTo>
                      <a:pt x="14918" y="7514"/>
                    </a:lnTo>
                    <a:lnTo>
                      <a:pt x="14918" y="7514"/>
                    </a:lnTo>
                    <a:cubicBezTo>
                      <a:pt x="14757" y="7658"/>
                      <a:pt x="14572" y="7774"/>
                      <a:pt x="14372" y="7856"/>
                    </a:cubicBezTo>
                    <a:lnTo>
                      <a:pt x="14372" y="7856"/>
                    </a:lnTo>
                    <a:cubicBezTo>
                      <a:pt x="14076" y="8028"/>
                      <a:pt x="14372" y="7732"/>
                      <a:pt x="14372" y="7591"/>
                    </a:cubicBezTo>
                    <a:cubicBezTo>
                      <a:pt x="14107" y="7747"/>
                      <a:pt x="14170" y="8028"/>
                      <a:pt x="13873" y="8106"/>
                    </a:cubicBezTo>
                    <a:lnTo>
                      <a:pt x="13873" y="8106"/>
                    </a:lnTo>
                    <a:lnTo>
                      <a:pt x="13468" y="8293"/>
                    </a:lnTo>
                    <a:cubicBezTo>
                      <a:pt x="13468" y="8293"/>
                      <a:pt x="13468" y="8293"/>
                      <a:pt x="13468" y="8293"/>
                    </a:cubicBezTo>
                    <a:lnTo>
                      <a:pt x="13468" y="8293"/>
                    </a:lnTo>
                    <a:lnTo>
                      <a:pt x="13468" y="8293"/>
                    </a:lnTo>
                    <a:cubicBezTo>
                      <a:pt x="13468" y="8293"/>
                      <a:pt x="13468" y="8293"/>
                      <a:pt x="13577" y="8199"/>
                    </a:cubicBezTo>
                    <a:cubicBezTo>
                      <a:pt x="13686" y="8106"/>
                      <a:pt x="13468" y="8199"/>
                      <a:pt x="13437" y="8277"/>
                    </a:cubicBezTo>
                    <a:cubicBezTo>
                      <a:pt x="13475" y="8255"/>
                      <a:pt x="13508" y="8223"/>
                      <a:pt x="13530" y="8184"/>
                    </a:cubicBezTo>
                    <a:cubicBezTo>
                      <a:pt x="13530" y="8184"/>
                      <a:pt x="13172" y="8480"/>
                      <a:pt x="13328" y="8293"/>
                    </a:cubicBezTo>
                    <a:lnTo>
                      <a:pt x="13188" y="8402"/>
                    </a:lnTo>
                    <a:cubicBezTo>
                      <a:pt x="13251" y="8269"/>
                      <a:pt x="13329" y="8143"/>
                      <a:pt x="13421" y="8028"/>
                    </a:cubicBezTo>
                    <a:lnTo>
                      <a:pt x="13421" y="8028"/>
                    </a:lnTo>
                    <a:lnTo>
                      <a:pt x="13421" y="8028"/>
                    </a:lnTo>
                    <a:lnTo>
                      <a:pt x="13343" y="8121"/>
                    </a:lnTo>
                    <a:cubicBezTo>
                      <a:pt x="13530" y="7981"/>
                      <a:pt x="13250" y="8293"/>
                      <a:pt x="13203" y="8277"/>
                    </a:cubicBezTo>
                    <a:lnTo>
                      <a:pt x="13328" y="8277"/>
                    </a:lnTo>
                    <a:cubicBezTo>
                      <a:pt x="13203" y="8496"/>
                      <a:pt x="12704" y="8761"/>
                      <a:pt x="13078" y="8277"/>
                    </a:cubicBezTo>
                    <a:cubicBezTo>
                      <a:pt x="12954" y="8355"/>
                      <a:pt x="12891" y="8496"/>
                      <a:pt x="12782" y="8574"/>
                    </a:cubicBezTo>
                    <a:lnTo>
                      <a:pt x="12782" y="8574"/>
                    </a:lnTo>
                    <a:lnTo>
                      <a:pt x="12782" y="8574"/>
                    </a:lnTo>
                    <a:lnTo>
                      <a:pt x="12782" y="8574"/>
                    </a:lnTo>
                    <a:lnTo>
                      <a:pt x="12642" y="8698"/>
                    </a:lnTo>
                    <a:cubicBezTo>
                      <a:pt x="12642" y="8698"/>
                      <a:pt x="12642" y="8698"/>
                      <a:pt x="12642" y="8698"/>
                    </a:cubicBezTo>
                    <a:cubicBezTo>
                      <a:pt x="12642" y="8698"/>
                      <a:pt x="12533" y="8698"/>
                      <a:pt x="12502" y="8698"/>
                    </a:cubicBezTo>
                    <a:cubicBezTo>
                      <a:pt x="12470" y="8698"/>
                      <a:pt x="12034" y="8994"/>
                      <a:pt x="11909" y="9026"/>
                    </a:cubicBezTo>
                    <a:lnTo>
                      <a:pt x="11909" y="9026"/>
                    </a:lnTo>
                    <a:cubicBezTo>
                      <a:pt x="11559" y="9339"/>
                      <a:pt x="11189" y="9631"/>
                      <a:pt x="10803" y="9899"/>
                    </a:cubicBezTo>
                    <a:cubicBezTo>
                      <a:pt x="11707" y="9306"/>
                      <a:pt x="10662" y="10351"/>
                      <a:pt x="10460" y="10351"/>
                    </a:cubicBezTo>
                    <a:cubicBezTo>
                      <a:pt x="10865" y="10351"/>
                      <a:pt x="10647" y="10694"/>
                      <a:pt x="10460" y="10974"/>
                    </a:cubicBezTo>
                    <a:lnTo>
                      <a:pt x="10460" y="10974"/>
                    </a:lnTo>
                    <a:cubicBezTo>
                      <a:pt x="10447" y="11120"/>
                      <a:pt x="10410" y="11262"/>
                      <a:pt x="10350" y="11395"/>
                    </a:cubicBezTo>
                    <a:cubicBezTo>
                      <a:pt x="10460" y="11395"/>
                      <a:pt x="10444" y="11520"/>
                      <a:pt x="10553" y="11520"/>
                    </a:cubicBezTo>
                    <a:lnTo>
                      <a:pt x="10553" y="11520"/>
                    </a:lnTo>
                    <a:cubicBezTo>
                      <a:pt x="10113" y="11959"/>
                      <a:pt x="9735" y="12458"/>
                      <a:pt x="9431" y="13001"/>
                    </a:cubicBezTo>
                    <a:cubicBezTo>
                      <a:pt x="9618" y="13001"/>
                      <a:pt x="9571" y="13001"/>
                      <a:pt x="9758" y="12876"/>
                    </a:cubicBezTo>
                    <a:cubicBezTo>
                      <a:pt x="9758" y="12954"/>
                      <a:pt x="9571" y="13110"/>
                      <a:pt x="9665" y="13172"/>
                    </a:cubicBezTo>
                    <a:cubicBezTo>
                      <a:pt x="10043" y="12406"/>
                      <a:pt x="10669" y="11791"/>
                      <a:pt x="11442" y="11426"/>
                    </a:cubicBezTo>
                    <a:cubicBezTo>
                      <a:pt x="11894" y="10912"/>
                      <a:pt x="12237" y="10288"/>
                      <a:pt x="12704" y="10117"/>
                    </a:cubicBezTo>
                    <a:lnTo>
                      <a:pt x="12704" y="10117"/>
                    </a:lnTo>
                    <a:cubicBezTo>
                      <a:pt x="12782" y="10117"/>
                      <a:pt x="12813" y="9961"/>
                      <a:pt x="12891" y="9961"/>
                    </a:cubicBezTo>
                    <a:cubicBezTo>
                      <a:pt x="12969" y="9961"/>
                      <a:pt x="12891" y="9867"/>
                      <a:pt x="13000" y="9852"/>
                    </a:cubicBezTo>
                    <a:cubicBezTo>
                      <a:pt x="13110" y="9836"/>
                      <a:pt x="14060" y="8901"/>
                      <a:pt x="13686" y="9446"/>
                    </a:cubicBezTo>
                    <a:cubicBezTo>
                      <a:pt x="13686" y="9446"/>
                      <a:pt x="13842" y="9446"/>
                      <a:pt x="13795" y="9446"/>
                    </a:cubicBezTo>
                    <a:lnTo>
                      <a:pt x="13795" y="9446"/>
                    </a:lnTo>
                    <a:cubicBezTo>
                      <a:pt x="14076" y="9446"/>
                      <a:pt x="13795" y="9446"/>
                      <a:pt x="13889" y="9587"/>
                    </a:cubicBezTo>
                    <a:cubicBezTo>
                      <a:pt x="13983" y="9727"/>
                      <a:pt x="13795" y="9665"/>
                      <a:pt x="13764" y="9711"/>
                    </a:cubicBezTo>
                    <a:lnTo>
                      <a:pt x="13764" y="9711"/>
                    </a:lnTo>
                    <a:cubicBezTo>
                      <a:pt x="13764" y="9711"/>
                      <a:pt x="13764" y="9805"/>
                      <a:pt x="13764" y="9852"/>
                    </a:cubicBezTo>
                    <a:lnTo>
                      <a:pt x="13764" y="9852"/>
                    </a:lnTo>
                    <a:cubicBezTo>
                      <a:pt x="13764" y="9852"/>
                      <a:pt x="13764" y="9930"/>
                      <a:pt x="13764" y="9930"/>
                    </a:cubicBezTo>
                    <a:lnTo>
                      <a:pt x="13764" y="9930"/>
                    </a:lnTo>
                    <a:cubicBezTo>
                      <a:pt x="13764" y="9930"/>
                      <a:pt x="13764" y="10008"/>
                      <a:pt x="13655" y="10054"/>
                    </a:cubicBezTo>
                    <a:lnTo>
                      <a:pt x="13655" y="10054"/>
                    </a:lnTo>
                    <a:lnTo>
                      <a:pt x="13655" y="10054"/>
                    </a:lnTo>
                    <a:lnTo>
                      <a:pt x="13655" y="10054"/>
                    </a:lnTo>
                    <a:lnTo>
                      <a:pt x="13655" y="10054"/>
                    </a:lnTo>
                    <a:lnTo>
                      <a:pt x="13655" y="10054"/>
                    </a:lnTo>
                    <a:cubicBezTo>
                      <a:pt x="13795" y="10054"/>
                      <a:pt x="13655" y="10132"/>
                      <a:pt x="13655" y="10179"/>
                    </a:cubicBezTo>
                    <a:cubicBezTo>
                      <a:pt x="13655" y="10226"/>
                      <a:pt x="13749" y="10086"/>
                      <a:pt x="13795" y="10101"/>
                    </a:cubicBezTo>
                    <a:cubicBezTo>
                      <a:pt x="13842" y="10117"/>
                      <a:pt x="13530" y="10288"/>
                      <a:pt x="13421" y="10444"/>
                    </a:cubicBezTo>
                    <a:lnTo>
                      <a:pt x="13421" y="10444"/>
                    </a:lnTo>
                    <a:cubicBezTo>
                      <a:pt x="13421" y="10444"/>
                      <a:pt x="13297" y="10553"/>
                      <a:pt x="13234" y="10444"/>
                    </a:cubicBezTo>
                    <a:cubicBezTo>
                      <a:pt x="13406" y="10600"/>
                      <a:pt x="12985" y="10927"/>
                      <a:pt x="13000" y="10881"/>
                    </a:cubicBezTo>
                    <a:cubicBezTo>
                      <a:pt x="13016" y="10834"/>
                      <a:pt x="13000" y="11021"/>
                      <a:pt x="13000" y="10881"/>
                    </a:cubicBezTo>
                    <a:cubicBezTo>
                      <a:pt x="13000" y="10740"/>
                      <a:pt x="12813" y="11130"/>
                      <a:pt x="12720" y="11224"/>
                    </a:cubicBezTo>
                    <a:cubicBezTo>
                      <a:pt x="12969" y="11052"/>
                      <a:pt x="13032" y="11021"/>
                      <a:pt x="12720" y="11224"/>
                    </a:cubicBezTo>
                    <a:cubicBezTo>
                      <a:pt x="12720" y="11224"/>
                      <a:pt x="12985" y="11005"/>
                      <a:pt x="12985" y="11099"/>
                    </a:cubicBezTo>
                    <a:cubicBezTo>
                      <a:pt x="12985" y="11192"/>
                      <a:pt x="13125" y="10990"/>
                      <a:pt x="13203" y="10959"/>
                    </a:cubicBezTo>
                    <a:cubicBezTo>
                      <a:pt x="13217" y="11010"/>
                      <a:pt x="13217" y="11063"/>
                      <a:pt x="13203" y="11114"/>
                    </a:cubicBezTo>
                    <a:cubicBezTo>
                      <a:pt x="13203" y="11037"/>
                      <a:pt x="13577" y="10709"/>
                      <a:pt x="13608" y="10818"/>
                    </a:cubicBezTo>
                    <a:cubicBezTo>
                      <a:pt x="13640" y="10927"/>
                      <a:pt x="13608" y="10818"/>
                      <a:pt x="13608" y="10818"/>
                    </a:cubicBezTo>
                    <a:cubicBezTo>
                      <a:pt x="13608" y="10818"/>
                      <a:pt x="13608" y="10725"/>
                      <a:pt x="13733" y="10725"/>
                    </a:cubicBezTo>
                    <a:lnTo>
                      <a:pt x="13733" y="10725"/>
                    </a:lnTo>
                    <a:cubicBezTo>
                      <a:pt x="13733" y="10647"/>
                      <a:pt x="14138" y="10397"/>
                      <a:pt x="14014" y="10507"/>
                    </a:cubicBezTo>
                    <a:lnTo>
                      <a:pt x="14014" y="10507"/>
                    </a:lnTo>
                    <a:cubicBezTo>
                      <a:pt x="14014" y="10507"/>
                      <a:pt x="14014" y="10616"/>
                      <a:pt x="13905" y="10616"/>
                    </a:cubicBezTo>
                    <a:cubicBezTo>
                      <a:pt x="13795" y="10616"/>
                      <a:pt x="13905" y="10616"/>
                      <a:pt x="13905" y="10694"/>
                    </a:cubicBezTo>
                    <a:lnTo>
                      <a:pt x="13905" y="10694"/>
                    </a:lnTo>
                    <a:cubicBezTo>
                      <a:pt x="13811" y="10694"/>
                      <a:pt x="13905" y="10849"/>
                      <a:pt x="13749" y="10896"/>
                    </a:cubicBezTo>
                    <a:cubicBezTo>
                      <a:pt x="13593" y="10943"/>
                      <a:pt x="13749" y="11005"/>
                      <a:pt x="13749" y="10896"/>
                    </a:cubicBezTo>
                    <a:cubicBezTo>
                      <a:pt x="13749" y="10787"/>
                      <a:pt x="13421" y="11037"/>
                      <a:pt x="13749" y="11021"/>
                    </a:cubicBezTo>
                    <a:cubicBezTo>
                      <a:pt x="14076" y="11005"/>
                      <a:pt x="13577" y="11161"/>
                      <a:pt x="13749" y="11114"/>
                    </a:cubicBezTo>
                    <a:cubicBezTo>
                      <a:pt x="13920" y="11068"/>
                      <a:pt x="13608" y="11270"/>
                      <a:pt x="13593" y="11114"/>
                    </a:cubicBezTo>
                    <a:cubicBezTo>
                      <a:pt x="13577" y="10959"/>
                      <a:pt x="13593" y="11192"/>
                      <a:pt x="13593" y="11208"/>
                    </a:cubicBezTo>
                    <a:cubicBezTo>
                      <a:pt x="13593" y="11224"/>
                      <a:pt x="13702" y="11208"/>
                      <a:pt x="13749" y="11208"/>
                    </a:cubicBezTo>
                    <a:cubicBezTo>
                      <a:pt x="13795" y="11208"/>
                      <a:pt x="13577" y="11208"/>
                      <a:pt x="13515" y="11348"/>
                    </a:cubicBezTo>
                    <a:cubicBezTo>
                      <a:pt x="13733" y="11348"/>
                      <a:pt x="13655" y="11348"/>
                      <a:pt x="13515" y="11442"/>
                    </a:cubicBezTo>
                    <a:cubicBezTo>
                      <a:pt x="13375" y="11535"/>
                      <a:pt x="13515" y="11442"/>
                      <a:pt x="13608" y="11442"/>
                    </a:cubicBezTo>
                    <a:cubicBezTo>
                      <a:pt x="13623" y="11509"/>
                      <a:pt x="13580" y="11575"/>
                      <a:pt x="13512" y="11590"/>
                    </a:cubicBezTo>
                    <a:cubicBezTo>
                      <a:pt x="13487" y="11595"/>
                      <a:pt x="13461" y="11592"/>
                      <a:pt x="13437" y="11582"/>
                    </a:cubicBezTo>
                    <a:cubicBezTo>
                      <a:pt x="13437" y="11582"/>
                      <a:pt x="13577" y="11660"/>
                      <a:pt x="13437" y="11722"/>
                    </a:cubicBezTo>
                    <a:cubicBezTo>
                      <a:pt x="13608" y="11816"/>
                      <a:pt x="13250" y="11941"/>
                      <a:pt x="13219" y="11878"/>
                    </a:cubicBezTo>
                    <a:cubicBezTo>
                      <a:pt x="13188" y="11816"/>
                      <a:pt x="13219" y="12128"/>
                      <a:pt x="13078" y="12081"/>
                    </a:cubicBezTo>
                    <a:cubicBezTo>
                      <a:pt x="12938" y="12034"/>
                      <a:pt x="13312" y="12081"/>
                      <a:pt x="13188" y="12174"/>
                    </a:cubicBezTo>
                    <a:cubicBezTo>
                      <a:pt x="13063" y="12268"/>
                      <a:pt x="13188" y="12174"/>
                      <a:pt x="13188" y="12252"/>
                    </a:cubicBezTo>
                    <a:cubicBezTo>
                      <a:pt x="13188" y="12330"/>
                      <a:pt x="13188" y="12252"/>
                      <a:pt x="13188" y="12362"/>
                    </a:cubicBezTo>
                    <a:lnTo>
                      <a:pt x="13281" y="12362"/>
                    </a:lnTo>
                    <a:cubicBezTo>
                      <a:pt x="13281" y="12439"/>
                      <a:pt x="13094" y="12595"/>
                      <a:pt x="13000" y="12564"/>
                    </a:cubicBezTo>
                    <a:cubicBezTo>
                      <a:pt x="12907" y="12533"/>
                      <a:pt x="13141" y="12564"/>
                      <a:pt x="13203" y="12564"/>
                    </a:cubicBezTo>
                    <a:cubicBezTo>
                      <a:pt x="13000" y="12751"/>
                      <a:pt x="13203" y="12564"/>
                      <a:pt x="13203" y="12564"/>
                    </a:cubicBezTo>
                    <a:cubicBezTo>
                      <a:pt x="13203" y="12564"/>
                      <a:pt x="13203" y="12564"/>
                      <a:pt x="13063" y="12704"/>
                    </a:cubicBezTo>
                    <a:cubicBezTo>
                      <a:pt x="13063" y="12704"/>
                      <a:pt x="13328" y="12533"/>
                      <a:pt x="13203" y="12704"/>
                    </a:cubicBezTo>
                    <a:lnTo>
                      <a:pt x="13203" y="12704"/>
                    </a:lnTo>
                    <a:cubicBezTo>
                      <a:pt x="13203" y="12704"/>
                      <a:pt x="13125" y="12798"/>
                      <a:pt x="13110" y="12845"/>
                    </a:cubicBezTo>
                    <a:cubicBezTo>
                      <a:pt x="13094" y="12892"/>
                      <a:pt x="13390" y="12845"/>
                      <a:pt x="13203" y="12845"/>
                    </a:cubicBezTo>
                    <a:cubicBezTo>
                      <a:pt x="13437" y="13016"/>
                      <a:pt x="12891" y="12923"/>
                      <a:pt x="12813" y="13032"/>
                    </a:cubicBezTo>
                    <a:cubicBezTo>
                      <a:pt x="13219" y="13032"/>
                      <a:pt x="12689" y="13032"/>
                      <a:pt x="12611" y="13157"/>
                    </a:cubicBezTo>
                    <a:cubicBezTo>
                      <a:pt x="12587" y="13102"/>
                      <a:pt x="12587" y="13040"/>
                      <a:pt x="12611" y="12985"/>
                    </a:cubicBezTo>
                    <a:cubicBezTo>
                      <a:pt x="12611" y="13110"/>
                      <a:pt x="12611" y="13188"/>
                      <a:pt x="12517" y="13281"/>
                    </a:cubicBezTo>
                    <a:cubicBezTo>
                      <a:pt x="12689" y="13281"/>
                      <a:pt x="12876" y="13016"/>
                      <a:pt x="13094" y="13079"/>
                    </a:cubicBezTo>
                    <a:cubicBezTo>
                      <a:pt x="12985" y="12938"/>
                      <a:pt x="13437" y="13079"/>
                      <a:pt x="13094" y="13266"/>
                    </a:cubicBezTo>
                    <a:cubicBezTo>
                      <a:pt x="13094" y="13266"/>
                      <a:pt x="13094" y="13266"/>
                      <a:pt x="13094" y="13266"/>
                    </a:cubicBezTo>
                    <a:cubicBezTo>
                      <a:pt x="13094" y="13266"/>
                      <a:pt x="13343" y="13125"/>
                      <a:pt x="13219" y="13266"/>
                    </a:cubicBezTo>
                    <a:cubicBezTo>
                      <a:pt x="13094" y="13406"/>
                      <a:pt x="13312" y="13266"/>
                      <a:pt x="13297" y="13266"/>
                    </a:cubicBezTo>
                    <a:cubicBezTo>
                      <a:pt x="13281" y="13266"/>
                      <a:pt x="13297" y="13422"/>
                      <a:pt x="13156" y="13406"/>
                    </a:cubicBezTo>
                    <a:cubicBezTo>
                      <a:pt x="13250" y="13406"/>
                      <a:pt x="13032" y="13609"/>
                      <a:pt x="13032" y="13499"/>
                    </a:cubicBezTo>
                    <a:cubicBezTo>
                      <a:pt x="13032" y="13390"/>
                      <a:pt x="13203" y="13655"/>
                      <a:pt x="13032" y="13624"/>
                    </a:cubicBezTo>
                    <a:cubicBezTo>
                      <a:pt x="13234" y="13718"/>
                      <a:pt x="12595" y="13983"/>
                      <a:pt x="12564" y="13874"/>
                    </a:cubicBezTo>
                    <a:cubicBezTo>
                      <a:pt x="12533" y="13764"/>
                      <a:pt x="12455" y="13874"/>
                      <a:pt x="12564" y="13874"/>
                    </a:cubicBezTo>
                    <a:cubicBezTo>
                      <a:pt x="12143" y="14232"/>
                      <a:pt x="11800" y="14279"/>
                      <a:pt x="11426" y="13983"/>
                    </a:cubicBezTo>
                    <a:cubicBezTo>
                      <a:pt x="11426" y="13983"/>
                      <a:pt x="11083" y="13983"/>
                      <a:pt x="11114" y="13842"/>
                    </a:cubicBezTo>
                    <a:cubicBezTo>
                      <a:pt x="10553" y="14185"/>
                      <a:pt x="10039" y="14544"/>
                      <a:pt x="9462" y="14856"/>
                    </a:cubicBezTo>
                    <a:cubicBezTo>
                      <a:pt x="9846" y="14695"/>
                      <a:pt x="10278" y="14695"/>
                      <a:pt x="10662" y="14856"/>
                    </a:cubicBezTo>
                    <a:cubicBezTo>
                      <a:pt x="10622" y="14910"/>
                      <a:pt x="10568" y="14953"/>
                      <a:pt x="10506" y="14980"/>
                    </a:cubicBezTo>
                    <a:cubicBezTo>
                      <a:pt x="10662" y="14980"/>
                      <a:pt x="10304" y="15323"/>
                      <a:pt x="10506" y="15370"/>
                    </a:cubicBezTo>
                    <a:cubicBezTo>
                      <a:pt x="10350" y="15448"/>
                      <a:pt x="10647" y="15666"/>
                      <a:pt x="10740" y="15542"/>
                    </a:cubicBezTo>
                    <a:cubicBezTo>
                      <a:pt x="10740" y="15542"/>
                      <a:pt x="10865" y="15666"/>
                      <a:pt x="10740" y="15651"/>
                    </a:cubicBezTo>
                    <a:cubicBezTo>
                      <a:pt x="10958" y="15651"/>
                      <a:pt x="10148" y="15900"/>
                      <a:pt x="10210" y="15760"/>
                    </a:cubicBezTo>
                    <a:cubicBezTo>
                      <a:pt x="10075" y="15886"/>
                      <a:pt x="9929" y="16001"/>
                      <a:pt x="9774" y="16103"/>
                    </a:cubicBezTo>
                    <a:lnTo>
                      <a:pt x="9774" y="16103"/>
                    </a:lnTo>
                    <a:cubicBezTo>
                      <a:pt x="9680" y="16103"/>
                      <a:pt x="9774" y="15962"/>
                      <a:pt x="9774" y="16009"/>
                    </a:cubicBezTo>
                    <a:cubicBezTo>
                      <a:pt x="9774" y="15807"/>
                      <a:pt x="10319" y="15417"/>
                      <a:pt x="10319" y="15682"/>
                    </a:cubicBezTo>
                    <a:cubicBezTo>
                      <a:pt x="10319" y="15588"/>
                      <a:pt x="10428" y="15682"/>
                      <a:pt x="10475" y="15604"/>
                    </a:cubicBezTo>
                    <a:cubicBezTo>
                      <a:pt x="10195" y="15495"/>
                      <a:pt x="10195" y="15604"/>
                      <a:pt x="10475" y="15401"/>
                    </a:cubicBezTo>
                    <a:lnTo>
                      <a:pt x="10475" y="15401"/>
                    </a:lnTo>
                    <a:lnTo>
                      <a:pt x="10475" y="15401"/>
                    </a:lnTo>
                    <a:cubicBezTo>
                      <a:pt x="10475" y="15495"/>
                      <a:pt x="10023" y="15651"/>
                      <a:pt x="10195" y="15401"/>
                    </a:cubicBezTo>
                    <a:cubicBezTo>
                      <a:pt x="10070" y="15542"/>
                      <a:pt x="10023" y="15495"/>
                      <a:pt x="9914" y="15401"/>
                    </a:cubicBezTo>
                    <a:cubicBezTo>
                      <a:pt x="9805" y="15308"/>
                      <a:pt x="9914" y="15510"/>
                      <a:pt x="9914" y="15573"/>
                    </a:cubicBezTo>
                    <a:cubicBezTo>
                      <a:pt x="9914" y="15635"/>
                      <a:pt x="9914" y="15729"/>
                      <a:pt x="9914" y="15573"/>
                    </a:cubicBezTo>
                    <a:cubicBezTo>
                      <a:pt x="9914" y="15417"/>
                      <a:pt x="9618" y="15713"/>
                      <a:pt x="9680" y="15573"/>
                    </a:cubicBezTo>
                    <a:cubicBezTo>
                      <a:pt x="9743" y="15432"/>
                      <a:pt x="9509" y="15651"/>
                      <a:pt x="9680" y="15573"/>
                    </a:cubicBezTo>
                    <a:cubicBezTo>
                      <a:pt x="9852" y="15495"/>
                      <a:pt x="9571" y="15697"/>
                      <a:pt x="9509" y="15729"/>
                    </a:cubicBezTo>
                    <a:lnTo>
                      <a:pt x="9509" y="15729"/>
                    </a:lnTo>
                    <a:cubicBezTo>
                      <a:pt x="9509" y="15729"/>
                      <a:pt x="9509" y="15807"/>
                      <a:pt x="9509" y="15729"/>
                    </a:cubicBezTo>
                    <a:cubicBezTo>
                      <a:pt x="9509" y="15651"/>
                      <a:pt x="9400" y="15853"/>
                      <a:pt x="9509" y="15729"/>
                    </a:cubicBezTo>
                    <a:cubicBezTo>
                      <a:pt x="9306" y="15729"/>
                      <a:pt x="8823" y="16648"/>
                      <a:pt x="9150" y="16337"/>
                    </a:cubicBezTo>
                    <a:cubicBezTo>
                      <a:pt x="9150" y="16461"/>
                      <a:pt x="8932" y="16633"/>
                      <a:pt x="8994" y="16414"/>
                    </a:cubicBezTo>
                    <a:cubicBezTo>
                      <a:pt x="8870" y="16570"/>
                      <a:pt x="8885" y="16555"/>
                      <a:pt x="8901" y="16414"/>
                    </a:cubicBezTo>
                    <a:cubicBezTo>
                      <a:pt x="8495" y="16565"/>
                      <a:pt x="8153" y="16851"/>
                      <a:pt x="7934" y="17225"/>
                    </a:cubicBezTo>
                    <a:lnTo>
                      <a:pt x="7934" y="17225"/>
                    </a:lnTo>
                    <a:lnTo>
                      <a:pt x="7934" y="17225"/>
                    </a:lnTo>
                    <a:cubicBezTo>
                      <a:pt x="7934" y="17225"/>
                      <a:pt x="7934" y="17085"/>
                      <a:pt x="7934" y="17007"/>
                    </a:cubicBezTo>
                    <a:cubicBezTo>
                      <a:pt x="7810" y="17225"/>
                      <a:pt x="7794" y="17506"/>
                      <a:pt x="7591" y="17693"/>
                    </a:cubicBezTo>
                    <a:lnTo>
                      <a:pt x="7591" y="17693"/>
                    </a:lnTo>
                    <a:lnTo>
                      <a:pt x="7498" y="17833"/>
                    </a:lnTo>
                    <a:cubicBezTo>
                      <a:pt x="7531" y="17730"/>
                      <a:pt x="7584" y="17635"/>
                      <a:pt x="7654" y="17552"/>
                    </a:cubicBezTo>
                    <a:cubicBezTo>
                      <a:pt x="7654" y="17552"/>
                      <a:pt x="7654" y="17474"/>
                      <a:pt x="7654" y="17443"/>
                    </a:cubicBezTo>
                    <a:lnTo>
                      <a:pt x="7654" y="17443"/>
                    </a:lnTo>
                    <a:cubicBezTo>
                      <a:pt x="7654" y="17256"/>
                      <a:pt x="7810" y="17116"/>
                      <a:pt x="7872" y="16944"/>
                    </a:cubicBezTo>
                    <a:cubicBezTo>
                      <a:pt x="7755" y="17096"/>
                      <a:pt x="7660" y="17264"/>
                      <a:pt x="7591" y="17443"/>
                    </a:cubicBezTo>
                    <a:cubicBezTo>
                      <a:pt x="7591" y="17350"/>
                      <a:pt x="7591" y="17272"/>
                      <a:pt x="7591" y="17178"/>
                    </a:cubicBezTo>
                    <a:cubicBezTo>
                      <a:pt x="7591" y="17085"/>
                      <a:pt x="7591" y="17771"/>
                      <a:pt x="7591" y="17537"/>
                    </a:cubicBezTo>
                    <a:cubicBezTo>
                      <a:pt x="7591" y="17537"/>
                      <a:pt x="7591" y="17786"/>
                      <a:pt x="7591" y="17724"/>
                    </a:cubicBezTo>
                    <a:cubicBezTo>
                      <a:pt x="7591" y="17662"/>
                      <a:pt x="7591" y="17802"/>
                      <a:pt x="7591" y="17833"/>
                    </a:cubicBezTo>
                    <a:cubicBezTo>
                      <a:pt x="7600" y="17792"/>
                      <a:pt x="7600" y="17749"/>
                      <a:pt x="7591" y="17708"/>
                    </a:cubicBezTo>
                    <a:cubicBezTo>
                      <a:pt x="7591" y="17833"/>
                      <a:pt x="7716" y="17895"/>
                      <a:pt x="7591" y="18020"/>
                    </a:cubicBezTo>
                    <a:lnTo>
                      <a:pt x="7591" y="18020"/>
                    </a:lnTo>
                    <a:cubicBezTo>
                      <a:pt x="7591" y="18145"/>
                      <a:pt x="7420" y="18285"/>
                      <a:pt x="7451" y="18129"/>
                    </a:cubicBezTo>
                    <a:cubicBezTo>
                      <a:pt x="7482" y="17973"/>
                      <a:pt x="7451" y="18223"/>
                      <a:pt x="7451" y="18238"/>
                    </a:cubicBezTo>
                    <a:cubicBezTo>
                      <a:pt x="7451" y="18254"/>
                      <a:pt x="7529" y="18238"/>
                      <a:pt x="7545" y="18363"/>
                    </a:cubicBezTo>
                    <a:cubicBezTo>
                      <a:pt x="7536" y="18332"/>
                      <a:pt x="7536" y="18300"/>
                      <a:pt x="7545" y="18269"/>
                    </a:cubicBezTo>
                    <a:cubicBezTo>
                      <a:pt x="7545" y="18363"/>
                      <a:pt x="7545" y="18410"/>
                      <a:pt x="7420" y="18472"/>
                    </a:cubicBezTo>
                    <a:cubicBezTo>
                      <a:pt x="7295" y="18534"/>
                      <a:pt x="7420" y="18472"/>
                      <a:pt x="7420" y="18379"/>
                    </a:cubicBezTo>
                    <a:cubicBezTo>
                      <a:pt x="7420" y="18285"/>
                      <a:pt x="7420" y="18379"/>
                      <a:pt x="7420" y="18379"/>
                    </a:cubicBezTo>
                    <a:cubicBezTo>
                      <a:pt x="7420" y="18379"/>
                      <a:pt x="7420" y="18581"/>
                      <a:pt x="7420" y="18503"/>
                    </a:cubicBezTo>
                    <a:lnTo>
                      <a:pt x="7420" y="18503"/>
                    </a:lnTo>
                    <a:lnTo>
                      <a:pt x="7420" y="18503"/>
                    </a:lnTo>
                    <a:lnTo>
                      <a:pt x="7420" y="18503"/>
                    </a:lnTo>
                    <a:cubicBezTo>
                      <a:pt x="6344" y="18503"/>
                      <a:pt x="5861" y="22681"/>
                      <a:pt x="5970" y="20857"/>
                    </a:cubicBezTo>
                    <a:cubicBezTo>
                      <a:pt x="5970" y="20857"/>
                      <a:pt x="5970" y="20857"/>
                      <a:pt x="5970" y="20857"/>
                    </a:cubicBezTo>
                    <a:cubicBezTo>
                      <a:pt x="5970" y="20857"/>
                      <a:pt x="5970" y="20857"/>
                      <a:pt x="5970" y="20857"/>
                    </a:cubicBezTo>
                    <a:lnTo>
                      <a:pt x="5970" y="20857"/>
                    </a:lnTo>
                    <a:cubicBezTo>
                      <a:pt x="5970" y="20764"/>
                      <a:pt x="5970" y="20608"/>
                      <a:pt x="5970" y="20514"/>
                    </a:cubicBezTo>
                    <a:cubicBezTo>
                      <a:pt x="5970" y="20421"/>
                      <a:pt x="5970" y="20514"/>
                      <a:pt x="5970" y="20608"/>
                    </a:cubicBezTo>
                    <a:cubicBezTo>
                      <a:pt x="5970" y="20701"/>
                      <a:pt x="6220" y="19766"/>
                      <a:pt x="5970" y="19735"/>
                    </a:cubicBezTo>
                    <a:cubicBezTo>
                      <a:pt x="5721" y="19704"/>
                      <a:pt x="5877" y="19828"/>
                      <a:pt x="5970" y="19735"/>
                    </a:cubicBezTo>
                    <a:lnTo>
                      <a:pt x="5970" y="19735"/>
                    </a:lnTo>
                    <a:lnTo>
                      <a:pt x="5970" y="19735"/>
                    </a:lnTo>
                    <a:cubicBezTo>
                      <a:pt x="5970" y="19735"/>
                      <a:pt x="5970" y="19579"/>
                      <a:pt x="5970" y="19641"/>
                    </a:cubicBezTo>
                    <a:cubicBezTo>
                      <a:pt x="5978" y="19605"/>
                      <a:pt x="5978" y="19568"/>
                      <a:pt x="5970" y="19532"/>
                    </a:cubicBezTo>
                    <a:lnTo>
                      <a:pt x="5970" y="19532"/>
                    </a:lnTo>
                    <a:cubicBezTo>
                      <a:pt x="5970" y="19532"/>
                      <a:pt x="5970" y="19454"/>
                      <a:pt x="5970" y="19407"/>
                    </a:cubicBezTo>
                    <a:lnTo>
                      <a:pt x="5970" y="19407"/>
                    </a:lnTo>
                    <a:cubicBezTo>
                      <a:pt x="5970" y="19407"/>
                      <a:pt x="5970" y="19407"/>
                      <a:pt x="5970" y="19407"/>
                    </a:cubicBezTo>
                    <a:cubicBezTo>
                      <a:pt x="5970" y="19407"/>
                      <a:pt x="5970" y="19407"/>
                      <a:pt x="5970" y="19407"/>
                    </a:cubicBezTo>
                    <a:cubicBezTo>
                      <a:pt x="5970" y="19407"/>
                      <a:pt x="5970" y="19314"/>
                      <a:pt x="5970" y="19267"/>
                    </a:cubicBezTo>
                    <a:lnTo>
                      <a:pt x="5970" y="19361"/>
                    </a:lnTo>
                    <a:cubicBezTo>
                      <a:pt x="5970" y="19267"/>
                      <a:pt x="5799" y="19361"/>
                      <a:pt x="5783" y="19470"/>
                    </a:cubicBezTo>
                    <a:lnTo>
                      <a:pt x="5783" y="19470"/>
                    </a:lnTo>
                    <a:cubicBezTo>
                      <a:pt x="5783" y="19641"/>
                      <a:pt x="5783" y="19750"/>
                      <a:pt x="5783" y="19828"/>
                    </a:cubicBezTo>
                    <a:cubicBezTo>
                      <a:pt x="5783" y="19906"/>
                      <a:pt x="5783" y="19485"/>
                      <a:pt x="5783" y="19750"/>
                    </a:cubicBezTo>
                    <a:lnTo>
                      <a:pt x="5783" y="19657"/>
                    </a:lnTo>
                    <a:cubicBezTo>
                      <a:pt x="5783" y="19548"/>
                      <a:pt x="5783" y="19485"/>
                      <a:pt x="5783" y="19376"/>
                    </a:cubicBezTo>
                    <a:cubicBezTo>
                      <a:pt x="5783" y="19267"/>
                      <a:pt x="5783" y="19376"/>
                      <a:pt x="5783" y="19376"/>
                    </a:cubicBezTo>
                    <a:cubicBezTo>
                      <a:pt x="5783" y="19594"/>
                      <a:pt x="5783" y="19127"/>
                      <a:pt x="5612" y="19376"/>
                    </a:cubicBezTo>
                    <a:cubicBezTo>
                      <a:pt x="5612" y="19376"/>
                      <a:pt x="5612" y="19236"/>
                      <a:pt x="5612" y="19174"/>
                    </a:cubicBezTo>
                    <a:cubicBezTo>
                      <a:pt x="5612" y="19111"/>
                      <a:pt x="5612" y="19283"/>
                      <a:pt x="5612" y="19174"/>
                    </a:cubicBezTo>
                    <a:cubicBezTo>
                      <a:pt x="5621" y="19251"/>
                      <a:pt x="5621" y="19330"/>
                      <a:pt x="5612" y="19407"/>
                    </a:cubicBezTo>
                    <a:lnTo>
                      <a:pt x="5612" y="19407"/>
                    </a:lnTo>
                    <a:lnTo>
                      <a:pt x="5612" y="19517"/>
                    </a:lnTo>
                    <a:lnTo>
                      <a:pt x="5612" y="19517"/>
                    </a:lnTo>
                    <a:cubicBezTo>
                      <a:pt x="5612" y="19594"/>
                      <a:pt x="5612" y="19517"/>
                      <a:pt x="5612" y="19517"/>
                    </a:cubicBezTo>
                    <a:lnTo>
                      <a:pt x="5612" y="19517"/>
                    </a:lnTo>
                    <a:cubicBezTo>
                      <a:pt x="5612" y="19517"/>
                      <a:pt x="5612" y="19517"/>
                      <a:pt x="5612" y="19517"/>
                    </a:cubicBezTo>
                    <a:lnTo>
                      <a:pt x="5612" y="19517"/>
                    </a:lnTo>
                    <a:cubicBezTo>
                      <a:pt x="5612" y="19517"/>
                      <a:pt x="5612" y="19610"/>
                      <a:pt x="5612" y="19610"/>
                    </a:cubicBezTo>
                    <a:lnTo>
                      <a:pt x="5612" y="19610"/>
                    </a:lnTo>
                    <a:cubicBezTo>
                      <a:pt x="5523" y="19891"/>
                      <a:pt x="5450" y="20178"/>
                      <a:pt x="5393" y="20467"/>
                    </a:cubicBezTo>
                    <a:cubicBezTo>
                      <a:pt x="5393" y="20467"/>
                      <a:pt x="5393" y="20358"/>
                      <a:pt x="5393" y="20327"/>
                    </a:cubicBezTo>
                    <a:cubicBezTo>
                      <a:pt x="5393" y="20296"/>
                      <a:pt x="5300" y="20748"/>
                      <a:pt x="5393" y="20530"/>
                    </a:cubicBezTo>
                    <a:cubicBezTo>
                      <a:pt x="5298" y="20978"/>
                      <a:pt x="5225" y="21430"/>
                      <a:pt x="5175" y="21886"/>
                    </a:cubicBezTo>
                    <a:cubicBezTo>
                      <a:pt x="5144" y="22306"/>
                      <a:pt x="5144" y="22728"/>
                      <a:pt x="5175" y="23149"/>
                    </a:cubicBezTo>
                    <a:cubicBezTo>
                      <a:pt x="5175" y="23149"/>
                      <a:pt x="5175" y="23149"/>
                      <a:pt x="5175" y="23149"/>
                    </a:cubicBezTo>
                    <a:cubicBezTo>
                      <a:pt x="5181" y="23123"/>
                      <a:pt x="5181" y="23096"/>
                      <a:pt x="5175" y="23071"/>
                    </a:cubicBezTo>
                    <a:lnTo>
                      <a:pt x="5175" y="23071"/>
                    </a:lnTo>
                    <a:cubicBezTo>
                      <a:pt x="5175" y="23071"/>
                      <a:pt x="5175" y="23071"/>
                      <a:pt x="5175" y="23071"/>
                    </a:cubicBezTo>
                    <a:lnTo>
                      <a:pt x="5175" y="23071"/>
                    </a:lnTo>
                    <a:cubicBezTo>
                      <a:pt x="5175" y="23071"/>
                      <a:pt x="5175" y="23195"/>
                      <a:pt x="5175" y="23258"/>
                    </a:cubicBezTo>
                    <a:lnTo>
                      <a:pt x="5175" y="23258"/>
                    </a:lnTo>
                    <a:lnTo>
                      <a:pt x="5175" y="23258"/>
                    </a:lnTo>
                    <a:cubicBezTo>
                      <a:pt x="5183" y="23190"/>
                      <a:pt x="5183" y="23122"/>
                      <a:pt x="5175" y="23055"/>
                    </a:cubicBezTo>
                    <a:lnTo>
                      <a:pt x="5175" y="23055"/>
                    </a:lnTo>
                    <a:cubicBezTo>
                      <a:pt x="5316" y="22915"/>
                      <a:pt x="5175" y="22244"/>
                      <a:pt x="5440" y="22385"/>
                    </a:cubicBezTo>
                    <a:cubicBezTo>
                      <a:pt x="5440" y="22385"/>
                      <a:pt x="5440" y="22291"/>
                      <a:pt x="5440" y="22385"/>
                    </a:cubicBezTo>
                    <a:cubicBezTo>
                      <a:pt x="5440" y="22478"/>
                      <a:pt x="5440" y="22385"/>
                      <a:pt x="5440" y="22385"/>
                    </a:cubicBezTo>
                    <a:cubicBezTo>
                      <a:pt x="5440" y="22385"/>
                      <a:pt x="5440" y="22525"/>
                      <a:pt x="5440" y="22385"/>
                    </a:cubicBezTo>
                    <a:cubicBezTo>
                      <a:pt x="5534" y="22650"/>
                      <a:pt x="5269" y="22946"/>
                      <a:pt x="5316" y="23227"/>
                    </a:cubicBezTo>
                    <a:cubicBezTo>
                      <a:pt x="5316" y="23227"/>
                      <a:pt x="5316" y="23476"/>
                      <a:pt x="5316" y="23523"/>
                    </a:cubicBezTo>
                    <a:cubicBezTo>
                      <a:pt x="5277" y="23863"/>
                      <a:pt x="4970" y="24107"/>
                      <a:pt x="4630" y="24068"/>
                    </a:cubicBezTo>
                    <a:cubicBezTo>
                      <a:pt x="4290" y="24029"/>
                      <a:pt x="4045" y="23723"/>
                      <a:pt x="4084" y="23382"/>
                    </a:cubicBezTo>
                    <a:cubicBezTo>
                      <a:pt x="4084" y="23554"/>
                      <a:pt x="4084" y="23912"/>
                      <a:pt x="3991" y="24193"/>
                    </a:cubicBezTo>
                    <a:lnTo>
                      <a:pt x="3991" y="24193"/>
                    </a:lnTo>
                    <a:cubicBezTo>
                      <a:pt x="3975" y="24254"/>
                      <a:pt x="3975" y="24319"/>
                      <a:pt x="3991" y="24380"/>
                    </a:cubicBezTo>
                    <a:lnTo>
                      <a:pt x="3991" y="24380"/>
                    </a:lnTo>
                    <a:cubicBezTo>
                      <a:pt x="3991" y="24380"/>
                      <a:pt x="3991" y="24380"/>
                      <a:pt x="3991" y="24458"/>
                    </a:cubicBezTo>
                    <a:cubicBezTo>
                      <a:pt x="3991" y="24536"/>
                      <a:pt x="4178" y="24629"/>
                      <a:pt x="4162" y="24458"/>
                    </a:cubicBezTo>
                    <a:cubicBezTo>
                      <a:pt x="4162" y="24552"/>
                      <a:pt x="4162" y="24598"/>
                      <a:pt x="4287" y="24676"/>
                    </a:cubicBezTo>
                    <a:lnTo>
                      <a:pt x="4287" y="24676"/>
                    </a:lnTo>
                    <a:cubicBezTo>
                      <a:pt x="4300" y="24722"/>
                      <a:pt x="4300" y="24771"/>
                      <a:pt x="4287" y="24817"/>
                    </a:cubicBezTo>
                    <a:cubicBezTo>
                      <a:pt x="4287" y="24692"/>
                      <a:pt x="4287" y="24817"/>
                      <a:pt x="4287" y="24910"/>
                    </a:cubicBezTo>
                    <a:lnTo>
                      <a:pt x="4287" y="24910"/>
                    </a:lnTo>
                    <a:cubicBezTo>
                      <a:pt x="4326" y="25121"/>
                      <a:pt x="4326" y="25338"/>
                      <a:pt x="4287" y="25549"/>
                    </a:cubicBezTo>
                    <a:lnTo>
                      <a:pt x="4287" y="25549"/>
                    </a:lnTo>
                    <a:cubicBezTo>
                      <a:pt x="4295" y="25689"/>
                      <a:pt x="4295" y="25830"/>
                      <a:pt x="4287" y="25970"/>
                    </a:cubicBezTo>
                    <a:cubicBezTo>
                      <a:pt x="4287" y="25970"/>
                      <a:pt x="4287" y="25877"/>
                      <a:pt x="4287" y="25814"/>
                    </a:cubicBezTo>
                    <a:cubicBezTo>
                      <a:pt x="4279" y="25923"/>
                      <a:pt x="4279" y="26033"/>
                      <a:pt x="4287" y="26142"/>
                    </a:cubicBezTo>
                    <a:cubicBezTo>
                      <a:pt x="4296" y="26116"/>
                      <a:pt x="4296" y="26089"/>
                      <a:pt x="4287" y="26064"/>
                    </a:cubicBezTo>
                    <a:cubicBezTo>
                      <a:pt x="4262" y="26192"/>
                      <a:pt x="4262" y="26325"/>
                      <a:pt x="4287" y="26453"/>
                    </a:cubicBezTo>
                    <a:cubicBezTo>
                      <a:pt x="4287" y="26375"/>
                      <a:pt x="4489" y="27264"/>
                      <a:pt x="4474" y="26983"/>
                    </a:cubicBezTo>
                    <a:cubicBezTo>
                      <a:pt x="4661" y="27467"/>
                      <a:pt x="4692" y="26438"/>
                      <a:pt x="5113" y="27654"/>
                    </a:cubicBezTo>
                    <a:cubicBezTo>
                      <a:pt x="5113" y="27560"/>
                      <a:pt x="5113" y="26625"/>
                      <a:pt x="5409" y="26859"/>
                    </a:cubicBezTo>
                    <a:cubicBezTo>
                      <a:pt x="5409" y="27061"/>
                      <a:pt x="5409" y="26859"/>
                      <a:pt x="5409" y="26749"/>
                    </a:cubicBezTo>
                    <a:cubicBezTo>
                      <a:pt x="5409" y="26640"/>
                      <a:pt x="5674" y="26594"/>
                      <a:pt x="5768" y="26531"/>
                    </a:cubicBezTo>
                    <a:cubicBezTo>
                      <a:pt x="5877" y="26734"/>
                      <a:pt x="5768" y="27077"/>
                      <a:pt x="5768" y="27357"/>
                    </a:cubicBezTo>
                    <a:cubicBezTo>
                      <a:pt x="6017" y="28043"/>
                      <a:pt x="5768" y="26937"/>
                      <a:pt x="6048" y="26921"/>
                    </a:cubicBezTo>
                    <a:cubicBezTo>
                      <a:pt x="6329" y="26905"/>
                      <a:pt x="5923" y="26812"/>
                      <a:pt x="6048" y="26718"/>
                    </a:cubicBezTo>
                    <a:cubicBezTo>
                      <a:pt x="6173" y="26625"/>
                      <a:pt x="6048" y="26921"/>
                      <a:pt x="6157" y="26983"/>
                    </a:cubicBezTo>
                    <a:cubicBezTo>
                      <a:pt x="6292" y="26991"/>
                      <a:pt x="6399" y="27098"/>
                      <a:pt x="6407" y="27233"/>
                    </a:cubicBezTo>
                    <a:cubicBezTo>
                      <a:pt x="6298" y="27420"/>
                      <a:pt x="6672" y="27357"/>
                      <a:pt x="6781" y="27404"/>
                    </a:cubicBezTo>
                    <a:cubicBezTo>
                      <a:pt x="6859" y="27825"/>
                      <a:pt x="7342" y="27264"/>
                      <a:pt x="7498" y="27591"/>
                    </a:cubicBezTo>
                    <a:cubicBezTo>
                      <a:pt x="7264" y="27591"/>
                      <a:pt x="7326" y="27591"/>
                      <a:pt x="7498" y="27809"/>
                    </a:cubicBezTo>
                    <a:cubicBezTo>
                      <a:pt x="7498" y="27654"/>
                      <a:pt x="8043" y="28230"/>
                      <a:pt x="7654" y="28230"/>
                    </a:cubicBezTo>
                    <a:cubicBezTo>
                      <a:pt x="8064" y="28271"/>
                      <a:pt x="8367" y="28630"/>
                      <a:pt x="8340" y="29041"/>
                    </a:cubicBezTo>
                    <a:cubicBezTo>
                      <a:pt x="8340" y="28745"/>
                      <a:pt x="8667" y="29181"/>
                      <a:pt x="8667" y="29322"/>
                    </a:cubicBezTo>
                    <a:cubicBezTo>
                      <a:pt x="8589" y="29134"/>
                      <a:pt x="9493" y="29322"/>
                      <a:pt x="9275" y="29524"/>
                    </a:cubicBezTo>
                    <a:cubicBezTo>
                      <a:pt x="9478" y="29368"/>
                      <a:pt x="9961" y="29976"/>
                      <a:pt x="9852" y="30085"/>
                    </a:cubicBezTo>
                    <a:cubicBezTo>
                      <a:pt x="9992" y="29852"/>
                      <a:pt x="10101" y="30615"/>
                      <a:pt x="10257" y="30787"/>
                    </a:cubicBezTo>
                    <a:cubicBezTo>
                      <a:pt x="10413" y="30958"/>
                      <a:pt x="9961" y="31364"/>
                      <a:pt x="10023" y="31644"/>
                    </a:cubicBezTo>
                    <a:cubicBezTo>
                      <a:pt x="10023" y="31410"/>
                      <a:pt x="10195" y="31426"/>
                      <a:pt x="10117" y="31644"/>
                    </a:cubicBezTo>
                    <a:cubicBezTo>
                      <a:pt x="10117" y="31644"/>
                      <a:pt x="10226" y="31364"/>
                      <a:pt x="10288" y="31519"/>
                    </a:cubicBezTo>
                    <a:cubicBezTo>
                      <a:pt x="10350" y="31675"/>
                      <a:pt x="10288" y="31519"/>
                      <a:pt x="10288" y="31519"/>
                    </a:cubicBezTo>
                    <a:cubicBezTo>
                      <a:pt x="10288" y="31052"/>
                      <a:pt x="11255" y="31894"/>
                      <a:pt x="10288" y="31847"/>
                    </a:cubicBezTo>
                    <a:cubicBezTo>
                      <a:pt x="10662" y="31847"/>
                      <a:pt x="10475" y="32049"/>
                      <a:pt x="10600" y="32330"/>
                    </a:cubicBezTo>
                    <a:cubicBezTo>
                      <a:pt x="10475" y="31831"/>
                      <a:pt x="10958" y="31379"/>
                      <a:pt x="11270" y="31831"/>
                    </a:cubicBezTo>
                    <a:cubicBezTo>
                      <a:pt x="11270" y="31831"/>
                      <a:pt x="11442" y="31925"/>
                      <a:pt x="11473" y="32003"/>
                    </a:cubicBezTo>
                    <a:cubicBezTo>
                      <a:pt x="11504" y="32081"/>
                      <a:pt x="11785" y="32096"/>
                      <a:pt x="11691" y="32190"/>
                    </a:cubicBezTo>
                    <a:cubicBezTo>
                      <a:pt x="11598" y="32283"/>
                      <a:pt x="11691" y="32424"/>
                      <a:pt x="11769" y="32517"/>
                    </a:cubicBezTo>
                    <a:cubicBezTo>
                      <a:pt x="11847" y="32611"/>
                      <a:pt x="11769" y="32205"/>
                      <a:pt x="11769" y="32408"/>
                    </a:cubicBezTo>
                    <a:cubicBezTo>
                      <a:pt x="11769" y="32268"/>
                      <a:pt x="11894" y="32314"/>
                      <a:pt x="11769" y="32221"/>
                    </a:cubicBezTo>
                    <a:cubicBezTo>
                      <a:pt x="11644" y="32127"/>
                      <a:pt x="12128" y="32455"/>
                      <a:pt x="12128" y="32346"/>
                    </a:cubicBezTo>
                    <a:cubicBezTo>
                      <a:pt x="12128" y="32237"/>
                      <a:pt x="12128" y="32346"/>
                      <a:pt x="12221" y="32439"/>
                    </a:cubicBezTo>
                    <a:cubicBezTo>
                      <a:pt x="12315" y="32533"/>
                      <a:pt x="12221" y="32439"/>
                      <a:pt x="12221" y="32439"/>
                    </a:cubicBezTo>
                    <a:lnTo>
                      <a:pt x="12221" y="32439"/>
                    </a:lnTo>
                    <a:lnTo>
                      <a:pt x="12221" y="32439"/>
                    </a:lnTo>
                    <a:cubicBezTo>
                      <a:pt x="13468" y="32813"/>
                      <a:pt x="14918" y="33998"/>
                      <a:pt x="13546" y="35323"/>
                    </a:cubicBezTo>
                    <a:cubicBezTo>
                      <a:pt x="13546" y="35245"/>
                      <a:pt x="13546" y="35105"/>
                      <a:pt x="13546" y="35229"/>
                    </a:cubicBezTo>
                    <a:cubicBezTo>
                      <a:pt x="13546" y="35354"/>
                      <a:pt x="13453" y="35229"/>
                      <a:pt x="13437" y="35229"/>
                    </a:cubicBezTo>
                    <a:lnTo>
                      <a:pt x="13437" y="35229"/>
                    </a:lnTo>
                    <a:cubicBezTo>
                      <a:pt x="13733" y="35744"/>
                      <a:pt x="14263" y="37770"/>
                      <a:pt x="13437" y="37614"/>
                    </a:cubicBezTo>
                    <a:cubicBezTo>
                      <a:pt x="13437" y="37614"/>
                      <a:pt x="13172" y="37614"/>
                      <a:pt x="13437" y="37614"/>
                    </a:cubicBezTo>
                    <a:cubicBezTo>
                      <a:pt x="13702" y="37614"/>
                      <a:pt x="13297" y="37614"/>
                      <a:pt x="13250" y="37614"/>
                    </a:cubicBezTo>
                    <a:cubicBezTo>
                      <a:pt x="13203" y="37614"/>
                      <a:pt x="13250" y="37692"/>
                      <a:pt x="13250" y="37833"/>
                    </a:cubicBezTo>
                    <a:cubicBezTo>
                      <a:pt x="13032" y="37661"/>
                      <a:pt x="12938" y="38113"/>
                      <a:pt x="12845" y="38082"/>
                    </a:cubicBezTo>
                    <a:cubicBezTo>
                      <a:pt x="12751" y="38051"/>
                      <a:pt x="12845" y="38082"/>
                      <a:pt x="12845" y="38082"/>
                    </a:cubicBezTo>
                    <a:cubicBezTo>
                      <a:pt x="12845" y="38082"/>
                      <a:pt x="12969" y="38160"/>
                      <a:pt x="12845" y="38160"/>
                    </a:cubicBezTo>
                    <a:cubicBezTo>
                      <a:pt x="12720" y="38160"/>
                      <a:pt x="12845" y="38160"/>
                      <a:pt x="12845" y="38160"/>
                    </a:cubicBezTo>
                    <a:cubicBezTo>
                      <a:pt x="12845" y="38160"/>
                      <a:pt x="13110" y="38503"/>
                      <a:pt x="13078" y="38597"/>
                    </a:cubicBezTo>
                    <a:cubicBezTo>
                      <a:pt x="13047" y="38690"/>
                      <a:pt x="13078" y="39657"/>
                      <a:pt x="13078" y="39329"/>
                    </a:cubicBezTo>
                    <a:cubicBezTo>
                      <a:pt x="13078" y="39329"/>
                      <a:pt x="13078" y="39329"/>
                      <a:pt x="13078" y="39251"/>
                    </a:cubicBezTo>
                    <a:cubicBezTo>
                      <a:pt x="13078" y="39173"/>
                      <a:pt x="13078" y="39127"/>
                      <a:pt x="13078" y="39127"/>
                    </a:cubicBezTo>
                    <a:cubicBezTo>
                      <a:pt x="13012" y="39062"/>
                      <a:pt x="12939" y="39004"/>
                      <a:pt x="12860" y="38955"/>
                    </a:cubicBezTo>
                    <a:cubicBezTo>
                      <a:pt x="12915" y="39005"/>
                      <a:pt x="12962" y="39063"/>
                      <a:pt x="13000" y="39127"/>
                    </a:cubicBezTo>
                    <a:cubicBezTo>
                      <a:pt x="13000" y="39127"/>
                      <a:pt x="13110" y="39345"/>
                      <a:pt x="13000" y="39251"/>
                    </a:cubicBezTo>
                    <a:cubicBezTo>
                      <a:pt x="13484" y="39968"/>
                      <a:pt x="13000" y="40171"/>
                      <a:pt x="12564" y="39766"/>
                    </a:cubicBezTo>
                    <a:lnTo>
                      <a:pt x="13203" y="40311"/>
                    </a:lnTo>
                    <a:lnTo>
                      <a:pt x="13203" y="40311"/>
                    </a:lnTo>
                    <a:cubicBezTo>
                      <a:pt x="13283" y="40379"/>
                      <a:pt x="13347" y="40464"/>
                      <a:pt x="13390" y="40561"/>
                    </a:cubicBezTo>
                    <a:lnTo>
                      <a:pt x="13390" y="40561"/>
                    </a:lnTo>
                    <a:cubicBezTo>
                      <a:pt x="13390" y="40561"/>
                      <a:pt x="13562" y="40794"/>
                      <a:pt x="13390" y="40732"/>
                    </a:cubicBezTo>
                    <a:cubicBezTo>
                      <a:pt x="13219" y="40670"/>
                      <a:pt x="13063" y="40732"/>
                      <a:pt x="12969" y="40732"/>
                    </a:cubicBezTo>
                    <a:cubicBezTo>
                      <a:pt x="12876" y="40732"/>
                      <a:pt x="13141" y="40872"/>
                      <a:pt x="13219" y="40950"/>
                    </a:cubicBezTo>
                    <a:lnTo>
                      <a:pt x="13219" y="40950"/>
                    </a:lnTo>
                    <a:cubicBezTo>
                      <a:pt x="13530" y="41262"/>
                      <a:pt x="13608" y="41356"/>
                      <a:pt x="13125" y="41106"/>
                    </a:cubicBezTo>
                    <a:cubicBezTo>
                      <a:pt x="13269" y="41259"/>
                      <a:pt x="13438" y="41385"/>
                      <a:pt x="13624" y="41480"/>
                    </a:cubicBezTo>
                    <a:cubicBezTo>
                      <a:pt x="13624" y="41480"/>
                      <a:pt x="13624" y="41480"/>
                      <a:pt x="13624" y="41480"/>
                    </a:cubicBezTo>
                    <a:lnTo>
                      <a:pt x="13624" y="41480"/>
                    </a:lnTo>
                    <a:cubicBezTo>
                      <a:pt x="13889" y="41683"/>
                      <a:pt x="13733" y="41699"/>
                      <a:pt x="14263" y="42073"/>
                    </a:cubicBezTo>
                    <a:lnTo>
                      <a:pt x="14263" y="42073"/>
                    </a:lnTo>
                    <a:lnTo>
                      <a:pt x="14263" y="42073"/>
                    </a:lnTo>
                    <a:lnTo>
                      <a:pt x="14263" y="42073"/>
                    </a:lnTo>
                    <a:cubicBezTo>
                      <a:pt x="14513" y="42353"/>
                      <a:pt x="14918" y="42416"/>
                      <a:pt x="15183" y="42665"/>
                    </a:cubicBezTo>
                    <a:lnTo>
                      <a:pt x="15183" y="42665"/>
                    </a:lnTo>
                    <a:lnTo>
                      <a:pt x="15183" y="42665"/>
                    </a:lnTo>
                    <a:lnTo>
                      <a:pt x="15183" y="42665"/>
                    </a:lnTo>
                    <a:lnTo>
                      <a:pt x="15323" y="42774"/>
                    </a:lnTo>
                    <a:lnTo>
                      <a:pt x="15323" y="42774"/>
                    </a:lnTo>
                    <a:lnTo>
                      <a:pt x="15510" y="42899"/>
                    </a:lnTo>
                    <a:cubicBezTo>
                      <a:pt x="15510" y="42899"/>
                      <a:pt x="15510" y="42899"/>
                      <a:pt x="15417" y="42899"/>
                    </a:cubicBezTo>
                    <a:cubicBezTo>
                      <a:pt x="15680" y="43066"/>
                      <a:pt x="15956" y="43212"/>
                      <a:pt x="16243" y="43335"/>
                    </a:cubicBezTo>
                    <a:lnTo>
                      <a:pt x="16243" y="43335"/>
                    </a:lnTo>
                    <a:cubicBezTo>
                      <a:pt x="16149" y="43335"/>
                      <a:pt x="16243" y="43335"/>
                      <a:pt x="16243" y="43335"/>
                    </a:cubicBezTo>
                    <a:lnTo>
                      <a:pt x="16243" y="43335"/>
                    </a:lnTo>
                    <a:cubicBezTo>
                      <a:pt x="16389" y="43422"/>
                      <a:pt x="16539" y="43501"/>
                      <a:pt x="16695" y="43569"/>
                    </a:cubicBezTo>
                    <a:lnTo>
                      <a:pt x="16492" y="43569"/>
                    </a:lnTo>
                    <a:close/>
                    <a:moveTo>
                      <a:pt x="18659" y="9182"/>
                    </a:moveTo>
                    <a:cubicBezTo>
                      <a:pt x="18410" y="9446"/>
                      <a:pt x="18659" y="9088"/>
                      <a:pt x="18659" y="9057"/>
                    </a:cubicBezTo>
                    <a:cubicBezTo>
                      <a:pt x="18659" y="9026"/>
                      <a:pt x="18534" y="9197"/>
                      <a:pt x="18410" y="9369"/>
                    </a:cubicBezTo>
                    <a:cubicBezTo>
                      <a:pt x="17989" y="9150"/>
                      <a:pt x="17770" y="9961"/>
                      <a:pt x="17505" y="9899"/>
                    </a:cubicBezTo>
                    <a:cubicBezTo>
                      <a:pt x="17724" y="10132"/>
                      <a:pt x="17334" y="9899"/>
                      <a:pt x="17381" y="10132"/>
                    </a:cubicBezTo>
                    <a:cubicBezTo>
                      <a:pt x="17256" y="9945"/>
                      <a:pt x="17381" y="10132"/>
                      <a:pt x="17381" y="10132"/>
                    </a:cubicBezTo>
                    <a:cubicBezTo>
                      <a:pt x="17381" y="9899"/>
                      <a:pt x="17381" y="10397"/>
                      <a:pt x="17240" y="10132"/>
                    </a:cubicBezTo>
                    <a:cubicBezTo>
                      <a:pt x="16960" y="10132"/>
                      <a:pt x="17240" y="10507"/>
                      <a:pt x="16866" y="10507"/>
                    </a:cubicBezTo>
                    <a:cubicBezTo>
                      <a:pt x="16866" y="10507"/>
                      <a:pt x="16633" y="10912"/>
                      <a:pt x="16570" y="10803"/>
                    </a:cubicBezTo>
                    <a:cubicBezTo>
                      <a:pt x="16508" y="10694"/>
                      <a:pt x="16196" y="11302"/>
                      <a:pt x="16336" y="10990"/>
                    </a:cubicBezTo>
                    <a:cubicBezTo>
                      <a:pt x="15915" y="11255"/>
                      <a:pt x="16430" y="10834"/>
                      <a:pt x="16103" y="10896"/>
                    </a:cubicBezTo>
                    <a:cubicBezTo>
                      <a:pt x="16492" y="10600"/>
                      <a:pt x="16399" y="10662"/>
                      <a:pt x="15884" y="10694"/>
                    </a:cubicBezTo>
                    <a:cubicBezTo>
                      <a:pt x="15962" y="10267"/>
                      <a:pt x="16121" y="9860"/>
                      <a:pt x="16352" y="9493"/>
                    </a:cubicBezTo>
                    <a:cubicBezTo>
                      <a:pt x="16352" y="9275"/>
                      <a:pt x="16539" y="9493"/>
                      <a:pt x="16742" y="9197"/>
                    </a:cubicBezTo>
                    <a:cubicBezTo>
                      <a:pt x="16321" y="9353"/>
                      <a:pt x="16321" y="9197"/>
                      <a:pt x="16742" y="8839"/>
                    </a:cubicBezTo>
                    <a:cubicBezTo>
                      <a:pt x="16648" y="8839"/>
                      <a:pt x="16523" y="8839"/>
                      <a:pt x="16648" y="8839"/>
                    </a:cubicBezTo>
                    <a:cubicBezTo>
                      <a:pt x="16773" y="8839"/>
                      <a:pt x="16648" y="8745"/>
                      <a:pt x="17209" y="8480"/>
                    </a:cubicBezTo>
                    <a:cubicBezTo>
                      <a:pt x="16071" y="8901"/>
                      <a:pt x="17599" y="8137"/>
                      <a:pt x="17038" y="8262"/>
                    </a:cubicBezTo>
                    <a:cubicBezTo>
                      <a:pt x="17490" y="7856"/>
                      <a:pt x="17381" y="8433"/>
                      <a:pt x="17537" y="8262"/>
                    </a:cubicBezTo>
                    <a:cubicBezTo>
                      <a:pt x="17240" y="8262"/>
                      <a:pt x="17848" y="8044"/>
                      <a:pt x="17537" y="8137"/>
                    </a:cubicBezTo>
                    <a:cubicBezTo>
                      <a:pt x="17646" y="8028"/>
                      <a:pt x="17396" y="8137"/>
                      <a:pt x="17194" y="8137"/>
                    </a:cubicBezTo>
                    <a:cubicBezTo>
                      <a:pt x="17630" y="7747"/>
                      <a:pt x="17459" y="8246"/>
                      <a:pt x="17786" y="7872"/>
                    </a:cubicBezTo>
                    <a:cubicBezTo>
                      <a:pt x="17505" y="8028"/>
                      <a:pt x="17552" y="7763"/>
                      <a:pt x="17786" y="7872"/>
                    </a:cubicBezTo>
                    <a:cubicBezTo>
                      <a:pt x="17976" y="7744"/>
                      <a:pt x="18154" y="7598"/>
                      <a:pt x="18316" y="7436"/>
                    </a:cubicBezTo>
                    <a:cubicBezTo>
                      <a:pt x="18145" y="7436"/>
                      <a:pt x="18316" y="6594"/>
                      <a:pt x="18472" y="7217"/>
                    </a:cubicBezTo>
                    <a:cubicBezTo>
                      <a:pt x="18472" y="7217"/>
                      <a:pt x="18612" y="6999"/>
                      <a:pt x="18659" y="7046"/>
                    </a:cubicBezTo>
                    <a:cubicBezTo>
                      <a:pt x="18706" y="7093"/>
                      <a:pt x="19189" y="6344"/>
                      <a:pt x="18768" y="6703"/>
                    </a:cubicBezTo>
                    <a:cubicBezTo>
                      <a:pt x="18347" y="7061"/>
                      <a:pt x="19205" y="6282"/>
                      <a:pt x="19735" y="5752"/>
                    </a:cubicBezTo>
                    <a:cubicBezTo>
                      <a:pt x="21013" y="4770"/>
                      <a:pt x="19735" y="4988"/>
                      <a:pt x="20795" y="4521"/>
                    </a:cubicBezTo>
                    <a:cubicBezTo>
                      <a:pt x="20950" y="4521"/>
                      <a:pt x="21060" y="4599"/>
                      <a:pt x="21169" y="4396"/>
                    </a:cubicBezTo>
                    <a:cubicBezTo>
                      <a:pt x="23897" y="3227"/>
                      <a:pt x="23211" y="3866"/>
                      <a:pt x="24286" y="3351"/>
                    </a:cubicBezTo>
                    <a:cubicBezTo>
                      <a:pt x="23974" y="3523"/>
                      <a:pt x="24286" y="3351"/>
                      <a:pt x="24395" y="3351"/>
                    </a:cubicBezTo>
                    <a:cubicBezTo>
                      <a:pt x="24052" y="3585"/>
                      <a:pt x="24239" y="3351"/>
                      <a:pt x="24146" y="3585"/>
                    </a:cubicBezTo>
                    <a:cubicBezTo>
                      <a:pt x="24286" y="3757"/>
                      <a:pt x="23382" y="3850"/>
                      <a:pt x="23787" y="3819"/>
                    </a:cubicBezTo>
                    <a:cubicBezTo>
                      <a:pt x="24193" y="3788"/>
                      <a:pt x="23647" y="3944"/>
                      <a:pt x="23787" y="3928"/>
                    </a:cubicBezTo>
                    <a:cubicBezTo>
                      <a:pt x="24099" y="3679"/>
                      <a:pt x="23787" y="4069"/>
                      <a:pt x="23663" y="4084"/>
                    </a:cubicBezTo>
                    <a:cubicBezTo>
                      <a:pt x="22946" y="4645"/>
                      <a:pt x="24536" y="3398"/>
                      <a:pt x="23943" y="4193"/>
                    </a:cubicBezTo>
                    <a:cubicBezTo>
                      <a:pt x="23694" y="4396"/>
                      <a:pt x="23429" y="4411"/>
                      <a:pt x="23647" y="4489"/>
                    </a:cubicBezTo>
                    <a:cubicBezTo>
                      <a:pt x="23298" y="4794"/>
                      <a:pt x="23057" y="5205"/>
                      <a:pt x="22961" y="5659"/>
                    </a:cubicBezTo>
                    <a:cubicBezTo>
                      <a:pt x="22868" y="5331"/>
                      <a:pt x="22462" y="5830"/>
                      <a:pt x="22790" y="5783"/>
                    </a:cubicBezTo>
                    <a:cubicBezTo>
                      <a:pt x="22540" y="5986"/>
                      <a:pt x="22790" y="5783"/>
                      <a:pt x="22696" y="5986"/>
                    </a:cubicBezTo>
                    <a:cubicBezTo>
                      <a:pt x="22603" y="6189"/>
                      <a:pt x="22540" y="5986"/>
                      <a:pt x="22462" y="5986"/>
                    </a:cubicBezTo>
                    <a:cubicBezTo>
                      <a:pt x="22385" y="5986"/>
                      <a:pt x="22462" y="6313"/>
                      <a:pt x="22462" y="6142"/>
                    </a:cubicBezTo>
                    <a:cubicBezTo>
                      <a:pt x="22462" y="6235"/>
                      <a:pt x="22743" y="6469"/>
                      <a:pt x="22462" y="6516"/>
                    </a:cubicBezTo>
                    <a:cubicBezTo>
                      <a:pt x="22026" y="6126"/>
                      <a:pt x="22462" y="6874"/>
                      <a:pt x="22182" y="6796"/>
                    </a:cubicBezTo>
                    <a:cubicBezTo>
                      <a:pt x="21745" y="7015"/>
                      <a:pt x="22182" y="6407"/>
                      <a:pt x="21901" y="6796"/>
                    </a:cubicBezTo>
                    <a:cubicBezTo>
                      <a:pt x="21901" y="6609"/>
                      <a:pt x="21605" y="6906"/>
                      <a:pt x="21543" y="6921"/>
                    </a:cubicBezTo>
                    <a:cubicBezTo>
                      <a:pt x="21917" y="6921"/>
                      <a:pt x="21543" y="7046"/>
                      <a:pt x="21543" y="7061"/>
                    </a:cubicBezTo>
                    <a:cubicBezTo>
                      <a:pt x="21995" y="7061"/>
                      <a:pt x="21543" y="7186"/>
                      <a:pt x="21621" y="7249"/>
                    </a:cubicBezTo>
                    <a:cubicBezTo>
                      <a:pt x="22182" y="7342"/>
                      <a:pt x="21340" y="8807"/>
                      <a:pt x="21402" y="7498"/>
                    </a:cubicBezTo>
                    <a:cubicBezTo>
                      <a:pt x="20904" y="7171"/>
                      <a:pt x="21761" y="7856"/>
                      <a:pt x="20997" y="7732"/>
                    </a:cubicBezTo>
                    <a:cubicBezTo>
                      <a:pt x="21137" y="7841"/>
                      <a:pt x="20576" y="7966"/>
                      <a:pt x="20810" y="7919"/>
                    </a:cubicBezTo>
                    <a:cubicBezTo>
                      <a:pt x="21044" y="7872"/>
                      <a:pt x="21169" y="8090"/>
                      <a:pt x="20810" y="8028"/>
                    </a:cubicBezTo>
                    <a:cubicBezTo>
                      <a:pt x="20452" y="7966"/>
                      <a:pt x="21855" y="8028"/>
                      <a:pt x="21278" y="8277"/>
                    </a:cubicBezTo>
                    <a:cubicBezTo>
                      <a:pt x="21278" y="8277"/>
                      <a:pt x="21028" y="8464"/>
                      <a:pt x="20997" y="8418"/>
                    </a:cubicBezTo>
                    <a:cubicBezTo>
                      <a:pt x="20966" y="8371"/>
                      <a:pt x="19844" y="8948"/>
                      <a:pt x="19922" y="8527"/>
                    </a:cubicBezTo>
                    <a:cubicBezTo>
                      <a:pt x="20000" y="8106"/>
                      <a:pt x="19922" y="8745"/>
                      <a:pt x="19812" y="8761"/>
                    </a:cubicBezTo>
                    <a:cubicBezTo>
                      <a:pt x="19407" y="8792"/>
                      <a:pt x="18706" y="9556"/>
                      <a:pt x="18659" y="9182"/>
                    </a:cubicBezTo>
                    <a:close/>
                    <a:moveTo>
                      <a:pt x="21480" y="10382"/>
                    </a:moveTo>
                    <a:cubicBezTo>
                      <a:pt x="21480" y="10507"/>
                      <a:pt x="21293" y="10475"/>
                      <a:pt x="21247" y="10382"/>
                    </a:cubicBezTo>
                    <a:cubicBezTo>
                      <a:pt x="21200" y="10288"/>
                      <a:pt x="21075" y="10382"/>
                      <a:pt x="21122" y="10273"/>
                    </a:cubicBezTo>
                    <a:cubicBezTo>
                      <a:pt x="21169" y="10164"/>
                      <a:pt x="21044" y="10273"/>
                      <a:pt x="21122" y="10273"/>
                    </a:cubicBezTo>
                    <a:cubicBezTo>
                      <a:pt x="21030" y="10296"/>
                      <a:pt x="20933" y="10296"/>
                      <a:pt x="20841" y="10273"/>
                    </a:cubicBezTo>
                    <a:cubicBezTo>
                      <a:pt x="20841" y="10273"/>
                      <a:pt x="20841" y="10273"/>
                      <a:pt x="20841" y="10273"/>
                    </a:cubicBezTo>
                    <a:cubicBezTo>
                      <a:pt x="20841" y="10273"/>
                      <a:pt x="20841" y="10273"/>
                      <a:pt x="20841" y="10195"/>
                    </a:cubicBezTo>
                    <a:cubicBezTo>
                      <a:pt x="20841" y="10117"/>
                      <a:pt x="20841" y="10195"/>
                      <a:pt x="20841" y="10195"/>
                    </a:cubicBezTo>
                    <a:cubicBezTo>
                      <a:pt x="20841" y="10195"/>
                      <a:pt x="20982" y="10070"/>
                      <a:pt x="21060" y="10117"/>
                    </a:cubicBezTo>
                    <a:cubicBezTo>
                      <a:pt x="21137" y="10164"/>
                      <a:pt x="20826" y="10210"/>
                      <a:pt x="21060" y="10008"/>
                    </a:cubicBezTo>
                    <a:cubicBezTo>
                      <a:pt x="21060" y="10086"/>
                      <a:pt x="20919" y="10008"/>
                      <a:pt x="21060" y="9930"/>
                    </a:cubicBezTo>
                    <a:cubicBezTo>
                      <a:pt x="21200" y="9852"/>
                      <a:pt x="20826" y="9930"/>
                      <a:pt x="20826" y="9821"/>
                    </a:cubicBezTo>
                    <a:cubicBezTo>
                      <a:pt x="20826" y="9711"/>
                      <a:pt x="21060" y="9743"/>
                      <a:pt x="21075" y="9821"/>
                    </a:cubicBezTo>
                    <a:cubicBezTo>
                      <a:pt x="21091" y="9899"/>
                      <a:pt x="21231" y="9821"/>
                      <a:pt x="21247" y="9727"/>
                    </a:cubicBezTo>
                    <a:cubicBezTo>
                      <a:pt x="21262" y="9634"/>
                      <a:pt x="21137" y="9727"/>
                      <a:pt x="21247" y="9727"/>
                    </a:cubicBezTo>
                    <a:cubicBezTo>
                      <a:pt x="21356" y="9727"/>
                      <a:pt x="21137" y="9727"/>
                      <a:pt x="21247" y="9649"/>
                    </a:cubicBezTo>
                    <a:cubicBezTo>
                      <a:pt x="21356" y="9571"/>
                      <a:pt x="21247" y="9649"/>
                      <a:pt x="21247" y="9649"/>
                    </a:cubicBezTo>
                    <a:cubicBezTo>
                      <a:pt x="21247" y="9649"/>
                      <a:pt x="21247" y="9727"/>
                      <a:pt x="21247" y="9649"/>
                    </a:cubicBezTo>
                    <a:cubicBezTo>
                      <a:pt x="21247" y="9571"/>
                      <a:pt x="21247" y="9649"/>
                      <a:pt x="21247" y="9649"/>
                    </a:cubicBezTo>
                    <a:cubicBezTo>
                      <a:pt x="21075" y="9867"/>
                      <a:pt x="20982" y="9509"/>
                      <a:pt x="21137" y="9649"/>
                    </a:cubicBezTo>
                    <a:cubicBezTo>
                      <a:pt x="21293" y="9789"/>
                      <a:pt x="21137" y="9509"/>
                      <a:pt x="21137" y="9649"/>
                    </a:cubicBezTo>
                    <a:cubicBezTo>
                      <a:pt x="21137" y="9789"/>
                      <a:pt x="21137" y="9649"/>
                      <a:pt x="21137" y="9649"/>
                    </a:cubicBezTo>
                    <a:cubicBezTo>
                      <a:pt x="21137" y="9649"/>
                      <a:pt x="21137" y="9556"/>
                      <a:pt x="21137" y="9649"/>
                    </a:cubicBezTo>
                    <a:cubicBezTo>
                      <a:pt x="21137" y="9743"/>
                      <a:pt x="21137" y="9509"/>
                      <a:pt x="21137" y="9649"/>
                    </a:cubicBezTo>
                    <a:cubicBezTo>
                      <a:pt x="21137" y="9789"/>
                      <a:pt x="21247" y="9649"/>
                      <a:pt x="21137" y="9649"/>
                    </a:cubicBezTo>
                    <a:cubicBezTo>
                      <a:pt x="21028" y="9649"/>
                      <a:pt x="21231" y="9649"/>
                      <a:pt x="21137" y="9649"/>
                    </a:cubicBezTo>
                    <a:cubicBezTo>
                      <a:pt x="21044" y="9649"/>
                      <a:pt x="20982" y="9509"/>
                      <a:pt x="21137" y="9509"/>
                    </a:cubicBezTo>
                    <a:cubicBezTo>
                      <a:pt x="20872" y="9415"/>
                      <a:pt x="21231" y="9415"/>
                      <a:pt x="21137" y="9602"/>
                    </a:cubicBezTo>
                    <a:cubicBezTo>
                      <a:pt x="21137" y="9602"/>
                      <a:pt x="21137" y="9602"/>
                      <a:pt x="21137" y="9602"/>
                    </a:cubicBezTo>
                    <a:cubicBezTo>
                      <a:pt x="21137" y="9602"/>
                      <a:pt x="21137" y="9711"/>
                      <a:pt x="21137" y="9602"/>
                    </a:cubicBezTo>
                    <a:cubicBezTo>
                      <a:pt x="21147" y="9627"/>
                      <a:pt x="21147" y="9655"/>
                      <a:pt x="21137" y="9680"/>
                    </a:cubicBezTo>
                    <a:cubicBezTo>
                      <a:pt x="21137" y="9680"/>
                      <a:pt x="21137" y="9758"/>
                      <a:pt x="21137" y="9789"/>
                    </a:cubicBezTo>
                    <a:cubicBezTo>
                      <a:pt x="21137" y="9821"/>
                      <a:pt x="21137" y="9789"/>
                      <a:pt x="21137" y="9867"/>
                    </a:cubicBezTo>
                    <a:cubicBezTo>
                      <a:pt x="21156" y="9800"/>
                      <a:pt x="21201" y="9744"/>
                      <a:pt x="21262" y="9711"/>
                    </a:cubicBezTo>
                    <a:cubicBezTo>
                      <a:pt x="21262" y="9899"/>
                      <a:pt x="21262" y="9509"/>
                      <a:pt x="21418" y="9493"/>
                    </a:cubicBezTo>
                    <a:cubicBezTo>
                      <a:pt x="21574" y="9478"/>
                      <a:pt x="21418" y="9602"/>
                      <a:pt x="21418" y="9618"/>
                    </a:cubicBezTo>
                    <a:cubicBezTo>
                      <a:pt x="21418" y="9634"/>
                      <a:pt x="21496" y="9493"/>
                      <a:pt x="21590" y="9509"/>
                    </a:cubicBezTo>
                    <a:cubicBezTo>
                      <a:pt x="21628" y="9598"/>
                      <a:pt x="21628" y="9700"/>
                      <a:pt x="21590" y="9789"/>
                    </a:cubicBezTo>
                    <a:cubicBezTo>
                      <a:pt x="21683" y="9711"/>
                      <a:pt x="21590" y="9493"/>
                      <a:pt x="21745" y="9540"/>
                    </a:cubicBezTo>
                    <a:cubicBezTo>
                      <a:pt x="21901" y="9587"/>
                      <a:pt x="21886" y="9415"/>
                      <a:pt x="21870" y="9540"/>
                    </a:cubicBezTo>
                    <a:cubicBezTo>
                      <a:pt x="21855" y="9665"/>
                      <a:pt x="22104" y="9275"/>
                      <a:pt x="22073" y="9540"/>
                    </a:cubicBezTo>
                    <a:cubicBezTo>
                      <a:pt x="22042" y="9805"/>
                      <a:pt x="22182" y="9400"/>
                      <a:pt x="22260" y="9540"/>
                    </a:cubicBezTo>
                    <a:cubicBezTo>
                      <a:pt x="22338" y="9680"/>
                      <a:pt x="22104" y="9680"/>
                      <a:pt x="22260" y="9649"/>
                    </a:cubicBezTo>
                    <a:cubicBezTo>
                      <a:pt x="22416" y="9618"/>
                      <a:pt x="22166" y="9649"/>
                      <a:pt x="22260" y="9805"/>
                    </a:cubicBezTo>
                    <a:cubicBezTo>
                      <a:pt x="22353" y="9961"/>
                      <a:pt x="22260" y="9805"/>
                      <a:pt x="22260" y="9805"/>
                    </a:cubicBezTo>
                    <a:cubicBezTo>
                      <a:pt x="22462" y="9805"/>
                      <a:pt x="22338" y="9805"/>
                      <a:pt x="22260" y="9914"/>
                    </a:cubicBezTo>
                    <a:cubicBezTo>
                      <a:pt x="22182" y="10023"/>
                      <a:pt x="22260" y="10054"/>
                      <a:pt x="22260" y="10117"/>
                    </a:cubicBezTo>
                    <a:cubicBezTo>
                      <a:pt x="22120" y="9914"/>
                      <a:pt x="22260" y="10382"/>
                      <a:pt x="22042" y="10117"/>
                    </a:cubicBezTo>
                    <a:cubicBezTo>
                      <a:pt x="22042" y="10226"/>
                      <a:pt x="21839" y="10226"/>
                      <a:pt x="21761" y="10335"/>
                    </a:cubicBezTo>
                    <a:lnTo>
                      <a:pt x="21761" y="10335"/>
                    </a:lnTo>
                    <a:cubicBezTo>
                      <a:pt x="21761" y="10335"/>
                      <a:pt x="21636" y="10335"/>
                      <a:pt x="21590" y="10335"/>
                    </a:cubicBezTo>
                    <a:cubicBezTo>
                      <a:pt x="21543" y="10335"/>
                      <a:pt x="21590" y="10335"/>
                      <a:pt x="21590" y="10335"/>
                    </a:cubicBezTo>
                    <a:cubicBezTo>
                      <a:pt x="21590" y="10335"/>
                      <a:pt x="21543" y="10522"/>
                      <a:pt x="21480" y="10382"/>
                    </a:cubicBezTo>
                    <a:close/>
                    <a:moveTo>
                      <a:pt x="34652" y="37692"/>
                    </a:moveTo>
                    <a:cubicBezTo>
                      <a:pt x="34543" y="37412"/>
                      <a:pt x="35011" y="37100"/>
                      <a:pt x="35214" y="36882"/>
                    </a:cubicBezTo>
                    <a:cubicBezTo>
                      <a:pt x="35416" y="36664"/>
                      <a:pt x="35416" y="36056"/>
                      <a:pt x="35884" y="35869"/>
                    </a:cubicBezTo>
                    <a:lnTo>
                      <a:pt x="35884" y="35869"/>
                    </a:lnTo>
                    <a:cubicBezTo>
                      <a:pt x="35884" y="35869"/>
                      <a:pt x="35884" y="35869"/>
                      <a:pt x="35884" y="35869"/>
                    </a:cubicBezTo>
                    <a:cubicBezTo>
                      <a:pt x="35884" y="35869"/>
                      <a:pt x="35977" y="35869"/>
                      <a:pt x="36102" y="35744"/>
                    </a:cubicBezTo>
                    <a:cubicBezTo>
                      <a:pt x="35993" y="36009"/>
                      <a:pt x="36367" y="35463"/>
                      <a:pt x="36258" y="35744"/>
                    </a:cubicBezTo>
                    <a:cubicBezTo>
                      <a:pt x="36149" y="36024"/>
                      <a:pt x="36258" y="35744"/>
                      <a:pt x="36258" y="35744"/>
                    </a:cubicBezTo>
                    <a:cubicBezTo>
                      <a:pt x="36258" y="35744"/>
                      <a:pt x="36258" y="35744"/>
                      <a:pt x="36258" y="35619"/>
                    </a:cubicBezTo>
                    <a:cubicBezTo>
                      <a:pt x="36258" y="35494"/>
                      <a:pt x="36367" y="35619"/>
                      <a:pt x="36258" y="35619"/>
                    </a:cubicBezTo>
                    <a:lnTo>
                      <a:pt x="36258" y="35619"/>
                    </a:lnTo>
                    <a:cubicBezTo>
                      <a:pt x="36258" y="35619"/>
                      <a:pt x="36258" y="35619"/>
                      <a:pt x="36258" y="35728"/>
                    </a:cubicBezTo>
                    <a:cubicBezTo>
                      <a:pt x="36258" y="35837"/>
                      <a:pt x="36383" y="35572"/>
                      <a:pt x="36398" y="35635"/>
                    </a:cubicBezTo>
                    <a:cubicBezTo>
                      <a:pt x="36414" y="35697"/>
                      <a:pt x="36398" y="35635"/>
                      <a:pt x="36398" y="35526"/>
                    </a:cubicBezTo>
                    <a:cubicBezTo>
                      <a:pt x="36398" y="35417"/>
                      <a:pt x="36538" y="35526"/>
                      <a:pt x="36398" y="35432"/>
                    </a:cubicBezTo>
                    <a:cubicBezTo>
                      <a:pt x="36258" y="35339"/>
                      <a:pt x="36398" y="35526"/>
                      <a:pt x="36538" y="35339"/>
                    </a:cubicBezTo>
                    <a:cubicBezTo>
                      <a:pt x="36679" y="35152"/>
                      <a:pt x="36788" y="35152"/>
                      <a:pt x="36741" y="34996"/>
                    </a:cubicBezTo>
                    <a:cubicBezTo>
                      <a:pt x="36694" y="34840"/>
                      <a:pt x="36835" y="34996"/>
                      <a:pt x="36913" y="34887"/>
                    </a:cubicBezTo>
                    <a:cubicBezTo>
                      <a:pt x="36991" y="34777"/>
                      <a:pt x="36913" y="35089"/>
                      <a:pt x="36913" y="35089"/>
                    </a:cubicBezTo>
                    <a:cubicBezTo>
                      <a:pt x="37521" y="35323"/>
                      <a:pt x="34044" y="39532"/>
                      <a:pt x="34652" y="37692"/>
                    </a:cubicBezTo>
                    <a:close/>
                    <a:moveTo>
                      <a:pt x="44613" y="24131"/>
                    </a:moveTo>
                    <a:cubicBezTo>
                      <a:pt x="44613" y="24131"/>
                      <a:pt x="44613" y="24131"/>
                      <a:pt x="44613" y="24131"/>
                    </a:cubicBezTo>
                    <a:cubicBezTo>
                      <a:pt x="44296" y="25340"/>
                      <a:pt x="44062" y="26569"/>
                      <a:pt x="43912" y="27809"/>
                    </a:cubicBezTo>
                    <a:cubicBezTo>
                      <a:pt x="43912" y="27716"/>
                      <a:pt x="43756" y="27934"/>
                      <a:pt x="43756" y="27997"/>
                    </a:cubicBezTo>
                    <a:cubicBezTo>
                      <a:pt x="43584" y="28651"/>
                      <a:pt x="43179" y="24380"/>
                      <a:pt x="43210" y="24006"/>
                    </a:cubicBezTo>
                    <a:cubicBezTo>
                      <a:pt x="43070" y="24006"/>
                      <a:pt x="43210" y="23834"/>
                      <a:pt x="43210" y="23741"/>
                    </a:cubicBezTo>
                    <a:cubicBezTo>
                      <a:pt x="43210" y="23647"/>
                      <a:pt x="43132" y="23741"/>
                      <a:pt x="43132" y="23741"/>
                    </a:cubicBezTo>
                    <a:cubicBezTo>
                      <a:pt x="43132" y="24099"/>
                      <a:pt x="42992" y="24832"/>
                      <a:pt x="42743" y="24146"/>
                    </a:cubicBezTo>
                    <a:cubicBezTo>
                      <a:pt x="42743" y="24146"/>
                      <a:pt x="42571" y="23897"/>
                      <a:pt x="42649" y="23944"/>
                    </a:cubicBezTo>
                    <a:lnTo>
                      <a:pt x="42649" y="23944"/>
                    </a:lnTo>
                    <a:cubicBezTo>
                      <a:pt x="42649" y="24084"/>
                      <a:pt x="42649" y="23944"/>
                      <a:pt x="42649" y="23944"/>
                    </a:cubicBezTo>
                    <a:cubicBezTo>
                      <a:pt x="42649" y="23944"/>
                      <a:pt x="42836" y="23663"/>
                      <a:pt x="42727" y="23632"/>
                    </a:cubicBezTo>
                    <a:cubicBezTo>
                      <a:pt x="42727" y="23944"/>
                      <a:pt x="42275" y="23632"/>
                      <a:pt x="42478" y="23445"/>
                    </a:cubicBezTo>
                    <a:cubicBezTo>
                      <a:pt x="42478" y="23445"/>
                      <a:pt x="42478" y="23538"/>
                      <a:pt x="42368" y="23569"/>
                    </a:cubicBezTo>
                    <a:cubicBezTo>
                      <a:pt x="42259" y="23601"/>
                      <a:pt x="42368" y="23492"/>
                      <a:pt x="42244" y="23569"/>
                    </a:cubicBezTo>
                    <a:cubicBezTo>
                      <a:pt x="42119" y="23647"/>
                      <a:pt x="42244" y="23320"/>
                      <a:pt x="42135" y="23195"/>
                    </a:cubicBezTo>
                    <a:cubicBezTo>
                      <a:pt x="41963" y="23351"/>
                      <a:pt x="42135" y="22977"/>
                      <a:pt x="41854" y="23086"/>
                    </a:cubicBezTo>
                    <a:cubicBezTo>
                      <a:pt x="41854" y="23086"/>
                      <a:pt x="41714" y="23164"/>
                      <a:pt x="41667" y="23242"/>
                    </a:cubicBezTo>
                    <a:cubicBezTo>
                      <a:pt x="41620" y="23320"/>
                      <a:pt x="41573" y="23242"/>
                      <a:pt x="41511" y="23242"/>
                    </a:cubicBezTo>
                    <a:cubicBezTo>
                      <a:pt x="41449" y="23242"/>
                      <a:pt x="41386" y="23242"/>
                      <a:pt x="41340" y="23382"/>
                    </a:cubicBezTo>
                    <a:cubicBezTo>
                      <a:pt x="41293" y="23523"/>
                      <a:pt x="41340" y="23382"/>
                      <a:pt x="41231" y="23382"/>
                    </a:cubicBezTo>
                    <a:cubicBezTo>
                      <a:pt x="41121" y="23382"/>
                      <a:pt x="41075" y="23492"/>
                      <a:pt x="41028" y="23304"/>
                    </a:cubicBezTo>
                    <a:cubicBezTo>
                      <a:pt x="41028" y="23398"/>
                      <a:pt x="40669" y="23304"/>
                      <a:pt x="40591" y="23304"/>
                    </a:cubicBezTo>
                    <a:cubicBezTo>
                      <a:pt x="40513" y="23304"/>
                      <a:pt x="40451" y="23304"/>
                      <a:pt x="40342" y="23304"/>
                    </a:cubicBezTo>
                    <a:cubicBezTo>
                      <a:pt x="40093" y="22400"/>
                      <a:pt x="40061" y="23180"/>
                      <a:pt x="39625" y="23055"/>
                    </a:cubicBezTo>
                    <a:cubicBezTo>
                      <a:pt x="39531" y="23055"/>
                      <a:pt x="39251" y="22946"/>
                      <a:pt x="39282" y="22821"/>
                    </a:cubicBezTo>
                    <a:cubicBezTo>
                      <a:pt x="39313" y="22697"/>
                      <a:pt x="38877" y="22821"/>
                      <a:pt x="38846" y="22509"/>
                    </a:cubicBezTo>
                    <a:cubicBezTo>
                      <a:pt x="38846" y="22509"/>
                      <a:pt x="38736" y="22509"/>
                      <a:pt x="38846" y="22509"/>
                    </a:cubicBezTo>
                    <a:cubicBezTo>
                      <a:pt x="38690" y="22509"/>
                      <a:pt x="38627" y="21948"/>
                      <a:pt x="38456" y="22167"/>
                    </a:cubicBezTo>
                    <a:cubicBezTo>
                      <a:pt x="38456" y="22089"/>
                      <a:pt x="38316" y="22167"/>
                      <a:pt x="38362" y="22026"/>
                    </a:cubicBezTo>
                    <a:cubicBezTo>
                      <a:pt x="38409" y="21886"/>
                      <a:pt x="38362" y="22026"/>
                      <a:pt x="38362" y="22026"/>
                    </a:cubicBezTo>
                    <a:cubicBezTo>
                      <a:pt x="38362" y="22026"/>
                      <a:pt x="38362" y="22229"/>
                      <a:pt x="38362" y="22026"/>
                    </a:cubicBezTo>
                    <a:cubicBezTo>
                      <a:pt x="38362" y="21824"/>
                      <a:pt x="38362" y="22307"/>
                      <a:pt x="38206" y="22322"/>
                    </a:cubicBezTo>
                    <a:lnTo>
                      <a:pt x="38316" y="22322"/>
                    </a:lnTo>
                    <a:lnTo>
                      <a:pt x="38316" y="22322"/>
                    </a:lnTo>
                    <a:cubicBezTo>
                      <a:pt x="38316" y="22322"/>
                      <a:pt x="38316" y="22416"/>
                      <a:pt x="38316" y="22447"/>
                    </a:cubicBezTo>
                    <a:cubicBezTo>
                      <a:pt x="38316" y="22478"/>
                      <a:pt x="38316" y="22541"/>
                      <a:pt x="38316" y="22447"/>
                    </a:cubicBezTo>
                    <a:cubicBezTo>
                      <a:pt x="38351" y="22594"/>
                      <a:pt x="38447" y="22719"/>
                      <a:pt x="38581" y="22790"/>
                    </a:cubicBezTo>
                    <a:cubicBezTo>
                      <a:pt x="38581" y="22790"/>
                      <a:pt x="38861" y="23086"/>
                      <a:pt x="38814" y="23242"/>
                    </a:cubicBezTo>
                    <a:lnTo>
                      <a:pt x="38814" y="23242"/>
                    </a:lnTo>
                    <a:cubicBezTo>
                      <a:pt x="39017" y="23460"/>
                      <a:pt x="39048" y="23881"/>
                      <a:pt x="39064" y="23398"/>
                    </a:cubicBezTo>
                    <a:cubicBezTo>
                      <a:pt x="39064" y="23273"/>
                      <a:pt x="39064" y="23086"/>
                      <a:pt x="39173" y="23258"/>
                    </a:cubicBezTo>
                    <a:cubicBezTo>
                      <a:pt x="39144" y="23402"/>
                      <a:pt x="39144" y="23550"/>
                      <a:pt x="39173" y="23694"/>
                    </a:cubicBezTo>
                    <a:cubicBezTo>
                      <a:pt x="39173" y="23694"/>
                      <a:pt x="39173" y="23866"/>
                      <a:pt x="39173" y="23788"/>
                    </a:cubicBezTo>
                    <a:lnTo>
                      <a:pt x="39173" y="23928"/>
                    </a:lnTo>
                    <a:cubicBezTo>
                      <a:pt x="39360" y="23757"/>
                      <a:pt x="39609" y="23928"/>
                      <a:pt x="39718" y="23679"/>
                    </a:cubicBezTo>
                    <a:lnTo>
                      <a:pt x="39718" y="23679"/>
                    </a:lnTo>
                    <a:cubicBezTo>
                      <a:pt x="39718" y="23445"/>
                      <a:pt x="39952" y="23227"/>
                      <a:pt x="39983" y="22977"/>
                    </a:cubicBezTo>
                    <a:lnTo>
                      <a:pt x="39983" y="22977"/>
                    </a:lnTo>
                    <a:cubicBezTo>
                      <a:pt x="39983" y="22977"/>
                      <a:pt x="39983" y="22821"/>
                      <a:pt x="39983" y="22884"/>
                    </a:cubicBezTo>
                    <a:cubicBezTo>
                      <a:pt x="39983" y="22946"/>
                      <a:pt x="39983" y="23195"/>
                      <a:pt x="39983" y="23149"/>
                    </a:cubicBezTo>
                    <a:cubicBezTo>
                      <a:pt x="39983" y="23460"/>
                      <a:pt x="40155" y="23850"/>
                      <a:pt x="40513" y="23679"/>
                    </a:cubicBezTo>
                    <a:cubicBezTo>
                      <a:pt x="40790" y="23996"/>
                      <a:pt x="40790" y="24468"/>
                      <a:pt x="40513" y="24785"/>
                    </a:cubicBezTo>
                    <a:cubicBezTo>
                      <a:pt x="40513" y="24598"/>
                      <a:pt x="40373" y="25191"/>
                      <a:pt x="40513" y="25300"/>
                    </a:cubicBezTo>
                    <a:cubicBezTo>
                      <a:pt x="40139" y="25300"/>
                      <a:pt x="40389" y="25674"/>
                      <a:pt x="40030" y="25752"/>
                    </a:cubicBezTo>
                    <a:cubicBezTo>
                      <a:pt x="40030" y="25861"/>
                      <a:pt x="40030" y="25954"/>
                      <a:pt x="40030" y="26064"/>
                    </a:cubicBezTo>
                    <a:cubicBezTo>
                      <a:pt x="39792" y="26098"/>
                      <a:pt x="39579" y="26227"/>
                      <a:pt x="39438" y="26422"/>
                    </a:cubicBezTo>
                    <a:cubicBezTo>
                      <a:pt x="39438" y="26749"/>
                      <a:pt x="38955" y="26859"/>
                      <a:pt x="38736" y="27014"/>
                    </a:cubicBezTo>
                    <a:cubicBezTo>
                      <a:pt x="38518" y="27170"/>
                      <a:pt x="38565" y="27264"/>
                      <a:pt x="38440" y="27217"/>
                    </a:cubicBezTo>
                    <a:cubicBezTo>
                      <a:pt x="38341" y="27402"/>
                      <a:pt x="38130" y="27497"/>
                      <a:pt x="37926" y="27451"/>
                    </a:cubicBezTo>
                    <a:cubicBezTo>
                      <a:pt x="37797" y="27641"/>
                      <a:pt x="37592" y="27766"/>
                      <a:pt x="37365" y="27794"/>
                    </a:cubicBezTo>
                    <a:cubicBezTo>
                      <a:pt x="37240" y="27513"/>
                      <a:pt x="37365" y="27139"/>
                      <a:pt x="37115" y="26890"/>
                    </a:cubicBezTo>
                    <a:cubicBezTo>
                      <a:pt x="37349" y="26329"/>
                      <a:pt x="36538" y="25596"/>
                      <a:pt x="36164" y="25144"/>
                    </a:cubicBezTo>
                    <a:cubicBezTo>
                      <a:pt x="36164" y="24770"/>
                      <a:pt x="36071" y="24131"/>
                      <a:pt x="35650" y="24146"/>
                    </a:cubicBezTo>
                    <a:cubicBezTo>
                      <a:pt x="35494" y="23414"/>
                      <a:pt x="34637" y="23024"/>
                      <a:pt x="34793" y="22463"/>
                    </a:cubicBezTo>
                    <a:cubicBezTo>
                      <a:pt x="34684" y="22665"/>
                      <a:pt x="34793" y="22915"/>
                      <a:pt x="34668" y="23086"/>
                    </a:cubicBezTo>
                    <a:cubicBezTo>
                      <a:pt x="34438" y="22899"/>
                      <a:pt x="34238" y="22679"/>
                      <a:pt x="34076" y="22432"/>
                    </a:cubicBezTo>
                    <a:cubicBezTo>
                      <a:pt x="34341" y="23024"/>
                      <a:pt x="34761" y="23616"/>
                      <a:pt x="35104" y="24224"/>
                    </a:cubicBezTo>
                    <a:lnTo>
                      <a:pt x="35104" y="24224"/>
                    </a:lnTo>
                    <a:cubicBezTo>
                      <a:pt x="35138" y="24273"/>
                      <a:pt x="35180" y="24316"/>
                      <a:pt x="35229" y="24349"/>
                    </a:cubicBezTo>
                    <a:cubicBezTo>
                      <a:pt x="35229" y="24349"/>
                      <a:pt x="35136" y="24349"/>
                      <a:pt x="35120" y="24349"/>
                    </a:cubicBezTo>
                    <a:cubicBezTo>
                      <a:pt x="35120" y="24801"/>
                      <a:pt x="35603" y="24785"/>
                      <a:pt x="35681" y="25253"/>
                    </a:cubicBezTo>
                    <a:cubicBezTo>
                      <a:pt x="35556" y="25253"/>
                      <a:pt x="35775" y="25580"/>
                      <a:pt x="35681" y="25752"/>
                    </a:cubicBezTo>
                    <a:cubicBezTo>
                      <a:pt x="35588" y="25923"/>
                      <a:pt x="35977" y="26064"/>
                      <a:pt x="36040" y="26219"/>
                    </a:cubicBezTo>
                    <a:cubicBezTo>
                      <a:pt x="36102" y="26375"/>
                      <a:pt x="36196" y="26827"/>
                      <a:pt x="36320" y="26968"/>
                    </a:cubicBezTo>
                    <a:cubicBezTo>
                      <a:pt x="36445" y="27108"/>
                      <a:pt x="36429" y="27233"/>
                      <a:pt x="36320" y="27046"/>
                    </a:cubicBezTo>
                    <a:cubicBezTo>
                      <a:pt x="36211" y="26859"/>
                      <a:pt x="36320" y="27264"/>
                      <a:pt x="36476" y="27170"/>
                    </a:cubicBezTo>
                    <a:cubicBezTo>
                      <a:pt x="36819" y="27170"/>
                      <a:pt x="36944" y="27763"/>
                      <a:pt x="37146" y="27794"/>
                    </a:cubicBezTo>
                    <a:cubicBezTo>
                      <a:pt x="37349" y="27825"/>
                      <a:pt x="37146" y="27903"/>
                      <a:pt x="37240" y="27903"/>
                    </a:cubicBezTo>
                    <a:cubicBezTo>
                      <a:pt x="37242" y="28033"/>
                      <a:pt x="37150" y="28145"/>
                      <a:pt x="37022" y="28168"/>
                    </a:cubicBezTo>
                    <a:cubicBezTo>
                      <a:pt x="37240" y="28168"/>
                      <a:pt x="37287" y="28464"/>
                      <a:pt x="37505" y="28542"/>
                    </a:cubicBezTo>
                    <a:cubicBezTo>
                      <a:pt x="37918" y="28320"/>
                      <a:pt x="38358" y="28152"/>
                      <a:pt x="38814" y="28043"/>
                    </a:cubicBezTo>
                    <a:cubicBezTo>
                      <a:pt x="38894" y="27982"/>
                      <a:pt x="38962" y="27909"/>
                      <a:pt x="39017" y="27825"/>
                    </a:cubicBezTo>
                    <a:cubicBezTo>
                      <a:pt x="39173" y="27825"/>
                      <a:pt x="39017" y="28152"/>
                      <a:pt x="39017" y="28324"/>
                    </a:cubicBezTo>
                    <a:cubicBezTo>
                      <a:pt x="39017" y="28495"/>
                      <a:pt x="39017" y="28324"/>
                      <a:pt x="39017" y="28324"/>
                    </a:cubicBezTo>
                    <a:cubicBezTo>
                      <a:pt x="38736" y="30475"/>
                      <a:pt x="35541" y="31753"/>
                      <a:pt x="35323" y="33608"/>
                    </a:cubicBezTo>
                    <a:cubicBezTo>
                      <a:pt x="35323" y="33608"/>
                      <a:pt x="35136" y="33764"/>
                      <a:pt x="35214" y="33858"/>
                    </a:cubicBezTo>
                    <a:cubicBezTo>
                      <a:pt x="35291" y="33951"/>
                      <a:pt x="35026" y="34372"/>
                      <a:pt x="35214" y="34497"/>
                    </a:cubicBezTo>
                    <a:cubicBezTo>
                      <a:pt x="35058" y="34855"/>
                      <a:pt x="34933" y="35385"/>
                      <a:pt x="34808" y="35619"/>
                    </a:cubicBezTo>
                    <a:cubicBezTo>
                      <a:pt x="34684" y="35853"/>
                      <a:pt x="34621" y="35728"/>
                      <a:pt x="34808" y="35713"/>
                    </a:cubicBezTo>
                    <a:cubicBezTo>
                      <a:pt x="34543" y="36102"/>
                      <a:pt x="34044" y="36212"/>
                      <a:pt x="33686" y="36477"/>
                    </a:cubicBezTo>
                    <a:lnTo>
                      <a:pt x="33686" y="36477"/>
                    </a:lnTo>
                    <a:cubicBezTo>
                      <a:pt x="33489" y="36693"/>
                      <a:pt x="33235" y="36850"/>
                      <a:pt x="32953" y="36929"/>
                    </a:cubicBezTo>
                    <a:cubicBezTo>
                      <a:pt x="32979" y="36983"/>
                      <a:pt x="32979" y="37046"/>
                      <a:pt x="32953" y="37100"/>
                    </a:cubicBezTo>
                    <a:cubicBezTo>
                      <a:pt x="32953" y="37100"/>
                      <a:pt x="32953" y="37209"/>
                      <a:pt x="32953" y="37240"/>
                    </a:cubicBezTo>
                    <a:cubicBezTo>
                      <a:pt x="32953" y="37272"/>
                      <a:pt x="32953" y="37474"/>
                      <a:pt x="32953" y="37568"/>
                    </a:cubicBezTo>
                    <a:cubicBezTo>
                      <a:pt x="32953" y="37661"/>
                      <a:pt x="32953" y="37490"/>
                      <a:pt x="32953" y="37474"/>
                    </a:cubicBezTo>
                    <a:lnTo>
                      <a:pt x="32953" y="37474"/>
                    </a:lnTo>
                    <a:lnTo>
                      <a:pt x="32953" y="37474"/>
                    </a:lnTo>
                    <a:cubicBezTo>
                      <a:pt x="32953" y="37614"/>
                      <a:pt x="32782" y="37724"/>
                      <a:pt x="32719" y="37848"/>
                    </a:cubicBezTo>
                    <a:lnTo>
                      <a:pt x="32719" y="37848"/>
                    </a:lnTo>
                    <a:cubicBezTo>
                      <a:pt x="32548" y="38222"/>
                      <a:pt x="31878" y="38113"/>
                      <a:pt x="31769" y="38472"/>
                    </a:cubicBezTo>
                    <a:lnTo>
                      <a:pt x="31878" y="38472"/>
                    </a:lnTo>
                    <a:cubicBezTo>
                      <a:pt x="31839" y="38544"/>
                      <a:pt x="31786" y="38608"/>
                      <a:pt x="31722" y="38659"/>
                    </a:cubicBezTo>
                    <a:lnTo>
                      <a:pt x="31722" y="38659"/>
                    </a:lnTo>
                    <a:cubicBezTo>
                      <a:pt x="31003" y="39409"/>
                      <a:pt x="30091" y="39948"/>
                      <a:pt x="29087" y="40218"/>
                    </a:cubicBezTo>
                    <a:cubicBezTo>
                      <a:pt x="28667" y="40077"/>
                      <a:pt x="28246" y="40342"/>
                      <a:pt x="27825" y="40311"/>
                    </a:cubicBezTo>
                    <a:cubicBezTo>
                      <a:pt x="27825" y="40233"/>
                      <a:pt x="27825" y="40311"/>
                      <a:pt x="27825" y="40311"/>
                    </a:cubicBezTo>
                    <a:cubicBezTo>
                      <a:pt x="27825" y="40311"/>
                      <a:pt x="27731" y="40233"/>
                      <a:pt x="27825" y="40311"/>
                    </a:cubicBezTo>
                    <a:cubicBezTo>
                      <a:pt x="27918" y="40389"/>
                      <a:pt x="27949" y="40140"/>
                      <a:pt x="27825" y="40015"/>
                    </a:cubicBezTo>
                    <a:cubicBezTo>
                      <a:pt x="28121" y="39875"/>
                      <a:pt x="27825" y="39485"/>
                      <a:pt x="27825" y="39204"/>
                    </a:cubicBezTo>
                    <a:cubicBezTo>
                      <a:pt x="27342" y="38472"/>
                      <a:pt x="27622" y="37381"/>
                      <a:pt x="27077" y="36570"/>
                    </a:cubicBezTo>
                    <a:cubicBezTo>
                      <a:pt x="27077" y="35728"/>
                      <a:pt x="28324" y="35354"/>
                      <a:pt x="27762" y="34528"/>
                    </a:cubicBezTo>
                    <a:cubicBezTo>
                      <a:pt x="28012" y="34341"/>
                      <a:pt x="27762" y="33967"/>
                      <a:pt x="27653" y="33764"/>
                    </a:cubicBezTo>
                    <a:lnTo>
                      <a:pt x="27747" y="33764"/>
                    </a:lnTo>
                    <a:cubicBezTo>
                      <a:pt x="27747" y="33764"/>
                      <a:pt x="27529" y="33764"/>
                      <a:pt x="27638" y="33624"/>
                    </a:cubicBezTo>
                    <a:cubicBezTo>
                      <a:pt x="27451" y="33078"/>
                      <a:pt x="26827" y="32891"/>
                      <a:pt x="26702" y="32314"/>
                    </a:cubicBezTo>
                    <a:cubicBezTo>
                      <a:pt x="26843" y="32314"/>
                      <a:pt x="26874" y="32205"/>
                      <a:pt x="26889" y="32034"/>
                    </a:cubicBezTo>
                    <a:cubicBezTo>
                      <a:pt x="26905" y="31862"/>
                      <a:pt x="27014" y="32034"/>
                      <a:pt x="27061" y="32034"/>
                    </a:cubicBezTo>
                    <a:cubicBezTo>
                      <a:pt x="26990" y="32037"/>
                      <a:pt x="26926" y="31992"/>
                      <a:pt x="26905" y="31925"/>
                    </a:cubicBezTo>
                    <a:cubicBezTo>
                      <a:pt x="27014" y="31925"/>
                      <a:pt x="26999" y="31816"/>
                      <a:pt x="26905" y="31800"/>
                    </a:cubicBezTo>
                    <a:cubicBezTo>
                      <a:pt x="27132" y="31576"/>
                      <a:pt x="27200" y="31237"/>
                      <a:pt x="27077" y="30943"/>
                    </a:cubicBezTo>
                    <a:cubicBezTo>
                      <a:pt x="26936" y="31036"/>
                      <a:pt x="26874" y="30943"/>
                      <a:pt x="26874" y="30771"/>
                    </a:cubicBezTo>
                    <a:cubicBezTo>
                      <a:pt x="26826" y="30817"/>
                      <a:pt x="26751" y="30817"/>
                      <a:pt x="26702" y="30771"/>
                    </a:cubicBezTo>
                    <a:cubicBezTo>
                      <a:pt x="26562" y="30943"/>
                      <a:pt x="26110" y="30927"/>
                      <a:pt x="25861" y="30896"/>
                    </a:cubicBezTo>
                    <a:cubicBezTo>
                      <a:pt x="25518" y="29774"/>
                      <a:pt x="24302" y="30428"/>
                      <a:pt x="23538" y="30693"/>
                    </a:cubicBezTo>
                    <a:cubicBezTo>
                      <a:pt x="21979" y="30226"/>
                      <a:pt x="21745" y="31301"/>
                      <a:pt x="20420" y="29664"/>
                    </a:cubicBezTo>
                    <a:cubicBezTo>
                      <a:pt x="20265" y="29664"/>
                      <a:pt x="20296" y="29431"/>
                      <a:pt x="20171" y="29368"/>
                    </a:cubicBezTo>
                    <a:cubicBezTo>
                      <a:pt x="20046" y="29306"/>
                      <a:pt x="20171" y="29259"/>
                      <a:pt x="20171" y="29166"/>
                    </a:cubicBezTo>
                    <a:cubicBezTo>
                      <a:pt x="20171" y="29072"/>
                      <a:pt x="19859" y="28947"/>
                      <a:pt x="19953" y="28885"/>
                    </a:cubicBezTo>
                    <a:cubicBezTo>
                      <a:pt x="19610" y="28885"/>
                      <a:pt x="19797" y="28573"/>
                      <a:pt x="19594" y="28620"/>
                    </a:cubicBezTo>
                    <a:cubicBezTo>
                      <a:pt x="19392" y="28667"/>
                      <a:pt x="19594" y="28542"/>
                      <a:pt x="19454" y="28542"/>
                    </a:cubicBezTo>
                    <a:lnTo>
                      <a:pt x="19454" y="28542"/>
                    </a:lnTo>
                    <a:lnTo>
                      <a:pt x="19454" y="28542"/>
                    </a:lnTo>
                    <a:cubicBezTo>
                      <a:pt x="19454" y="28542"/>
                      <a:pt x="19454" y="28542"/>
                      <a:pt x="19454" y="28449"/>
                    </a:cubicBezTo>
                    <a:cubicBezTo>
                      <a:pt x="19454" y="28355"/>
                      <a:pt x="19625" y="28449"/>
                      <a:pt x="19641" y="28449"/>
                    </a:cubicBezTo>
                    <a:cubicBezTo>
                      <a:pt x="19657" y="28449"/>
                      <a:pt x="19127" y="28449"/>
                      <a:pt x="19282" y="28277"/>
                    </a:cubicBezTo>
                    <a:cubicBezTo>
                      <a:pt x="19158" y="28277"/>
                      <a:pt x="19127" y="28277"/>
                      <a:pt x="19095" y="28121"/>
                    </a:cubicBezTo>
                    <a:cubicBezTo>
                      <a:pt x="19064" y="27965"/>
                      <a:pt x="19205" y="28121"/>
                      <a:pt x="19251" y="28121"/>
                    </a:cubicBezTo>
                    <a:cubicBezTo>
                      <a:pt x="19298" y="28121"/>
                      <a:pt x="19127" y="28121"/>
                      <a:pt x="19080" y="28121"/>
                    </a:cubicBezTo>
                    <a:cubicBezTo>
                      <a:pt x="19033" y="28121"/>
                      <a:pt x="19080" y="27997"/>
                      <a:pt x="19080" y="27934"/>
                    </a:cubicBezTo>
                    <a:cubicBezTo>
                      <a:pt x="19080" y="27872"/>
                      <a:pt x="19220" y="28074"/>
                      <a:pt x="19329" y="27934"/>
                    </a:cubicBezTo>
                    <a:cubicBezTo>
                      <a:pt x="19438" y="27794"/>
                      <a:pt x="19080" y="27856"/>
                      <a:pt x="19189" y="27794"/>
                    </a:cubicBezTo>
                    <a:lnTo>
                      <a:pt x="19189" y="27794"/>
                    </a:lnTo>
                    <a:cubicBezTo>
                      <a:pt x="19189" y="27794"/>
                      <a:pt x="19049" y="27560"/>
                      <a:pt x="18986" y="27498"/>
                    </a:cubicBezTo>
                    <a:cubicBezTo>
                      <a:pt x="19389" y="27087"/>
                      <a:pt x="19533" y="26488"/>
                      <a:pt x="19360" y="25939"/>
                    </a:cubicBezTo>
                    <a:cubicBezTo>
                      <a:pt x="19485" y="25939"/>
                      <a:pt x="19360" y="25767"/>
                      <a:pt x="19454" y="25736"/>
                    </a:cubicBezTo>
                    <a:cubicBezTo>
                      <a:pt x="19547" y="25705"/>
                      <a:pt x="19298" y="25643"/>
                      <a:pt x="19282" y="25534"/>
                    </a:cubicBezTo>
                    <a:lnTo>
                      <a:pt x="19282" y="25612"/>
                    </a:lnTo>
                    <a:cubicBezTo>
                      <a:pt x="19265" y="25345"/>
                      <a:pt x="19382" y="25087"/>
                      <a:pt x="19594" y="24926"/>
                    </a:cubicBezTo>
                    <a:cubicBezTo>
                      <a:pt x="19922" y="23866"/>
                      <a:pt x="20966" y="23445"/>
                      <a:pt x="21714" y="22728"/>
                    </a:cubicBezTo>
                    <a:cubicBezTo>
                      <a:pt x="21722" y="22582"/>
                      <a:pt x="21722" y="22437"/>
                      <a:pt x="21714" y="22291"/>
                    </a:cubicBezTo>
                    <a:cubicBezTo>
                      <a:pt x="21714" y="22120"/>
                      <a:pt x="22042" y="22042"/>
                      <a:pt x="21901" y="21855"/>
                    </a:cubicBezTo>
                    <a:cubicBezTo>
                      <a:pt x="22394" y="21610"/>
                      <a:pt x="22814" y="21239"/>
                      <a:pt x="23117" y="20779"/>
                    </a:cubicBezTo>
                    <a:cubicBezTo>
                      <a:pt x="23117" y="21091"/>
                      <a:pt x="23600" y="21075"/>
                      <a:pt x="23772" y="20966"/>
                    </a:cubicBezTo>
                    <a:cubicBezTo>
                      <a:pt x="24068" y="21325"/>
                      <a:pt x="24707" y="20717"/>
                      <a:pt x="25034" y="20623"/>
                    </a:cubicBezTo>
                    <a:cubicBezTo>
                      <a:pt x="25362" y="20530"/>
                      <a:pt x="26110" y="20623"/>
                      <a:pt x="26375" y="20499"/>
                    </a:cubicBezTo>
                    <a:cubicBezTo>
                      <a:pt x="26640" y="20374"/>
                      <a:pt x="26578" y="20717"/>
                      <a:pt x="26656" y="20499"/>
                    </a:cubicBezTo>
                    <a:cubicBezTo>
                      <a:pt x="26905" y="20717"/>
                      <a:pt x="27170" y="20374"/>
                      <a:pt x="27373" y="20499"/>
                    </a:cubicBezTo>
                    <a:cubicBezTo>
                      <a:pt x="27373" y="20327"/>
                      <a:pt x="27497" y="20623"/>
                      <a:pt x="27575" y="20670"/>
                    </a:cubicBezTo>
                    <a:cubicBezTo>
                      <a:pt x="27903" y="20343"/>
                      <a:pt x="27669" y="20748"/>
                      <a:pt x="27575" y="20888"/>
                    </a:cubicBezTo>
                    <a:cubicBezTo>
                      <a:pt x="28152" y="21278"/>
                      <a:pt x="27186" y="21434"/>
                      <a:pt x="27575" y="21699"/>
                    </a:cubicBezTo>
                    <a:cubicBezTo>
                      <a:pt x="27575" y="21699"/>
                      <a:pt x="27575" y="21699"/>
                      <a:pt x="27684" y="21699"/>
                    </a:cubicBezTo>
                    <a:cubicBezTo>
                      <a:pt x="27794" y="21699"/>
                      <a:pt x="27684" y="21621"/>
                      <a:pt x="27684" y="21699"/>
                    </a:cubicBezTo>
                    <a:cubicBezTo>
                      <a:pt x="27840" y="22073"/>
                      <a:pt x="28417" y="21792"/>
                      <a:pt x="28698" y="21995"/>
                    </a:cubicBezTo>
                    <a:cubicBezTo>
                      <a:pt x="31628" y="24022"/>
                      <a:pt x="29352" y="21387"/>
                      <a:pt x="31285" y="21995"/>
                    </a:cubicBezTo>
                    <a:cubicBezTo>
                      <a:pt x="31613" y="22307"/>
                      <a:pt x="32345" y="22213"/>
                      <a:pt x="32844" y="22416"/>
                    </a:cubicBezTo>
                    <a:cubicBezTo>
                      <a:pt x="33343" y="22619"/>
                      <a:pt x="33327" y="22322"/>
                      <a:pt x="33655" y="22229"/>
                    </a:cubicBezTo>
                    <a:cubicBezTo>
                      <a:pt x="33436" y="22307"/>
                      <a:pt x="33655" y="22229"/>
                      <a:pt x="33748" y="22229"/>
                    </a:cubicBezTo>
                    <a:cubicBezTo>
                      <a:pt x="33842" y="22229"/>
                      <a:pt x="33748" y="22229"/>
                      <a:pt x="33748" y="22229"/>
                    </a:cubicBezTo>
                    <a:cubicBezTo>
                      <a:pt x="33748" y="22229"/>
                      <a:pt x="33951" y="22229"/>
                      <a:pt x="33998" y="22229"/>
                    </a:cubicBezTo>
                    <a:cubicBezTo>
                      <a:pt x="34044" y="22229"/>
                      <a:pt x="34091" y="22338"/>
                      <a:pt x="34091" y="22385"/>
                    </a:cubicBezTo>
                    <a:cubicBezTo>
                      <a:pt x="34091" y="22432"/>
                      <a:pt x="34091" y="22291"/>
                      <a:pt x="34091" y="22229"/>
                    </a:cubicBezTo>
                    <a:cubicBezTo>
                      <a:pt x="35151" y="22587"/>
                      <a:pt x="34793" y="20670"/>
                      <a:pt x="34855" y="20312"/>
                    </a:cubicBezTo>
                    <a:cubicBezTo>
                      <a:pt x="34684" y="20452"/>
                      <a:pt x="34387" y="20312"/>
                      <a:pt x="34341" y="20561"/>
                    </a:cubicBezTo>
                    <a:cubicBezTo>
                      <a:pt x="34029" y="20919"/>
                      <a:pt x="33374" y="20062"/>
                      <a:pt x="33374" y="20561"/>
                    </a:cubicBezTo>
                    <a:cubicBezTo>
                      <a:pt x="33234" y="20561"/>
                      <a:pt x="32875" y="20717"/>
                      <a:pt x="32922" y="20452"/>
                    </a:cubicBezTo>
                    <a:cubicBezTo>
                      <a:pt x="32922" y="20452"/>
                      <a:pt x="32922" y="20452"/>
                      <a:pt x="32797" y="20452"/>
                    </a:cubicBezTo>
                    <a:cubicBezTo>
                      <a:pt x="32673" y="20452"/>
                      <a:pt x="32626" y="20592"/>
                      <a:pt x="32610" y="20452"/>
                    </a:cubicBezTo>
                    <a:lnTo>
                      <a:pt x="32423" y="20452"/>
                    </a:lnTo>
                    <a:cubicBezTo>
                      <a:pt x="32423" y="20374"/>
                      <a:pt x="32626" y="20452"/>
                      <a:pt x="32626" y="20327"/>
                    </a:cubicBezTo>
                    <a:cubicBezTo>
                      <a:pt x="32626" y="20202"/>
                      <a:pt x="32267" y="20421"/>
                      <a:pt x="32454" y="20327"/>
                    </a:cubicBezTo>
                    <a:cubicBezTo>
                      <a:pt x="32236" y="20187"/>
                      <a:pt x="32454" y="20062"/>
                      <a:pt x="32127" y="19984"/>
                    </a:cubicBezTo>
                    <a:cubicBezTo>
                      <a:pt x="31800" y="19906"/>
                      <a:pt x="32127" y="19859"/>
                      <a:pt x="32127" y="19813"/>
                    </a:cubicBezTo>
                    <a:cubicBezTo>
                      <a:pt x="32127" y="19766"/>
                      <a:pt x="32127" y="19922"/>
                      <a:pt x="32283" y="19813"/>
                    </a:cubicBezTo>
                    <a:lnTo>
                      <a:pt x="32283" y="19813"/>
                    </a:lnTo>
                    <a:cubicBezTo>
                      <a:pt x="32283" y="19813"/>
                      <a:pt x="32408" y="19813"/>
                      <a:pt x="32376" y="19688"/>
                    </a:cubicBezTo>
                    <a:cubicBezTo>
                      <a:pt x="32345" y="19563"/>
                      <a:pt x="32221" y="19532"/>
                      <a:pt x="32376" y="19501"/>
                    </a:cubicBezTo>
                    <a:cubicBezTo>
                      <a:pt x="31940" y="19657"/>
                      <a:pt x="32158" y="19002"/>
                      <a:pt x="32470" y="19220"/>
                    </a:cubicBezTo>
                    <a:cubicBezTo>
                      <a:pt x="32470" y="19096"/>
                      <a:pt x="32735" y="19220"/>
                      <a:pt x="32875" y="19220"/>
                    </a:cubicBezTo>
                    <a:cubicBezTo>
                      <a:pt x="32595" y="19111"/>
                      <a:pt x="33000" y="19127"/>
                      <a:pt x="33031" y="19049"/>
                    </a:cubicBezTo>
                    <a:cubicBezTo>
                      <a:pt x="32376" y="18846"/>
                      <a:pt x="33374" y="18940"/>
                      <a:pt x="33421" y="18862"/>
                    </a:cubicBezTo>
                    <a:cubicBezTo>
                      <a:pt x="33546" y="18519"/>
                      <a:pt x="34013" y="18566"/>
                      <a:pt x="34294" y="18488"/>
                    </a:cubicBezTo>
                    <a:cubicBezTo>
                      <a:pt x="34294" y="18644"/>
                      <a:pt x="34450" y="18659"/>
                      <a:pt x="34543" y="18488"/>
                    </a:cubicBezTo>
                    <a:cubicBezTo>
                      <a:pt x="34637" y="18316"/>
                      <a:pt x="34668" y="18753"/>
                      <a:pt x="34746" y="18628"/>
                    </a:cubicBezTo>
                    <a:cubicBezTo>
                      <a:pt x="36991" y="19080"/>
                      <a:pt x="35385" y="17537"/>
                      <a:pt x="34356" y="17287"/>
                    </a:cubicBezTo>
                    <a:cubicBezTo>
                      <a:pt x="34356" y="17287"/>
                      <a:pt x="34356" y="17287"/>
                      <a:pt x="34356" y="17163"/>
                    </a:cubicBezTo>
                    <a:cubicBezTo>
                      <a:pt x="34356" y="17038"/>
                      <a:pt x="34543" y="17163"/>
                      <a:pt x="34465" y="17054"/>
                    </a:cubicBezTo>
                    <a:cubicBezTo>
                      <a:pt x="34387" y="16944"/>
                      <a:pt x="34668" y="16913"/>
                      <a:pt x="34465" y="16835"/>
                    </a:cubicBezTo>
                    <a:cubicBezTo>
                      <a:pt x="34263" y="16757"/>
                      <a:pt x="34372" y="16835"/>
                      <a:pt x="34356" y="16742"/>
                    </a:cubicBezTo>
                    <a:cubicBezTo>
                      <a:pt x="34341" y="16648"/>
                      <a:pt x="34512" y="16742"/>
                      <a:pt x="34512" y="16742"/>
                    </a:cubicBezTo>
                    <a:cubicBezTo>
                      <a:pt x="34512" y="16742"/>
                      <a:pt x="34637" y="16617"/>
                      <a:pt x="34606" y="16539"/>
                    </a:cubicBezTo>
                    <a:cubicBezTo>
                      <a:pt x="34574" y="16461"/>
                      <a:pt x="34169" y="16539"/>
                      <a:pt x="34076" y="16789"/>
                    </a:cubicBezTo>
                    <a:cubicBezTo>
                      <a:pt x="34076" y="16789"/>
                      <a:pt x="33982" y="16867"/>
                      <a:pt x="33904" y="16789"/>
                    </a:cubicBezTo>
                    <a:cubicBezTo>
                      <a:pt x="33826" y="16711"/>
                      <a:pt x="33811" y="16789"/>
                      <a:pt x="33764" y="16789"/>
                    </a:cubicBezTo>
                    <a:cubicBezTo>
                      <a:pt x="33717" y="16789"/>
                      <a:pt x="33764" y="17038"/>
                      <a:pt x="33764" y="16976"/>
                    </a:cubicBezTo>
                    <a:cubicBezTo>
                      <a:pt x="33764" y="16913"/>
                      <a:pt x="33764" y="16867"/>
                      <a:pt x="33764" y="16851"/>
                    </a:cubicBezTo>
                    <a:cubicBezTo>
                      <a:pt x="33764" y="16835"/>
                      <a:pt x="33546" y="16991"/>
                      <a:pt x="33468" y="17054"/>
                    </a:cubicBezTo>
                    <a:cubicBezTo>
                      <a:pt x="33390" y="17116"/>
                      <a:pt x="33733" y="17054"/>
                      <a:pt x="33701" y="17194"/>
                    </a:cubicBezTo>
                    <a:cubicBezTo>
                      <a:pt x="33670" y="17334"/>
                      <a:pt x="33701" y="17194"/>
                      <a:pt x="33701" y="17194"/>
                    </a:cubicBezTo>
                    <a:cubicBezTo>
                      <a:pt x="33701" y="17194"/>
                      <a:pt x="33701" y="17303"/>
                      <a:pt x="33873" y="17287"/>
                    </a:cubicBezTo>
                    <a:cubicBezTo>
                      <a:pt x="34044" y="17272"/>
                      <a:pt x="33592" y="17085"/>
                      <a:pt x="33655" y="16976"/>
                    </a:cubicBezTo>
                    <a:cubicBezTo>
                      <a:pt x="33717" y="16867"/>
                      <a:pt x="33826" y="17225"/>
                      <a:pt x="33935" y="17256"/>
                    </a:cubicBezTo>
                    <a:cubicBezTo>
                      <a:pt x="34044" y="17287"/>
                      <a:pt x="33935" y="17256"/>
                      <a:pt x="34044" y="17256"/>
                    </a:cubicBezTo>
                    <a:cubicBezTo>
                      <a:pt x="34154" y="17256"/>
                      <a:pt x="34138" y="17178"/>
                      <a:pt x="34200" y="17178"/>
                    </a:cubicBezTo>
                    <a:cubicBezTo>
                      <a:pt x="34263" y="17178"/>
                      <a:pt x="34200" y="17381"/>
                      <a:pt x="33998" y="17334"/>
                    </a:cubicBezTo>
                    <a:cubicBezTo>
                      <a:pt x="33795" y="17287"/>
                      <a:pt x="33452" y="17833"/>
                      <a:pt x="33499" y="17334"/>
                    </a:cubicBezTo>
                    <a:cubicBezTo>
                      <a:pt x="33374" y="17225"/>
                      <a:pt x="33094" y="17334"/>
                      <a:pt x="33359" y="17116"/>
                    </a:cubicBezTo>
                    <a:cubicBezTo>
                      <a:pt x="33624" y="16898"/>
                      <a:pt x="33234" y="16882"/>
                      <a:pt x="33125" y="17007"/>
                    </a:cubicBezTo>
                    <a:cubicBezTo>
                      <a:pt x="33016" y="17132"/>
                      <a:pt x="32953" y="17007"/>
                      <a:pt x="33016" y="16898"/>
                    </a:cubicBezTo>
                    <a:cubicBezTo>
                      <a:pt x="33078" y="16789"/>
                      <a:pt x="32844" y="16898"/>
                      <a:pt x="32813" y="16898"/>
                    </a:cubicBezTo>
                    <a:cubicBezTo>
                      <a:pt x="32782" y="16898"/>
                      <a:pt x="33016" y="16898"/>
                      <a:pt x="33078" y="16898"/>
                    </a:cubicBezTo>
                    <a:cubicBezTo>
                      <a:pt x="33030" y="16943"/>
                      <a:pt x="32955" y="16943"/>
                      <a:pt x="32906" y="16898"/>
                    </a:cubicBezTo>
                    <a:cubicBezTo>
                      <a:pt x="32906" y="17054"/>
                      <a:pt x="32782" y="16898"/>
                      <a:pt x="32751" y="17007"/>
                    </a:cubicBezTo>
                    <a:cubicBezTo>
                      <a:pt x="32719" y="17116"/>
                      <a:pt x="32751" y="17178"/>
                      <a:pt x="32595" y="17194"/>
                    </a:cubicBezTo>
                    <a:cubicBezTo>
                      <a:pt x="32439" y="17209"/>
                      <a:pt x="32595" y="17443"/>
                      <a:pt x="32486" y="17319"/>
                    </a:cubicBezTo>
                    <a:cubicBezTo>
                      <a:pt x="32595" y="17599"/>
                      <a:pt x="32486" y="17615"/>
                      <a:pt x="32314" y="17786"/>
                    </a:cubicBezTo>
                    <a:cubicBezTo>
                      <a:pt x="32143" y="17958"/>
                      <a:pt x="32314" y="18020"/>
                      <a:pt x="32314" y="18145"/>
                    </a:cubicBezTo>
                    <a:cubicBezTo>
                      <a:pt x="32314" y="18269"/>
                      <a:pt x="32127" y="18238"/>
                      <a:pt x="32189" y="18379"/>
                    </a:cubicBezTo>
                    <a:cubicBezTo>
                      <a:pt x="32252" y="18519"/>
                      <a:pt x="32314" y="18550"/>
                      <a:pt x="32314" y="18784"/>
                    </a:cubicBezTo>
                    <a:cubicBezTo>
                      <a:pt x="32314" y="19018"/>
                      <a:pt x="32719" y="18909"/>
                      <a:pt x="32579" y="19049"/>
                    </a:cubicBezTo>
                    <a:cubicBezTo>
                      <a:pt x="32439" y="19189"/>
                      <a:pt x="32158" y="19189"/>
                      <a:pt x="31956" y="19361"/>
                    </a:cubicBezTo>
                    <a:cubicBezTo>
                      <a:pt x="31956" y="19267"/>
                      <a:pt x="31956" y="19220"/>
                      <a:pt x="32049" y="19189"/>
                    </a:cubicBezTo>
                    <a:cubicBezTo>
                      <a:pt x="31862" y="19189"/>
                      <a:pt x="31628" y="18955"/>
                      <a:pt x="31519" y="19189"/>
                    </a:cubicBezTo>
                    <a:cubicBezTo>
                      <a:pt x="31363" y="19189"/>
                      <a:pt x="31410" y="19189"/>
                      <a:pt x="31301" y="19267"/>
                    </a:cubicBezTo>
                    <a:cubicBezTo>
                      <a:pt x="31192" y="19345"/>
                      <a:pt x="31301" y="19361"/>
                      <a:pt x="31410" y="19407"/>
                    </a:cubicBezTo>
                    <a:cubicBezTo>
                      <a:pt x="31519" y="19454"/>
                      <a:pt x="31239" y="19329"/>
                      <a:pt x="31254" y="19407"/>
                    </a:cubicBezTo>
                    <a:cubicBezTo>
                      <a:pt x="31270" y="19485"/>
                      <a:pt x="31363" y="19407"/>
                      <a:pt x="31254" y="19485"/>
                    </a:cubicBezTo>
                    <a:cubicBezTo>
                      <a:pt x="31145" y="19563"/>
                      <a:pt x="31005" y="19376"/>
                      <a:pt x="31254" y="19485"/>
                    </a:cubicBezTo>
                    <a:cubicBezTo>
                      <a:pt x="31129" y="19485"/>
                      <a:pt x="31083" y="19361"/>
                      <a:pt x="31005" y="19314"/>
                    </a:cubicBezTo>
                    <a:cubicBezTo>
                      <a:pt x="30927" y="19267"/>
                      <a:pt x="30786" y="19423"/>
                      <a:pt x="31005" y="19532"/>
                    </a:cubicBezTo>
                    <a:cubicBezTo>
                      <a:pt x="31223" y="19641"/>
                      <a:pt x="31348" y="19953"/>
                      <a:pt x="31005" y="19719"/>
                    </a:cubicBezTo>
                    <a:cubicBezTo>
                      <a:pt x="31005" y="19719"/>
                      <a:pt x="31005" y="19719"/>
                      <a:pt x="31005" y="19719"/>
                    </a:cubicBezTo>
                    <a:cubicBezTo>
                      <a:pt x="31005" y="19719"/>
                      <a:pt x="31005" y="19828"/>
                      <a:pt x="31005" y="19813"/>
                    </a:cubicBezTo>
                    <a:cubicBezTo>
                      <a:pt x="31176" y="19937"/>
                      <a:pt x="31472" y="19984"/>
                      <a:pt x="31457" y="20234"/>
                    </a:cubicBezTo>
                    <a:cubicBezTo>
                      <a:pt x="31348" y="20234"/>
                      <a:pt x="31285" y="20124"/>
                      <a:pt x="31161" y="20234"/>
                    </a:cubicBezTo>
                    <a:cubicBezTo>
                      <a:pt x="31036" y="20343"/>
                      <a:pt x="31441" y="20452"/>
                      <a:pt x="31270" y="20389"/>
                    </a:cubicBezTo>
                    <a:cubicBezTo>
                      <a:pt x="31098" y="20327"/>
                      <a:pt x="31270" y="20389"/>
                      <a:pt x="31270" y="20389"/>
                    </a:cubicBezTo>
                    <a:cubicBezTo>
                      <a:pt x="31270" y="20389"/>
                      <a:pt x="31270" y="20608"/>
                      <a:pt x="31270" y="20670"/>
                    </a:cubicBezTo>
                    <a:cubicBezTo>
                      <a:pt x="31270" y="20732"/>
                      <a:pt x="31051" y="20499"/>
                      <a:pt x="31083" y="20670"/>
                    </a:cubicBezTo>
                    <a:cubicBezTo>
                      <a:pt x="31083" y="20530"/>
                      <a:pt x="30989" y="20545"/>
                      <a:pt x="30927" y="20436"/>
                    </a:cubicBezTo>
                    <a:cubicBezTo>
                      <a:pt x="30864" y="20327"/>
                      <a:pt x="30927" y="20514"/>
                      <a:pt x="30927" y="20561"/>
                    </a:cubicBezTo>
                    <a:cubicBezTo>
                      <a:pt x="30845" y="20514"/>
                      <a:pt x="30806" y="20417"/>
                      <a:pt x="30833" y="20327"/>
                    </a:cubicBezTo>
                    <a:cubicBezTo>
                      <a:pt x="30724" y="20234"/>
                      <a:pt x="30553" y="20171"/>
                      <a:pt x="30724" y="20047"/>
                    </a:cubicBezTo>
                    <a:cubicBezTo>
                      <a:pt x="30896" y="19922"/>
                      <a:pt x="31036" y="20202"/>
                      <a:pt x="31176" y="20047"/>
                    </a:cubicBezTo>
                    <a:cubicBezTo>
                      <a:pt x="31051" y="20047"/>
                      <a:pt x="30911" y="19891"/>
                      <a:pt x="30818" y="20047"/>
                    </a:cubicBezTo>
                    <a:cubicBezTo>
                      <a:pt x="30724" y="20202"/>
                      <a:pt x="30709" y="19937"/>
                      <a:pt x="30662" y="20047"/>
                    </a:cubicBezTo>
                    <a:cubicBezTo>
                      <a:pt x="30444" y="19828"/>
                      <a:pt x="30288" y="19485"/>
                      <a:pt x="30007" y="19345"/>
                    </a:cubicBezTo>
                    <a:cubicBezTo>
                      <a:pt x="30007" y="19174"/>
                      <a:pt x="30007" y="18987"/>
                      <a:pt x="30007" y="18815"/>
                    </a:cubicBezTo>
                    <a:cubicBezTo>
                      <a:pt x="29820" y="18815"/>
                      <a:pt x="29711" y="18566"/>
                      <a:pt x="29571" y="18441"/>
                    </a:cubicBezTo>
                    <a:cubicBezTo>
                      <a:pt x="29430" y="18316"/>
                      <a:pt x="29337" y="18441"/>
                      <a:pt x="29290" y="18441"/>
                    </a:cubicBezTo>
                    <a:cubicBezTo>
                      <a:pt x="29243" y="18441"/>
                      <a:pt x="29290" y="18441"/>
                      <a:pt x="29399" y="18441"/>
                    </a:cubicBezTo>
                    <a:cubicBezTo>
                      <a:pt x="29508" y="18441"/>
                      <a:pt x="29134" y="18207"/>
                      <a:pt x="28978" y="18269"/>
                    </a:cubicBezTo>
                    <a:cubicBezTo>
                      <a:pt x="28822" y="18332"/>
                      <a:pt x="28511" y="18004"/>
                      <a:pt x="28807" y="18020"/>
                    </a:cubicBezTo>
                    <a:cubicBezTo>
                      <a:pt x="28448" y="17802"/>
                      <a:pt x="28620" y="17365"/>
                      <a:pt x="28292" y="17817"/>
                    </a:cubicBezTo>
                    <a:cubicBezTo>
                      <a:pt x="28292" y="17724"/>
                      <a:pt x="28168" y="17615"/>
                      <a:pt x="28292" y="17521"/>
                    </a:cubicBezTo>
                    <a:cubicBezTo>
                      <a:pt x="28417" y="17428"/>
                      <a:pt x="27981" y="17521"/>
                      <a:pt x="27903" y="17630"/>
                    </a:cubicBezTo>
                    <a:cubicBezTo>
                      <a:pt x="27903" y="18098"/>
                      <a:pt x="28448" y="18394"/>
                      <a:pt x="28729" y="18768"/>
                    </a:cubicBezTo>
                    <a:cubicBezTo>
                      <a:pt x="28869" y="18768"/>
                      <a:pt x="29243" y="18768"/>
                      <a:pt x="29025" y="18955"/>
                    </a:cubicBezTo>
                    <a:cubicBezTo>
                      <a:pt x="29243" y="19080"/>
                      <a:pt x="29929" y="19205"/>
                      <a:pt x="29773" y="19548"/>
                    </a:cubicBezTo>
                    <a:cubicBezTo>
                      <a:pt x="29633" y="19548"/>
                      <a:pt x="29773" y="19314"/>
                      <a:pt x="29524" y="19361"/>
                    </a:cubicBezTo>
                    <a:cubicBezTo>
                      <a:pt x="29274" y="19407"/>
                      <a:pt x="29274" y="19548"/>
                      <a:pt x="29321" y="19626"/>
                    </a:cubicBezTo>
                    <a:cubicBezTo>
                      <a:pt x="29649" y="19719"/>
                      <a:pt x="29321" y="19906"/>
                      <a:pt x="29321" y="20093"/>
                    </a:cubicBezTo>
                    <a:cubicBezTo>
                      <a:pt x="29321" y="20280"/>
                      <a:pt x="28900" y="20343"/>
                      <a:pt x="29119" y="20093"/>
                    </a:cubicBezTo>
                    <a:cubicBezTo>
                      <a:pt x="29219" y="19835"/>
                      <a:pt x="29104" y="19543"/>
                      <a:pt x="28854" y="19423"/>
                    </a:cubicBezTo>
                    <a:cubicBezTo>
                      <a:pt x="28713" y="19423"/>
                      <a:pt x="28854" y="19314"/>
                      <a:pt x="28729" y="19267"/>
                    </a:cubicBezTo>
                    <a:cubicBezTo>
                      <a:pt x="28603" y="19264"/>
                      <a:pt x="28490" y="19192"/>
                      <a:pt x="28433" y="19080"/>
                    </a:cubicBezTo>
                    <a:cubicBezTo>
                      <a:pt x="27513" y="19080"/>
                      <a:pt x="27357" y="17225"/>
                      <a:pt x="26391" y="18347"/>
                    </a:cubicBezTo>
                    <a:cubicBezTo>
                      <a:pt x="26391" y="18534"/>
                      <a:pt x="26079" y="18347"/>
                      <a:pt x="25985" y="18254"/>
                    </a:cubicBezTo>
                    <a:cubicBezTo>
                      <a:pt x="25019" y="18145"/>
                      <a:pt x="25985" y="18987"/>
                      <a:pt x="24910" y="19142"/>
                    </a:cubicBezTo>
                    <a:cubicBezTo>
                      <a:pt x="24988" y="19142"/>
                      <a:pt x="24910" y="19298"/>
                      <a:pt x="24910" y="19252"/>
                    </a:cubicBezTo>
                    <a:cubicBezTo>
                      <a:pt x="24271" y="19750"/>
                      <a:pt x="24910" y="19719"/>
                      <a:pt x="24676" y="19969"/>
                    </a:cubicBezTo>
                    <a:cubicBezTo>
                      <a:pt x="24458" y="19969"/>
                      <a:pt x="24567" y="20374"/>
                      <a:pt x="24364" y="20327"/>
                    </a:cubicBezTo>
                    <a:cubicBezTo>
                      <a:pt x="23974" y="20748"/>
                      <a:pt x="23522" y="20327"/>
                      <a:pt x="23070" y="20779"/>
                    </a:cubicBezTo>
                    <a:cubicBezTo>
                      <a:pt x="22774" y="20779"/>
                      <a:pt x="22821" y="20140"/>
                      <a:pt x="22416" y="20421"/>
                    </a:cubicBezTo>
                    <a:cubicBezTo>
                      <a:pt x="22416" y="20421"/>
                      <a:pt x="22229" y="20296"/>
                      <a:pt x="22151" y="20421"/>
                    </a:cubicBezTo>
                    <a:cubicBezTo>
                      <a:pt x="22167" y="20247"/>
                      <a:pt x="22198" y="20075"/>
                      <a:pt x="22244" y="19906"/>
                    </a:cubicBezTo>
                    <a:cubicBezTo>
                      <a:pt x="21948" y="19906"/>
                      <a:pt x="22244" y="19906"/>
                      <a:pt x="22244" y="19750"/>
                    </a:cubicBezTo>
                    <a:cubicBezTo>
                      <a:pt x="21870" y="19984"/>
                      <a:pt x="22338" y="19329"/>
                      <a:pt x="22353" y="19189"/>
                    </a:cubicBezTo>
                    <a:cubicBezTo>
                      <a:pt x="22369" y="19049"/>
                      <a:pt x="22353" y="18690"/>
                      <a:pt x="22447" y="18566"/>
                    </a:cubicBezTo>
                    <a:lnTo>
                      <a:pt x="22447" y="18566"/>
                    </a:lnTo>
                    <a:cubicBezTo>
                      <a:pt x="22447" y="18566"/>
                      <a:pt x="22447" y="18566"/>
                      <a:pt x="22447" y="18457"/>
                    </a:cubicBezTo>
                    <a:cubicBezTo>
                      <a:pt x="22447" y="18347"/>
                      <a:pt x="22447" y="18457"/>
                      <a:pt x="22447" y="18363"/>
                    </a:cubicBezTo>
                    <a:cubicBezTo>
                      <a:pt x="22447" y="18269"/>
                      <a:pt x="22634" y="18238"/>
                      <a:pt x="22712" y="18192"/>
                    </a:cubicBezTo>
                    <a:cubicBezTo>
                      <a:pt x="22790" y="18145"/>
                      <a:pt x="23055" y="18192"/>
                      <a:pt x="23133" y="18192"/>
                    </a:cubicBezTo>
                    <a:cubicBezTo>
                      <a:pt x="23460" y="18192"/>
                      <a:pt x="23819" y="18347"/>
                      <a:pt x="24146" y="18269"/>
                    </a:cubicBezTo>
                    <a:cubicBezTo>
                      <a:pt x="24723" y="18722"/>
                      <a:pt x="24364" y="17163"/>
                      <a:pt x="24754" y="17755"/>
                    </a:cubicBezTo>
                    <a:cubicBezTo>
                      <a:pt x="24754" y="17662"/>
                      <a:pt x="24660" y="17521"/>
                      <a:pt x="24551" y="17506"/>
                    </a:cubicBezTo>
                    <a:cubicBezTo>
                      <a:pt x="24707" y="17303"/>
                      <a:pt x="24411" y="17256"/>
                      <a:pt x="24333" y="17116"/>
                    </a:cubicBezTo>
                    <a:cubicBezTo>
                      <a:pt x="24255" y="16976"/>
                      <a:pt x="24333" y="16898"/>
                      <a:pt x="24458" y="16991"/>
                    </a:cubicBezTo>
                    <a:cubicBezTo>
                      <a:pt x="24364" y="16851"/>
                      <a:pt x="24255" y="17085"/>
                      <a:pt x="24255" y="16835"/>
                    </a:cubicBezTo>
                    <a:cubicBezTo>
                      <a:pt x="24146" y="16835"/>
                      <a:pt x="23959" y="16648"/>
                      <a:pt x="23803" y="16757"/>
                    </a:cubicBezTo>
                    <a:cubicBezTo>
                      <a:pt x="23647" y="16867"/>
                      <a:pt x="23803" y="16757"/>
                      <a:pt x="23803" y="16648"/>
                    </a:cubicBezTo>
                    <a:cubicBezTo>
                      <a:pt x="23803" y="16539"/>
                      <a:pt x="23897" y="16508"/>
                      <a:pt x="23803" y="16648"/>
                    </a:cubicBezTo>
                    <a:cubicBezTo>
                      <a:pt x="23709" y="16789"/>
                      <a:pt x="23803" y="16648"/>
                      <a:pt x="23803" y="16648"/>
                    </a:cubicBezTo>
                    <a:cubicBezTo>
                      <a:pt x="23460" y="16539"/>
                      <a:pt x="23990" y="16524"/>
                      <a:pt x="24099" y="16446"/>
                    </a:cubicBezTo>
                    <a:cubicBezTo>
                      <a:pt x="24224" y="16602"/>
                      <a:pt x="24317" y="16446"/>
                      <a:pt x="24520" y="16555"/>
                    </a:cubicBezTo>
                    <a:cubicBezTo>
                      <a:pt x="24493" y="16422"/>
                      <a:pt x="24457" y="16292"/>
                      <a:pt x="24411" y="16165"/>
                    </a:cubicBezTo>
                    <a:cubicBezTo>
                      <a:pt x="24411" y="16165"/>
                      <a:pt x="24551" y="16165"/>
                      <a:pt x="24598" y="16165"/>
                    </a:cubicBezTo>
                    <a:cubicBezTo>
                      <a:pt x="24645" y="16165"/>
                      <a:pt x="24863" y="16337"/>
                      <a:pt x="24957" y="16165"/>
                    </a:cubicBezTo>
                    <a:cubicBezTo>
                      <a:pt x="24738" y="15994"/>
                      <a:pt x="25206" y="16072"/>
                      <a:pt x="25206" y="15978"/>
                    </a:cubicBezTo>
                    <a:cubicBezTo>
                      <a:pt x="25206" y="15884"/>
                      <a:pt x="25284" y="15775"/>
                      <a:pt x="25315" y="15682"/>
                    </a:cubicBezTo>
                    <a:cubicBezTo>
                      <a:pt x="25346" y="15588"/>
                      <a:pt x="25596" y="15417"/>
                      <a:pt x="25814" y="15542"/>
                    </a:cubicBezTo>
                    <a:cubicBezTo>
                      <a:pt x="25658" y="15542"/>
                      <a:pt x="25611" y="15354"/>
                      <a:pt x="25814" y="15542"/>
                    </a:cubicBezTo>
                    <a:cubicBezTo>
                      <a:pt x="26017" y="15729"/>
                      <a:pt x="25705" y="15432"/>
                      <a:pt x="25907" y="15448"/>
                    </a:cubicBezTo>
                    <a:cubicBezTo>
                      <a:pt x="25580" y="15214"/>
                      <a:pt x="26250" y="14622"/>
                      <a:pt x="26578" y="14918"/>
                    </a:cubicBezTo>
                    <a:cubicBezTo>
                      <a:pt x="26344" y="14747"/>
                      <a:pt x="26671" y="14622"/>
                      <a:pt x="26734" y="14918"/>
                    </a:cubicBezTo>
                    <a:cubicBezTo>
                      <a:pt x="26734" y="14700"/>
                      <a:pt x="26734" y="14918"/>
                      <a:pt x="26858" y="14918"/>
                    </a:cubicBezTo>
                    <a:cubicBezTo>
                      <a:pt x="26718" y="14544"/>
                      <a:pt x="26999" y="14731"/>
                      <a:pt x="27186" y="14793"/>
                    </a:cubicBezTo>
                    <a:cubicBezTo>
                      <a:pt x="26671" y="14559"/>
                      <a:pt x="26812" y="14061"/>
                      <a:pt x="26671" y="13718"/>
                    </a:cubicBezTo>
                    <a:cubicBezTo>
                      <a:pt x="26889" y="13718"/>
                      <a:pt x="26796" y="13577"/>
                      <a:pt x="26921" y="13718"/>
                    </a:cubicBezTo>
                    <a:cubicBezTo>
                      <a:pt x="26921" y="13281"/>
                      <a:pt x="27077" y="13718"/>
                      <a:pt x="27248" y="13718"/>
                    </a:cubicBezTo>
                    <a:cubicBezTo>
                      <a:pt x="27248" y="13952"/>
                      <a:pt x="26796" y="14092"/>
                      <a:pt x="27154" y="14528"/>
                    </a:cubicBezTo>
                    <a:cubicBezTo>
                      <a:pt x="27154" y="14419"/>
                      <a:pt x="27529" y="14528"/>
                      <a:pt x="27279" y="14606"/>
                    </a:cubicBezTo>
                    <a:cubicBezTo>
                      <a:pt x="27762" y="14606"/>
                      <a:pt x="27575" y="14310"/>
                      <a:pt x="28027" y="14606"/>
                    </a:cubicBezTo>
                    <a:cubicBezTo>
                      <a:pt x="28246" y="14949"/>
                      <a:pt x="28729" y="13936"/>
                      <a:pt x="29134" y="14310"/>
                    </a:cubicBezTo>
                    <a:cubicBezTo>
                      <a:pt x="28885" y="14310"/>
                      <a:pt x="29134" y="14559"/>
                      <a:pt x="29337" y="14310"/>
                    </a:cubicBezTo>
                    <a:cubicBezTo>
                      <a:pt x="29312" y="14365"/>
                      <a:pt x="29267" y="14410"/>
                      <a:pt x="29212" y="14435"/>
                    </a:cubicBezTo>
                    <a:cubicBezTo>
                      <a:pt x="30927" y="14357"/>
                      <a:pt x="28729" y="13858"/>
                      <a:pt x="29680" y="13157"/>
                    </a:cubicBezTo>
                    <a:cubicBezTo>
                      <a:pt x="30023" y="13687"/>
                      <a:pt x="30132" y="13328"/>
                      <a:pt x="29976" y="12907"/>
                    </a:cubicBezTo>
                    <a:cubicBezTo>
                      <a:pt x="29976" y="13094"/>
                      <a:pt x="29711" y="12907"/>
                      <a:pt x="29804" y="12767"/>
                    </a:cubicBezTo>
                    <a:cubicBezTo>
                      <a:pt x="29524" y="12767"/>
                      <a:pt x="29804" y="12486"/>
                      <a:pt x="29804" y="12424"/>
                    </a:cubicBezTo>
                    <a:cubicBezTo>
                      <a:pt x="29804" y="12362"/>
                      <a:pt x="30023" y="12424"/>
                      <a:pt x="29929" y="12424"/>
                    </a:cubicBezTo>
                    <a:lnTo>
                      <a:pt x="30506" y="12517"/>
                    </a:lnTo>
                    <a:cubicBezTo>
                      <a:pt x="30334" y="12252"/>
                      <a:pt x="30506" y="12424"/>
                      <a:pt x="30631" y="12221"/>
                    </a:cubicBezTo>
                    <a:cubicBezTo>
                      <a:pt x="30755" y="12019"/>
                      <a:pt x="30225" y="12128"/>
                      <a:pt x="30444" y="11972"/>
                    </a:cubicBezTo>
                    <a:cubicBezTo>
                      <a:pt x="30444" y="11972"/>
                      <a:pt x="30334" y="12065"/>
                      <a:pt x="30319" y="11972"/>
                    </a:cubicBezTo>
                    <a:cubicBezTo>
                      <a:pt x="30319" y="12112"/>
                      <a:pt x="30038" y="12128"/>
                      <a:pt x="29976" y="12081"/>
                    </a:cubicBezTo>
                    <a:cubicBezTo>
                      <a:pt x="29914" y="12034"/>
                      <a:pt x="29976" y="12081"/>
                      <a:pt x="29976" y="12081"/>
                    </a:cubicBezTo>
                    <a:cubicBezTo>
                      <a:pt x="29976" y="12081"/>
                      <a:pt x="29976" y="12299"/>
                      <a:pt x="29976" y="12081"/>
                    </a:cubicBezTo>
                    <a:cubicBezTo>
                      <a:pt x="29976" y="12206"/>
                      <a:pt x="29586" y="12221"/>
                      <a:pt x="29555" y="12362"/>
                    </a:cubicBezTo>
                    <a:cubicBezTo>
                      <a:pt x="29555" y="12081"/>
                      <a:pt x="29415" y="12174"/>
                      <a:pt x="29197" y="12034"/>
                    </a:cubicBezTo>
                    <a:cubicBezTo>
                      <a:pt x="28978" y="11894"/>
                      <a:pt x="28760" y="11021"/>
                      <a:pt x="28963" y="10943"/>
                    </a:cubicBezTo>
                    <a:cubicBezTo>
                      <a:pt x="29165" y="10865"/>
                      <a:pt x="28963" y="10865"/>
                      <a:pt x="29056" y="10943"/>
                    </a:cubicBezTo>
                    <a:cubicBezTo>
                      <a:pt x="29150" y="11021"/>
                      <a:pt x="29056" y="10818"/>
                      <a:pt x="29056" y="10725"/>
                    </a:cubicBezTo>
                    <a:cubicBezTo>
                      <a:pt x="29056" y="10631"/>
                      <a:pt x="29259" y="10304"/>
                      <a:pt x="29321" y="10397"/>
                    </a:cubicBezTo>
                    <a:cubicBezTo>
                      <a:pt x="29134" y="9992"/>
                      <a:pt x="28776" y="10117"/>
                      <a:pt x="28589" y="10148"/>
                    </a:cubicBezTo>
                    <a:cubicBezTo>
                      <a:pt x="28698" y="10304"/>
                      <a:pt x="28589" y="10507"/>
                      <a:pt x="28729" y="10631"/>
                    </a:cubicBezTo>
                    <a:cubicBezTo>
                      <a:pt x="28616" y="10941"/>
                      <a:pt x="28422" y="11216"/>
                      <a:pt x="28168" y="11426"/>
                    </a:cubicBezTo>
                    <a:cubicBezTo>
                      <a:pt x="28277" y="11504"/>
                      <a:pt x="28168" y="11660"/>
                      <a:pt x="28292" y="11769"/>
                    </a:cubicBezTo>
                    <a:cubicBezTo>
                      <a:pt x="28027" y="11909"/>
                      <a:pt x="29212" y="12704"/>
                      <a:pt x="28479" y="12517"/>
                    </a:cubicBezTo>
                    <a:cubicBezTo>
                      <a:pt x="28479" y="12517"/>
                      <a:pt x="28043" y="12517"/>
                      <a:pt x="28324" y="12627"/>
                    </a:cubicBezTo>
                    <a:cubicBezTo>
                      <a:pt x="28604" y="12736"/>
                      <a:pt x="28869" y="12814"/>
                      <a:pt x="28573" y="12751"/>
                    </a:cubicBezTo>
                    <a:cubicBezTo>
                      <a:pt x="28573" y="12751"/>
                      <a:pt x="28573" y="12938"/>
                      <a:pt x="28464" y="12876"/>
                    </a:cubicBezTo>
                    <a:cubicBezTo>
                      <a:pt x="28355" y="12814"/>
                      <a:pt x="28557" y="13001"/>
                      <a:pt x="28464" y="13016"/>
                    </a:cubicBezTo>
                    <a:cubicBezTo>
                      <a:pt x="28573" y="13016"/>
                      <a:pt x="28604" y="13250"/>
                      <a:pt x="28464" y="13172"/>
                    </a:cubicBezTo>
                    <a:cubicBezTo>
                      <a:pt x="28589" y="13422"/>
                      <a:pt x="28604" y="14076"/>
                      <a:pt x="28214" y="13827"/>
                    </a:cubicBezTo>
                    <a:cubicBezTo>
                      <a:pt x="27965" y="14793"/>
                      <a:pt x="27279" y="12845"/>
                      <a:pt x="27373" y="12751"/>
                    </a:cubicBezTo>
                    <a:cubicBezTo>
                      <a:pt x="27217" y="12658"/>
                      <a:pt x="27170" y="12564"/>
                      <a:pt x="27170" y="12533"/>
                    </a:cubicBezTo>
                    <a:cubicBezTo>
                      <a:pt x="27188" y="12620"/>
                      <a:pt x="27188" y="12711"/>
                      <a:pt x="27170" y="12798"/>
                    </a:cubicBezTo>
                    <a:cubicBezTo>
                      <a:pt x="27170" y="12798"/>
                      <a:pt x="27170" y="12798"/>
                      <a:pt x="26983" y="12673"/>
                    </a:cubicBezTo>
                    <a:cubicBezTo>
                      <a:pt x="26983" y="12814"/>
                      <a:pt x="26983" y="13032"/>
                      <a:pt x="26858" y="12969"/>
                    </a:cubicBezTo>
                    <a:cubicBezTo>
                      <a:pt x="26983" y="13125"/>
                      <a:pt x="26578" y="13234"/>
                      <a:pt x="26484" y="13094"/>
                    </a:cubicBezTo>
                    <a:cubicBezTo>
                      <a:pt x="26391" y="13203"/>
                      <a:pt x="26001" y="12751"/>
                      <a:pt x="26484" y="12798"/>
                    </a:cubicBezTo>
                    <a:cubicBezTo>
                      <a:pt x="26282" y="12798"/>
                      <a:pt x="26484" y="12704"/>
                      <a:pt x="26328" y="12595"/>
                    </a:cubicBezTo>
                    <a:cubicBezTo>
                      <a:pt x="26328" y="12876"/>
                      <a:pt x="26110" y="12424"/>
                      <a:pt x="26328" y="12595"/>
                    </a:cubicBezTo>
                    <a:cubicBezTo>
                      <a:pt x="26547" y="12767"/>
                      <a:pt x="26328" y="12595"/>
                      <a:pt x="26469" y="12502"/>
                    </a:cubicBezTo>
                    <a:cubicBezTo>
                      <a:pt x="26282" y="12502"/>
                      <a:pt x="26469" y="12206"/>
                      <a:pt x="26469" y="12393"/>
                    </a:cubicBezTo>
                    <a:cubicBezTo>
                      <a:pt x="26426" y="12350"/>
                      <a:pt x="26425" y="12281"/>
                      <a:pt x="26467" y="12238"/>
                    </a:cubicBezTo>
                    <a:cubicBezTo>
                      <a:pt x="26467" y="12238"/>
                      <a:pt x="26468" y="12237"/>
                      <a:pt x="26469" y="12237"/>
                    </a:cubicBezTo>
                    <a:cubicBezTo>
                      <a:pt x="26266" y="12315"/>
                      <a:pt x="26157" y="12455"/>
                      <a:pt x="26266" y="12237"/>
                    </a:cubicBezTo>
                    <a:cubicBezTo>
                      <a:pt x="26126" y="12237"/>
                      <a:pt x="26079" y="12315"/>
                      <a:pt x="26266" y="12143"/>
                    </a:cubicBezTo>
                    <a:cubicBezTo>
                      <a:pt x="25954" y="12019"/>
                      <a:pt x="26812" y="12237"/>
                      <a:pt x="26640" y="11941"/>
                    </a:cubicBezTo>
                    <a:cubicBezTo>
                      <a:pt x="26640" y="12097"/>
                      <a:pt x="25939" y="12065"/>
                      <a:pt x="26313" y="11941"/>
                    </a:cubicBezTo>
                    <a:cubicBezTo>
                      <a:pt x="26001" y="11941"/>
                      <a:pt x="26313" y="11832"/>
                      <a:pt x="26484" y="11816"/>
                    </a:cubicBezTo>
                    <a:cubicBezTo>
                      <a:pt x="26157" y="11816"/>
                      <a:pt x="26094" y="11644"/>
                      <a:pt x="26359" y="11722"/>
                    </a:cubicBezTo>
                    <a:cubicBezTo>
                      <a:pt x="26282" y="11722"/>
                      <a:pt x="26359" y="11598"/>
                      <a:pt x="26484" y="11722"/>
                    </a:cubicBezTo>
                    <a:lnTo>
                      <a:pt x="26484" y="11613"/>
                    </a:lnTo>
                    <a:cubicBezTo>
                      <a:pt x="26484" y="11613"/>
                      <a:pt x="26484" y="11613"/>
                      <a:pt x="26718" y="11613"/>
                    </a:cubicBezTo>
                    <a:cubicBezTo>
                      <a:pt x="26422" y="11613"/>
                      <a:pt x="26593" y="11426"/>
                      <a:pt x="26843" y="11613"/>
                    </a:cubicBezTo>
                    <a:cubicBezTo>
                      <a:pt x="26515" y="11348"/>
                      <a:pt x="26843" y="11613"/>
                      <a:pt x="26843" y="11504"/>
                    </a:cubicBezTo>
                    <a:cubicBezTo>
                      <a:pt x="26843" y="11395"/>
                      <a:pt x="27154" y="11083"/>
                      <a:pt x="27014" y="11504"/>
                    </a:cubicBezTo>
                    <a:cubicBezTo>
                      <a:pt x="27232" y="11379"/>
                      <a:pt x="27201" y="11379"/>
                      <a:pt x="27279" y="11161"/>
                    </a:cubicBezTo>
                    <a:cubicBezTo>
                      <a:pt x="27357" y="10943"/>
                      <a:pt x="27030" y="11629"/>
                      <a:pt x="27045" y="11270"/>
                    </a:cubicBezTo>
                    <a:cubicBezTo>
                      <a:pt x="26921" y="11364"/>
                      <a:pt x="27045" y="11037"/>
                      <a:pt x="27045" y="11068"/>
                    </a:cubicBezTo>
                    <a:cubicBezTo>
                      <a:pt x="27045" y="11099"/>
                      <a:pt x="27217" y="10896"/>
                      <a:pt x="27357" y="10678"/>
                    </a:cubicBezTo>
                    <a:cubicBezTo>
                      <a:pt x="27217" y="10787"/>
                      <a:pt x="27279" y="10460"/>
                      <a:pt x="27357" y="10538"/>
                    </a:cubicBezTo>
                    <a:cubicBezTo>
                      <a:pt x="27435" y="10616"/>
                      <a:pt x="27357" y="10382"/>
                      <a:pt x="27357" y="10460"/>
                    </a:cubicBezTo>
                    <a:cubicBezTo>
                      <a:pt x="27264" y="10273"/>
                      <a:pt x="27357" y="10382"/>
                      <a:pt x="27357" y="10288"/>
                    </a:cubicBezTo>
                    <a:cubicBezTo>
                      <a:pt x="27170" y="10288"/>
                      <a:pt x="27357" y="10195"/>
                      <a:pt x="27248" y="10117"/>
                    </a:cubicBezTo>
                    <a:cubicBezTo>
                      <a:pt x="27139" y="10039"/>
                      <a:pt x="27248" y="9821"/>
                      <a:pt x="27529" y="9961"/>
                    </a:cubicBezTo>
                    <a:cubicBezTo>
                      <a:pt x="27388" y="9883"/>
                      <a:pt x="27326" y="9743"/>
                      <a:pt x="27529" y="9836"/>
                    </a:cubicBezTo>
                    <a:cubicBezTo>
                      <a:pt x="27731" y="9930"/>
                      <a:pt x="27373" y="9711"/>
                      <a:pt x="27529" y="9696"/>
                    </a:cubicBezTo>
                    <a:cubicBezTo>
                      <a:pt x="27264" y="9696"/>
                      <a:pt x="27529" y="9696"/>
                      <a:pt x="27529" y="9509"/>
                    </a:cubicBezTo>
                    <a:cubicBezTo>
                      <a:pt x="27700" y="9509"/>
                      <a:pt x="27669" y="9509"/>
                      <a:pt x="27684" y="9509"/>
                    </a:cubicBezTo>
                    <a:cubicBezTo>
                      <a:pt x="28059" y="9587"/>
                      <a:pt x="27419" y="9369"/>
                      <a:pt x="27684" y="9369"/>
                    </a:cubicBezTo>
                    <a:cubicBezTo>
                      <a:pt x="27684" y="9369"/>
                      <a:pt x="27684" y="9275"/>
                      <a:pt x="27684" y="9275"/>
                    </a:cubicBezTo>
                    <a:cubicBezTo>
                      <a:pt x="27684" y="9275"/>
                      <a:pt x="27684" y="8994"/>
                      <a:pt x="27778" y="9182"/>
                    </a:cubicBezTo>
                    <a:cubicBezTo>
                      <a:pt x="27872" y="9369"/>
                      <a:pt x="27778" y="9182"/>
                      <a:pt x="27778" y="9182"/>
                    </a:cubicBezTo>
                    <a:cubicBezTo>
                      <a:pt x="27575" y="9057"/>
                      <a:pt x="27778" y="9088"/>
                      <a:pt x="27778" y="9182"/>
                    </a:cubicBezTo>
                    <a:cubicBezTo>
                      <a:pt x="27778" y="9275"/>
                      <a:pt x="27778" y="8870"/>
                      <a:pt x="27778" y="9182"/>
                    </a:cubicBezTo>
                    <a:cubicBezTo>
                      <a:pt x="27778" y="8776"/>
                      <a:pt x="27778" y="9291"/>
                      <a:pt x="27949" y="9182"/>
                    </a:cubicBezTo>
                    <a:cubicBezTo>
                      <a:pt x="27778" y="8870"/>
                      <a:pt x="28152" y="9182"/>
                      <a:pt x="27949" y="8839"/>
                    </a:cubicBezTo>
                    <a:cubicBezTo>
                      <a:pt x="28043" y="8839"/>
                      <a:pt x="28168" y="8994"/>
                      <a:pt x="28246" y="8979"/>
                    </a:cubicBezTo>
                    <a:cubicBezTo>
                      <a:pt x="28324" y="8963"/>
                      <a:pt x="28246" y="8714"/>
                      <a:pt x="28246" y="8729"/>
                    </a:cubicBezTo>
                    <a:cubicBezTo>
                      <a:pt x="28246" y="8745"/>
                      <a:pt x="28105" y="8589"/>
                      <a:pt x="28246" y="8729"/>
                    </a:cubicBezTo>
                    <a:cubicBezTo>
                      <a:pt x="28386" y="8870"/>
                      <a:pt x="28246" y="8620"/>
                      <a:pt x="28246" y="8729"/>
                    </a:cubicBezTo>
                    <a:cubicBezTo>
                      <a:pt x="28355" y="8574"/>
                      <a:pt x="28386" y="9462"/>
                      <a:pt x="28370" y="8729"/>
                    </a:cubicBezTo>
                    <a:cubicBezTo>
                      <a:pt x="28620" y="9197"/>
                      <a:pt x="28370" y="8636"/>
                      <a:pt x="28542" y="8620"/>
                    </a:cubicBezTo>
                    <a:cubicBezTo>
                      <a:pt x="28713" y="8605"/>
                      <a:pt x="28542" y="8761"/>
                      <a:pt x="28635" y="8932"/>
                    </a:cubicBezTo>
                    <a:cubicBezTo>
                      <a:pt x="28729" y="9104"/>
                      <a:pt x="28713" y="8932"/>
                      <a:pt x="28744" y="8932"/>
                    </a:cubicBezTo>
                    <a:cubicBezTo>
                      <a:pt x="28589" y="8620"/>
                      <a:pt x="28916" y="8792"/>
                      <a:pt x="28900" y="8932"/>
                    </a:cubicBezTo>
                    <a:cubicBezTo>
                      <a:pt x="29197" y="8932"/>
                      <a:pt x="29087" y="9197"/>
                      <a:pt x="28807" y="9104"/>
                    </a:cubicBezTo>
                    <a:cubicBezTo>
                      <a:pt x="28900" y="9104"/>
                      <a:pt x="28994" y="9104"/>
                      <a:pt x="29041" y="9275"/>
                    </a:cubicBezTo>
                    <a:cubicBezTo>
                      <a:pt x="29087" y="9446"/>
                      <a:pt x="29150" y="9150"/>
                      <a:pt x="29290" y="9275"/>
                    </a:cubicBezTo>
                    <a:cubicBezTo>
                      <a:pt x="29290" y="9166"/>
                      <a:pt x="29290" y="9182"/>
                      <a:pt x="29290" y="9119"/>
                    </a:cubicBezTo>
                    <a:cubicBezTo>
                      <a:pt x="29290" y="9057"/>
                      <a:pt x="29633" y="9353"/>
                      <a:pt x="29384" y="9119"/>
                    </a:cubicBezTo>
                    <a:cubicBezTo>
                      <a:pt x="29384" y="9291"/>
                      <a:pt x="29555" y="9119"/>
                      <a:pt x="29571" y="9275"/>
                    </a:cubicBezTo>
                    <a:cubicBezTo>
                      <a:pt x="29586" y="9431"/>
                      <a:pt x="30147" y="9275"/>
                      <a:pt x="30568" y="9556"/>
                    </a:cubicBezTo>
                    <a:cubicBezTo>
                      <a:pt x="30459" y="9431"/>
                      <a:pt x="30896" y="9743"/>
                      <a:pt x="30677" y="9556"/>
                    </a:cubicBezTo>
                    <a:cubicBezTo>
                      <a:pt x="31488" y="9836"/>
                      <a:pt x="31410" y="10756"/>
                      <a:pt x="30490" y="10304"/>
                    </a:cubicBezTo>
                    <a:cubicBezTo>
                      <a:pt x="30381" y="10304"/>
                      <a:pt x="30381" y="10304"/>
                      <a:pt x="30334" y="10304"/>
                    </a:cubicBezTo>
                    <a:cubicBezTo>
                      <a:pt x="30288" y="10304"/>
                      <a:pt x="29867" y="10070"/>
                      <a:pt x="30007" y="10304"/>
                    </a:cubicBezTo>
                    <a:cubicBezTo>
                      <a:pt x="30147" y="10538"/>
                      <a:pt x="30366" y="10429"/>
                      <a:pt x="30272" y="10584"/>
                    </a:cubicBezTo>
                    <a:cubicBezTo>
                      <a:pt x="30521" y="10584"/>
                      <a:pt x="31613" y="12050"/>
                      <a:pt x="31379" y="11192"/>
                    </a:cubicBezTo>
                    <a:cubicBezTo>
                      <a:pt x="31207" y="11348"/>
                      <a:pt x="30958" y="10943"/>
                      <a:pt x="31083" y="10896"/>
                    </a:cubicBezTo>
                    <a:cubicBezTo>
                      <a:pt x="32392" y="11722"/>
                      <a:pt x="30833" y="10117"/>
                      <a:pt x="31737" y="10413"/>
                    </a:cubicBezTo>
                    <a:cubicBezTo>
                      <a:pt x="31737" y="10288"/>
                      <a:pt x="31846" y="10413"/>
                      <a:pt x="31893" y="10413"/>
                    </a:cubicBezTo>
                    <a:cubicBezTo>
                      <a:pt x="31668" y="10019"/>
                      <a:pt x="31372" y="9671"/>
                      <a:pt x="31020" y="9384"/>
                    </a:cubicBezTo>
                    <a:cubicBezTo>
                      <a:pt x="31301" y="9384"/>
                      <a:pt x="31737" y="9478"/>
                      <a:pt x="31581" y="9758"/>
                    </a:cubicBezTo>
                    <a:cubicBezTo>
                      <a:pt x="31940" y="10304"/>
                      <a:pt x="32080" y="9758"/>
                      <a:pt x="31893" y="9556"/>
                    </a:cubicBezTo>
                    <a:cubicBezTo>
                      <a:pt x="32049" y="9556"/>
                      <a:pt x="31893" y="9026"/>
                      <a:pt x="32127" y="9337"/>
                    </a:cubicBezTo>
                    <a:cubicBezTo>
                      <a:pt x="32127" y="9244"/>
                      <a:pt x="31924" y="9057"/>
                      <a:pt x="32127" y="9213"/>
                    </a:cubicBezTo>
                    <a:cubicBezTo>
                      <a:pt x="31971" y="8807"/>
                      <a:pt x="32236" y="9213"/>
                      <a:pt x="32423" y="9353"/>
                    </a:cubicBezTo>
                    <a:cubicBezTo>
                      <a:pt x="32423" y="9259"/>
                      <a:pt x="32423" y="9228"/>
                      <a:pt x="32423" y="9353"/>
                    </a:cubicBezTo>
                    <a:cubicBezTo>
                      <a:pt x="32221" y="9119"/>
                      <a:pt x="32564" y="9197"/>
                      <a:pt x="32517" y="8932"/>
                    </a:cubicBezTo>
                    <a:cubicBezTo>
                      <a:pt x="32626" y="9072"/>
                      <a:pt x="32953" y="9322"/>
                      <a:pt x="32688" y="9026"/>
                    </a:cubicBezTo>
                    <a:cubicBezTo>
                      <a:pt x="32844" y="9026"/>
                      <a:pt x="32595" y="8885"/>
                      <a:pt x="32782" y="9026"/>
                    </a:cubicBezTo>
                    <a:cubicBezTo>
                      <a:pt x="32702" y="8968"/>
                      <a:pt x="32619" y="8916"/>
                      <a:pt x="32532" y="8870"/>
                    </a:cubicBezTo>
                    <a:lnTo>
                      <a:pt x="32532" y="8870"/>
                    </a:lnTo>
                    <a:cubicBezTo>
                      <a:pt x="31815" y="8309"/>
                      <a:pt x="33203" y="8729"/>
                      <a:pt x="33561" y="8979"/>
                    </a:cubicBezTo>
                    <a:cubicBezTo>
                      <a:pt x="33390" y="8729"/>
                      <a:pt x="33140" y="8683"/>
                      <a:pt x="32906" y="8496"/>
                    </a:cubicBezTo>
                    <a:lnTo>
                      <a:pt x="32906" y="8496"/>
                    </a:lnTo>
                    <a:cubicBezTo>
                      <a:pt x="32906" y="8496"/>
                      <a:pt x="32906" y="8496"/>
                      <a:pt x="32797" y="8496"/>
                    </a:cubicBezTo>
                    <a:lnTo>
                      <a:pt x="32797" y="8496"/>
                    </a:lnTo>
                    <a:lnTo>
                      <a:pt x="32564" y="8309"/>
                    </a:lnTo>
                    <a:cubicBezTo>
                      <a:pt x="32688" y="8309"/>
                      <a:pt x="32330" y="8153"/>
                      <a:pt x="32423" y="8153"/>
                    </a:cubicBezTo>
                    <a:cubicBezTo>
                      <a:pt x="32221" y="8059"/>
                      <a:pt x="31176" y="7186"/>
                      <a:pt x="31394" y="7155"/>
                    </a:cubicBezTo>
                    <a:cubicBezTo>
                      <a:pt x="32158" y="7436"/>
                      <a:pt x="32953" y="8246"/>
                      <a:pt x="33701" y="8714"/>
                    </a:cubicBezTo>
                    <a:lnTo>
                      <a:pt x="33701" y="8714"/>
                    </a:lnTo>
                    <a:cubicBezTo>
                      <a:pt x="33931" y="8894"/>
                      <a:pt x="34135" y="9103"/>
                      <a:pt x="34309" y="9337"/>
                    </a:cubicBezTo>
                    <a:lnTo>
                      <a:pt x="34309" y="9337"/>
                    </a:lnTo>
                    <a:cubicBezTo>
                      <a:pt x="34481" y="9446"/>
                      <a:pt x="34465" y="9602"/>
                      <a:pt x="34309" y="9337"/>
                    </a:cubicBezTo>
                    <a:cubicBezTo>
                      <a:pt x="34309" y="9337"/>
                      <a:pt x="34013" y="9337"/>
                      <a:pt x="34216" y="9462"/>
                    </a:cubicBezTo>
                    <a:cubicBezTo>
                      <a:pt x="35338" y="9711"/>
                      <a:pt x="33811" y="8729"/>
                      <a:pt x="33670" y="8418"/>
                    </a:cubicBezTo>
                    <a:cubicBezTo>
                      <a:pt x="33670" y="8418"/>
                      <a:pt x="33670" y="8418"/>
                      <a:pt x="33670" y="8418"/>
                    </a:cubicBezTo>
                    <a:cubicBezTo>
                      <a:pt x="32928" y="8092"/>
                      <a:pt x="32240" y="7655"/>
                      <a:pt x="31628" y="7124"/>
                    </a:cubicBezTo>
                    <a:cubicBezTo>
                      <a:pt x="31971" y="7280"/>
                      <a:pt x="32283" y="7623"/>
                      <a:pt x="32610" y="7669"/>
                    </a:cubicBezTo>
                    <a:cubicBezTo>
                      <a:pt x="32486" y="7498"/>
                      <a:pt x="32860" y="7779"/>
                      <a:pt x="32766" y="7669"/>
                    </a:cubicBezTo>
                    <a:cubicBezTo>
                      <a:pt x="32514" y="7656"/>
                      <a:pt x="32275" y="7551"/>
                      <a:pt x="32096" y="7373"/>
                    </a:cubicBezTo>
                    <a:cubicBezTo>
                      <a:pt x="32423" y="7514"/>
                      <a:pt x="32096" y="7373"/>
                      <a:pt x="32096" y="7295"/>
                    </a:cubicBezTo>
                    <a:lnTo>
                      <a:pt x="32096" y="7295"/>
                    </a:lnTo>
                    <a:cubicBezTo>
                      <a:pt x="31659" y="6765"/>
                      <a:pt x="33655" y="8059"/>
                      <a:pt x="33000" y="7560"/>
                    </a:cubicBezTo>
                    <a:cubicBezTo>
                      <a:pt x="33249" y="7742"/>
                      <a:pt x="33522" y="7889"/>
                      <a:pt x="33811" y="7997"/>
                    </a:cubicBezTo>
                    <a:cubicBezTo>
                      <a:pt x="33530" y="7810"/>
                      <a:pt x="33811" y="7888"/>
                      <a:pt x="33966" y="7997"/>
                    </a:cubicBezTo>
                    <a:cubicBezTo>
                      <a:pt x="33873" y="7903"/>
                      <a:pt x="33608" y="7794"/>
                      <a:pt x="33670" y="7903"/>
                    </a:cubicBezTo>
                    <a:cubicBezTo>
                      <a:pt x="33187" y="7685"/>
                      <a:pt x="32688" y="7311"/>
                      <a:pt x="32111" y="7077"/>
                    </a:cubicBezTo>
                    <a:cubicBezTo>
                      <a:pt x="31956" y="7077"/>
                      <a:pt x="31223" y="6719"/>
                      <a:pt x="31332" y="6563"/>
                    </a:cubicBezTo>
                    <a:cubicBezTo>
                      <a:pt x="31114" y="6282"/>
                      <a:pt x="31488" y="6656"/>
                      <a:pt x="31628" y="6641"/>
                    </a:cubicBezTo>
                    <a:cubicBezTo>
                      <a:pt x="31426" y="6641"/>
                      <a:pt x="31301" y="6391"/>
                      <a:pt x="31098" y="6360"/>
                    </a:cubicBezTo>
                    <a:cubicBezTo>
                      <a:pt x="30896" y="6329"/>
                      <a:pt x="30911" y="6360"/>
                      <a:pt x="30880" y="6282"/>
                    </a:cubicBezTo>
                    <a:cubicBezTo>
                      <a:pt x="30849" y="6204"/>
                      <a:pt x="30974" y="6282"/>
                      <a:pt x="30880" y="6282"/>
                    </a:cubicBezTo>
                    <a:cubicBezTo>
                      <a:pt x="30786" y="6282"/>
                      <a:pt x="30709" y="6204"/>
                      <a:pt x="30740" y="6282"/>
                    </a:cubicBezTo>
                    <a:cubicBezTo>
                      <a:pt x="30771" y="6360"/>
                      <a:pt x="30568" y="6173"/>
                      <a:pt x="30740" y="6282"/>
                    </a:cubicBezTo>
                    <a:lnTo>
                      <a:pt x="30506" y="6142"/>
                    </a:lnTo>
                    <a:cubicBezTo>
                      <a:pt x="30506" y="6142"/>
                      <a:pt x="30506" y="6142"/>
                      <a:pt x="30506" y="6142"/>
                    </a:cubicBezTo>
                    <a:lnTo>
                      <a:pt x="30101" y="5861"/>
                    </a:lnTo>
                    <a:lnTo>
                      <a:pt x="30101" y="5861"/>
                    </a:lnTo>
                    <a:cubicBezTo>
                      <a:pt x="30026" y="5804"/>
                      <a:pt x="29948" y="5752"/>
                      <a:pt x="29867" y="5705"/>
                    </a:cubicBezTo>
                    <a:lnTo>
                      <a:pt x="29867" y="5705"/>
                    </a:lnTo>
                    <a:lnTo>
                      <a:pt x="29867" y="5705"/>
                    </a:lnTo>
                    <a:lnTo>
                      <a:pt x="29867" y="5705"/>
                    </a:lnTo>
                    <a:lnTo>
                      <a:pt x="29664" y="5612"/>
                    </a:lnTo>
                    <a:lnTo>
                      <a:pt x="29664" y="5612"/>
                    </a:lnTo>
                    <a:cubicBezTo>
                      <a:pt x="29664" y="5612"/>
                      <a:pt x="29508" y="5612"/>
                      <a:pt x="29664" y="5612"/>
                    </a:cubicBezTo>
                    <a:lnTo>
                      <a:pt x="29664" y="5612"/>
                    </a:lnTo>
                    <a:lnTo>
                      <a:pt x="29664" y="5612"/>
                    </a:lnTo>
                    <a:lnTo>
                      <a:pt x="29914" y="5705"/>
                    </a:lnTo>
                    <a:lnTo>
                      <a:pt x="29711" y="5612"/>
                    </a:lnTo>
                    <a:lnTo>
                      <a:pt x="29851" y="5612"/>
                    </a:lnTo>
                    <a:lnTo>
                      <a:pt x="29773" y="5612"/>
                    </a:lnTo>
                    <a:cubicBezTo>
                      <a:pt x="29732" y="5603"/>
                      <a:pt x="29690" y="5603"/>
                      <a:pt x="29649" y="5612"/>
                    </a:cubicBezTo>
                    <a:lnTo>
                      <a:pt x="29649" y="5612"/>
                    </a:lnTo>
                    <a:cubicBezTo>
                      <a:pt x="29607" y="5620"/>
                      <a:pt x="29565" y="5620"/>
                      <a:pt x="29524" y="5612"/>
                    </a:cubicBezTo>
                    <a:lnTo>
                      <a:pt x="29836" y="5721"/>
                    </a:lnTo>
                    <a:cubicBezTo>
                      <a:pt x="29722" y="5665"/>
                      <a:pt x="29601" y="5623"/>
                      <a:pt x="29477" y="5596"/>
                    </a:cubicBezTo>
                    <a:lnTo>
                      <a:pt x="29477" y="5596"/>
                    </a:lnTo>
                    <a:cubicBezTo>
                      <a:pt x="29477" y="5596"/>
                      <a:pt x="29306" y="5596"/>
                      <a:pt x="29352" y="5596"/>
                    </a:cubicBezTo>
                    <a:cubicBezTo>
                      <a:pt x="29399" y="5596"/>
                      <a:pt x="29352" y="5596"/>
                      <a:pt x="29352" y="5596"/>
                    </a:cubicBezTo>
                    <a:lnTo>
                      <a:pt x="29352" y="5596"/>
                    </a:lnTo>
                    <a:lnTo>
                      <a:pt x="29228" y="5596"/>
                    </a:lnTo>
                    <a:lnTo>
                      <a:pt x="29228" y="5596"/>
                    </a:lnTo>
                    <a:lnTo>
                      <a:pt x="28807" y="5471"/>
                    </a:lnTo>
                    <a:lnTo>
                      <a:pt x="28807" y="5471"/>
                    </a:lnTo>
                    <a:cubicBezTo>
                      <a:pt x="28651" y="5471"/>
                      <a:pt x="27918" y="5191"/>
                      <a:pt x="28090" y="5222"/>
                    </a:cubicBezTo>
                    <a:lnTo>
                      <a:pt x="28090" y="5222"/>
                    </a:lnTo>
                    <a:lnTo>
                      <a:pt x="28183" y="5222"/>
                    </a:lnTo>
                    <a:lnTo>
                      <a:pt x="28183" y="5222"/>
                    </a:lnTo>
                    <a:cubicBezTo>
                      <a:pt x="28355" y="5222"/>
                      <a:pt x="28511" y="5316"/>
                      <a:pt x="28682" y="5362"/>
                    </a:cubicBezTo>
                    <a:lnTo>
                      <a:pt x="28511" y="5362"/>
                    </a:lnTo>
                    <a:lnTo>
                      <a:pt x="28667" y="5362"/>
                    </a:lnTo>
                    <a:lnTo>
                      <a:pt x="28573" y="5362"/>
                    </a:lnTo>
                    <a:cubicBezTo>
                      <a:pt x="28667" y="5362"/>
                      <a:pt x="28464" y="5362"/>
                      <a:pt x="28573" y="5362"/>
                    </a:cubicBezTo>
                    <a:lnTo>
                      <a:pt x="28573" y="5362"/>
                    </a:lnTo>
                    <a:cubicBezTo>
                      <a:pt x="28854" y="5440"/>
                      <a:pt x="29477" y="5627"/>
                      <a:pt x="28869" y="5362"/>
                    </a:cubicBezTo>
                    <a:lnTo>
                      <a:pt x="28869" y="5362"/>
                    </a:lnTo>
                    <a:lnTo>
                      <a:pt x="28776" y="5362"/>
                    </a:lnTo>
                    <a:lnTo>
                      <a:pt x="28776" y="5362"/>
                    </a:lnTo>
                    <a:lnTo>
                      <a:pt x="28776" y="5362"/>
                    </a:lnTo>
                    <a:lnTo>
                      <a:pt x="28776" y="5362"/>
                    </a:lnTo>
                    <a:lnTo>
                      <a:pt x="28776" y="5362"/>
                    </a:lnTo>
                    <a:lnTo>
                      <a:pt x="29306" y="5487"/>
                    </a:lnTo>
                    <a:lnTo>
                      <a:pt x="29087" y="5487"/>
                    </a:lnTo>
                    <a:lnTo>
                      <a:pt x="29384" y="5487"/>
                    </a:lnTo>
                    <a:lnTo>
                      <a:pt x="29617" y="5487"/>
                    </a:lnTo>
                    <a:lnTo>
                      <a:pt x="29617" y="5487"/>
                    </a:lnTo>
                    <a:cubicBezTo>
                      <a:pt x="29415" y="5487"/>
                      <a:pt x="29617" y="5487"/>
                      <a:pt x="29742" y="5487"/>
                    </a:cubicBezTo>
                    <a:lnTo>
                      <a:pt x="29742" y="5487"/>
                    </a:lnTo>
                    <a:lnTo>
                      <a:pt x="29742" y="5487"/>
                    </a:lnTo>
                    <a:cubicBezTo>
                      <a:pt x="30128" y="5587"/>
                      <a:pt x="30504" y="5722"/>
                      <a:pt x="30864" y="5892"/>
                    </a:cubicBezTo>
                    <a:cubicBezTo>
                      <a:pt x="30864" y="5892"/>
                      <a:pt x="30864" y="5892"/>
                      <a:pt x="30864" y="5892"/>
                    </a:cubicBezTo>
                    <a:cubicBezTo>
                      <a:pt x="30864" y="5892"/>
                      <a:pt x="31270" y="6048"/>
                      <a:pt x="31441" y="6142"/>
                    </a:cubicBezTo>
                    <a:lnTo>
                      <a:pt x="31441" y="6142"/>
                    </a:lnTo>
                    <a:lnTo>
                      <a:pt x="32189" y="6500"/>
                    </a:lnTo>
                    <a:cubicBezTo>
                      <a:pt x="31956" y="6376"/>
                      <a:pt x="31722" y="6235"/>
                      <a:pt x="31457" y="6111"/>
                    </a:cubicBezTo>
                    <a:lnTo>
                      <a:pt x="31457" y="6111"/>
                    </a:lnTo>
                    <a:lnTo>
                      <a:pt x="31176" y="5986"/>
                    </a:lnTo>
                    <a:lnTo>
                      <a:pt x="31301" y="5986"/>
                    </a:lnTo>
                    <a:cubicBezTo>
                      <a:pt x="31301" y="5986"/>
                      <a:pt x="30896" y="5846"/>
                      <a:pt x="31083" y="5892"/>
                    </a:cubicBezTo>
                    <a:lnTo>
                      <a:pt x="30958" y="5892"/>
                    </a:lnTo>
                    <a:lnTo>
                      <a:pt x="31239" y="5986"/>
                    </a:lnTo>
                    <a:cubicBezTo>
                      <a:pt x="31152" y="5934"/>
                      <a:pt x="31057" y="5897"/>
                      <a:pt x="30958" y="5877"/>
                    </a:cubicBezTo>
                    <a:cubicBezTo>
                      <a:pt x="31116" y="5914"/>
                      <a:pt x="31273" y="5961"/>
                      <a:pt x="31426" y="6017"/>
                    </a:cubicBezTo>
                    <a:lnTo>
                      <a:pt x="31285" y="6017"/>
                    </a:lnTo>
                    <a:lnTo>
                      <a:pt x="31285" y="6017"/>
                    </a:lnTo>
                    <a:lnTo>
                      <a:pt x="30584" y="4380"/>
                    </a:lnTo>
                    <a:cubicBezTo>
                      <a:pt x="38732" y="7070"/>
                      <a:pt x="44371" y="14514"/>
                      <a:pt x="44753" y="23086"/>
                    </a:cubicBezTo>
                    <a:cubicBezTo>
                      <a:pt x="44742" y="23396"/>
                      <a:pt x="44700" y="23704"/>
                      <a:pt x="44629" y="24006"/>
                    </a:cubicBezTo>
                    <a:cubicBezTo>
                      <a:pt x="44691" y="23912"/>
                      <a:pt x="44613" y="24084"/>
                      <a:pt x="44613" y="241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1" name="Google Shape;241;p26"/>
              <p:cNvSpPr/>
              <p:nvPr/>
            </p:nvSpPr>
            <p:spPr>
              <a:xfrm rot="-5400000">
                <a:off x="10654635" y="7242900"/>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2" name="Google Shape;242;p26"/>
              <p:cNvSpPr/>
              <p:nvPr/>
            </p:nvSpPr>
            <p:spPr>
              <a:xfrm rot="-5400000">
                <a:off x="10647776" y="7212394"/>
                <a:ext cx="41027" cy="46516"/>
              </a:xfrm>
              <a:custGeom>
                <a:avLst/>
                <a:gdLst/>
                <a:ahLst/>
                <a:cxnLst/>
                <a:rect l="l" t="t" r="r" b="b"/>
                <a:pathLst>
                  <a:path w="41027" h="46516" extrusionOk="0">
                    <a:moveTo>
                      <a:pt x="36554" y="3664"/>
                    </a:moveTo>
                    <a:cubicBezTo>
                      <a:pt x="39537" y="6127"/>
                      <a:pt x="41028" y="10206"/>
                      <a:pt x="41028" y="15901"/>
                    </a:cubicBezTo>
                    <a:lnTo>
                      <a:pt x="41028" y="46517"/>
                    </a:lnTo>
                    <a:lnTo>
                      <a:pt x="28854" y="46517"/>
                    </a:lnTo>
                    <a:lnTo>
                      <a:pt x="28854" y="18863"/>
                    </a:lnTo>
                    <a:cubicBezTo>
                      <a:pt x="28943" y="16981"/>
                      <a:pt x="28618" y="15103"/>
                      <a:pt x="27903" y="13360"/>
                    </a:cubicBezTo>
                    <a:cubicBezTo>
                      <a:pt x="26734" y="11038"/>
                      <a:pt x="24536" y="9869"/>
                      <a:pt x="21278" y="9869"/>
                    </a:cubicBezTo>
                    <a:cubicBezTo>
                      <a:pt x="17705" y="9597"/>
                      <a:pt x="14368" y="11672"/>
                      <a:pt x="13032" y="14997"/>
                    </a:cubicBezTo>
                    <a:cubicBezTo>
                      <a:pt x="12195" y="17206"/>
                      <a:pt x="11803" y="19558"/>
                      <a:pt x="11878" y="21918"/>
                    </a:cubicBezTo>
                    <a:lnTo>
                      <a:pt x="11878" y="46517"/>
                    </a:lnTo>
                    <a:lnTo>
                      <a:pt x="0" y="46517"/>
                    </a:lnTo>
                    <a:lnTo>
                      <a:pt x="0" y="1155"/>
                    </a:lnTo>
                    <a:lnTo>
                      <a:pt x="11504" y="1155"/>
                    </a:lnTo>
                    <a:lnTo>
                      <a:pt x="11504" y="7811"/>
                    </a:lnTo>
                    <a:cubicBezTo>
                      <a:pt x="12650" y="5897"/>
                      <a:pt x="14110" y="4190"/>
                      <a:pt x="15822" y="2760"/>
                    </a:cubicBezTo>
                    <a:cubicBezTo>
                      <a:pt x="18522" y="851"/>
                      <a:pt x="21777" y="-114"/>
                      <a:pt x="25081" y="17"/>
                    </a:cubicBezTo>
                    <a:cubicBezTo>
                      <a:pt x="29217" y="-165"/>
                      <a:pt x="33283" y="1128"/>
                      <a:pt x="36554"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 name="Google Shape;243;p26"/>
              <p:cNvSpPr/>
              <p:nvPr/>
            </p:nvSpPr>
            <p:spPr>
              <a:xfrm rot="-5400000">
                <a:off x="10647372" y="7164586"/>
                <a:ext cx="26265" cy="62088"/>
              </a:xfrm>
              <a:custGeom>
                <a:avLst/>
                <a:gdLst/>
                <a:ahLst/>
                <a:cxnLst/>
                <a:rect l="l" t="t" r="r" b="b"/>
                <a:pathLst>
                  <a:path w="26265" h="62088" extrusionOk="0">
                    <a:moveTo>
                      <a:pt x="23476" y="0"/>
                    </a:moveTo>
                    <a:lnTo>
                      <a:pt x="25970" y="187"/>
                    </a:lnTo>
                    <a:lnTo>
                      <a:pt x="25970" y="9930"/>
                    </a:lnTo>
                    <a:cubicBezTo>
                      <a:pt x="24857" y="9809"/>
                      <a:pt x="23738" y="9746"/>
                      <a:pt x="22618" y="9743"/>
                    </a:cubicBezTo>
                    <a:cubicBezTo>
                      <a:pt x="21432" y="9564"/>
                      <a:pt x="20229" y="9943"/>
                      <a:pt x="19360" y="10771"/>
                    </a:cubicBezTo>
                    <a:cubicBezTo>
                      <a:pt x="18789" y="11459"/>
                      <a:pt x="18475" y="12325"/>
                      <a:pt x="18472" y="13219"/>
                    </a:cubicBezTo>
                    <a:lnTo>
                      <a:pt x="18472" y="17054"/>
                    </a:lnTo>
                    <a:lnTo>
                      <a:pt x="26266" y="17054"/>
                    </a:lnTo>
                    <a:lnTo>
                      <a:pt x="26266" y="25440"/>
                    </a:lnTo>
                    <a:lnTo>
                      <a:pt x="18472" y="25440"/>
                    </a:lnTo>
                    <a:lnTo>
                      <a:pt x="18472" y="62088"/>
                    </a:lnTo>
                    <a:lnTo>
                      <a:pt x="6672" y="62088"/>
                    </a:lnTo>
                    <a:lnTo>
                      <a:pt x="6672" y="25440"/>
                    </a:lnTo>
                    <a:lnTo>
                      <a:pt x="0" y="25440"/>
                    </a:lnTo>
                    <a:lnTo>
                      <a:pt x="0" y="17054"/>
                    </a:lnTo>
                    <a:lnTo>
                      <a:pt x="6500" y="17054"/>
                    </a:lnTo>
                    <a:lnTo>
                      <a:pt x="6500" y="14139"/>
                    </a:lnTo>
                    <a:cubicBezTo>
                      <a:pt x="6500" y="9275"/>
                      <a:pt x="7321" y="5924"/>
                      <a:pt x="8963" y="4084"/>
                    </a:cubicBezTo>
                    <a:cubicBezTo>
                      <a:pt x="10693" y="1356"/>
                      <a:pt x="14840" y="0"/>
                      <a:pt x="21434" y="0"/>
                    </a:cubicBezTo>
                    <a:cubicBezTo>
                      <a:pt x="22182" y="0"/>
                      <a:pt x="22868" y="0"/>
                      <a:pt x="2347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 name="Google Shape;244;p26"/>
              <p:cNvSpPr/>
              <p:nvPr/>
            </p:nvSpPr>
            <p:spPr>
              <a:xfrm rot="-5400000">
                <a:off x="10646133" y="6877843"/>
                <a:ext cx="44501" cy="46328"/>
              </a:xfrm>
              <a:custGeom>
                <a:avLst/>
                <a:gdLst/>
                <a:ahLst/>
                <a:cxnLst/>
                <a:rect l="l" t="t" r="r" b="b"/>
                <a:pathLst>
                  <a:path w="44501" h="46328" extrusionOk="0">
                    <a:moveTo>
                      <a:pt x="38977" y="39516"/>
                    </a:moveTo>
                    <a:cubicBezTo>
                      <a:pt x="35309" y="44047"/>
                      <a:pt x="29733" y="46318"/>
                      <a:pt x="22251" y="46328"/>
                    </a:cubicBezTo>
                    <a:cubicBezTo>
                      <a:pt x="14769" y="46339"/>
                      <a:pt x="9188" y="44068"/>
                      <a:pt x="5510" y="39516"/>
                    </a:cubicBezTo>
                    <a:cubicBezTo>
                      <a:pt x="1815" y="34897"/>
                      <a:pt x="-132" y="29124"/>
                      <a:pt x="7" y="23211"/>
                    </a:cubicBezTo>
                    <a:cubicBezTo>
                      <a:pt x="-118" y="17296"/>
                      <a:pt x="1829" y="11523"/>
                      <a:pt x="5510" y="6890"/>
                    </a:cubicBezTo>
                    <a:cubicBezTo>
                      <a:pt x="9188" y="2286"/>
                      <a:pt x="14769" y="-10"/>
                      <a:pt x="22251" y="0"/>
                    </a:cubicBezTo>
                    <a:cubicBezTo>
                      <a:pt x="29733" y="10"/>
                      <a:pt x="35309" y="2307"/>
                      <a:pt x="38977" y="6890"/>
                    </a:cubicBezTo>
                    <a:cubicBezTo>
                      <a:pt x="42662" y="11521"/>
                      <a:pt x="44614" y="17294"/>
                      <a:pt x="44495" y="23211"/>
                    </a:cubicBezTo>
                    <a:cubicBezTo>
                      <a:pt x="44629" y="29126"/>
                      <a:pt x="42675" y="34898"/>
                      <a:pt x="38977" y="39516"/>
                    </a:cubicBezTo>
                    <a:close/>
                    <a:moveTo>
                      <a:pt x="29874" y="33281"/>
                    </a:moveTo>
                    <a:cubicBezTo>
                      <a:pt x="31833" y="30303"/>
                      <a:pt x="32775" y="26769"/>
                      <a:pt x="32555" y="23211"/>
                    </a:cubicBezTo>
                    <a:cubicBezTo>
                      <a:pt x="32782" y="19652"/>
                      <a:pt x="31841" y="16116"/>
                      <a:pt x="29874" y="13141"/>
                    </a:cubicBezTo>
                    <a:cubicBezTo>
                      <a:pt x="26221" y="8901"/>
                      <a:pt x="19824" y="8424"/>
                      <a:pt x="15584" y="12076"/>
                    </a:cubicBezTo>
                    <a:cubicBezTo>
                      <a:pt x="15204" y="12404"/>
                      <a:pt x="14847" y="12760"/>
                      <a:pt x="14519" y="13141"/>
                    </a:cubicBezTo>
                    <a:cubicBezTo>
                      <a:pt x="12548" y="16114"/>
                      <a:pt x="11600" y="19650"/>
                      <a:pt x="11823" y="23211"/>
                    </a:cubicBezTo>
                    <a:cubicBezTo>
                      <a:pt x="11600" y="26782"/>
                      <a:pt x="12546" y="30328"/>
                      <a:pt x="14519" y="33312"/>
                    </a:cubicBezTo>
                    <a:cubicBezTo>
                      <a:pt x="18145" y="37552"/>
                      <a:pt x="24521" y="38050"/>
                      <a:pt x="28761" y="34425"/>
                    </a:cubicBezTo>
                    <a:cubicBezTo>
                      <a:pt x="29160" y="34083"/>
                      <a:pt x="29532" y="33711"/>
                      <a:pt x="29874" y="333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 name="Google Shape;245;p26"/>
              <p:cNvSpPr/>
              <p:nvPr/>
            </p:nvSpPr>
            <p:spPr>
              <a:xfrm rot="-5400000">
                <a:off x="10635737" y="7067825"/>
                <a:ext cx="65151" cy="46470"/>
              </a:xfrm>
              <a:custGeom>
                <a:avLst/>
                <a:gdLst/>
                <a:ahLst/>
                <a:cxnLst/>
                <a:rect l="l" t="t" r="r" b="b"/>
                <a:pathLst>
                  <a:path w="65151" h="46470" extrusionOk="0">
                    <a:moveTo>
                      <a:pt x="56850" y="1186"/>
                    </a:moveTo>
                    <a:cubicBezTo>
                      <a:pt x="58932" y="2071"/>
                      <a:pt x="60753" y="3478"/>
                      <a:pt x="62134" y="5271"/>
                    </a:cubicBezTo>
                    <a:cubicBezTo>
                      <a:pt x="63468" y="6974"/>
                      <a:pt x="64359" y="8983"/>
                      <a:pt x="64722" y="11116"/>
                    </a:cubicBezTo>
                    <a:cubicBezTo>
                      <a:pt x="65051" y="13335"/>
                      <a:pt x="65191" y="15577"/>
                      <a:pt x="65143" y="17819"/>
                    </a:cubicBezTo>
                    <a:lnTo>
                      <a:pt x="65143" y="46470"/>
                    </a:lnTo>
                    <a:lnTo>
                      <a:pt x="52953" y="46470"/>
                    </a:lnTo>
                    <a:lnTo>
                      <a:pt x="52953" y="17523"/>
                    </a:lnTo>
                    <a:cubicBezTo>
                      <a:pt x="53012" y="16064"/>
                      <a:pt x="52728" y="14612"/>
                      <a:pt x="52127" y="13283"/>
                    </a:cubicBezTo>
                    <a:cubicBezTo>
                      <a:pt x="50992" y="11152"/>
                      <a:pt x="48682" y="9920"/>
                      <a:pt x="46281" y="10165"/>
                    </a:cubicBezTo>
                    <a:cubicBezTo>
                      <a:pt x="43382" y="9944"/>
                      <a:pt x="40660" y="11583"/>
                      <a:pt x="39500" y="14249"/>
                    </a:cubicBezTo>
                    <a:cubicBezTo>
                      <a:pt x="38811" y="15902"/>
                      <a:pt x="38482" y="17682"/>
                      <a:pt x="38534" y="19471"/>
                    </a:cubicBezTo>
                    <a:lnTo>
                      <a:pt x="38534" y="46470"/>
                    </a:lnTo>
                    <a:lnTo>
                      <a:pt x="26562" y="46470"/>
                    </a:lnTo>
                    <a:lnTo>
                      <a:pt x="26562" y="19409"/>
                    </a:lnTo>
                    <a:cubicBezTo>
                      <a:pt x="26671" y="17415"/>
                      <a:pt x="26391" y="15419"/>
                      <a:pt x="25736" y="13532"/>
                    </a:cubicBezTo>
                    <a:cubicBezTo>
                      <a:pt x="24678" y="11295"/>
                      <a:pt x="22321" y="9970"/>
                      <a:pt x="19859" y="10228"/>
                    </a:cubicBezTo>
                    <a:cubicBezTo>
                      <a:pt x="16461" y="10228"/>
                      <a:pt x="14180" y="11329"/>
                      <a:pt x="13016" y="13532"/>
                    </a:cubicBezTo>
                    <a:cubicBezTo>
                      <a:pt x="12276" y="15295"/>
                      <a:pt x="11945" y="17204"/>
                      <a:pt x="12050" y="19113"/>
                    </a:cubicBezTo>
                    <a:lnTo>
                      <a:pt x="12050" y="46470"/>
                    </a:lnTo>
                    <a:lnTo>
                      <a:pt x="0" y="46470"/>
                    </a:lnTo>
                    <a:lnTo>
                      <a:pt x="0" y="1108"/>
                    </a:lnTo>
                    <a:lnTo>
                      <a:pt x="11551" y="1108"/>
                    </a:lnTo>
                    <a:lnTo>
                      <a:pt x="11551" y="7765"/>
                    </a:lnTo>
                    <a:cubicBezTo>
                      <a:pt x="12642" y="5853"/>
                      <a:pt x="14056" y="4144"/>
                      <a:pt x="15728" y="2714"/>
                    </a:cubicBezTo>
                    <a:cubicBezTo>
                      <a:pt x="20982" y="-698"/>
                      <a:pt x="27714" y="-843"/>
                      <a:pt x="33109" y="2340"/>
                    </a:cubicBezTo>
                    <a:cubicBezTo>
                      <a:pt x="34832" y="3792"/>
                      <a:pt x="36157" y="5659"/>
                      <a:pt x="36959" y="7765"/>
                    </a:cubicBezTo>
                    <a:cubicBezTo>
                      <a:pt x="38303" y="5303"/>
                      <a:pt x="40306" y="3263"/>
                      <a:pt x="42743" y="1872"/>
                    </a:cubicBezTo>
                    <a:cubicBezTo>
                      <a:pt x="45282" y="604"/>
                      <a:pt x="48088" y="-38"/>
                      <a:pt x="50926" y="2"/>
                    </a:cubicBezTo>
                    <a:cubicBezTo>
                      <a:pt x="52959" y="13"/>
                      <a:pt x="54970" y="415"/>
                      <a:pt x="56850" y="11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 name="Google Shape;246;p26"/>
              <p:cNvSpPr/>
              <p:nvPr/>
            </p:nvSpPr>
            <p:spPr>
              <a:xfrm rot="-5400000">
                <a:off x="10654635" y="7010498"/>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 name="Google Shape;247;p26"/>
              <p:cNvSpPr/>
              <p:nvPr/>
            </p:nvSpPr>
            <p:spPr>
              <a:xfrm rot="-5400000">
                <a:off x="10647776" y="6979991"/>
                <a:ext cx="41027" cy="46516"/>
              </a:xfrm>
              <a:custGeom>
                <a:avLst/>
                <a:gdLst/>
                <a:ahLst/>
                <a:cxnLst/>
                <a:rect l="l" t="t" r="r" b="b"/>
                <a:pathLst>
                  <a:path w="41027" h="46516" extrusionOk="0">
                    <a:moveTo>
                      <a:pt x="36570" y="3664"/>
                    </a:moveTo>
                    <a:cubicBezTo>
                      <a:pt x="39531" y="6127"/>
                      <a:pt x="41028" y="10211"/>
                      <a:pt x="41028" y="15901"/>
                    </a:cubicBezTo>
                    <a:lnTo>
                      <a:pt x="41028" y="46517"/>
                    </a:lnTo>
                    <a:lnTo>
                      <a:pt x="28854" y="46517"/>
                    </a:lnTo>
                    <a:lnTo>
                      <a:pt x="28854" y="18863"/>
                    </a:lnTo>
                    <a:cubicBezTo>
                      <a:pt x="28950" y="16981"/>
                      <a:pt x="28626" y="15101"/>
                      <a:pt x="27903" y="13360"/>
                    </a:cubicBezTo>
                    <a:cubicBezTo>
                      <a:pt x="26734" y="11038"/>
                      <a:pt x="24536" y="9869"/>
                      <a:pt x="21278" y="9869"/>
                    </a:cubicBezTo>
                    <a:cubicBezTo>
                      <a:pt x="17707" y="9588"/>
                      <a:pt x="14369" y="11668"/>
                      <a:pt x="13047" y="14997"/>
                    </a:cubicBezTo>
                    <a:cubicBezTo>
                      <a:pt x="12196" y="17202"/>
                      <a:pt x="11799" y="19556"/>
                      <a:pt x="11878" y="21918"/>
                    </a:cubicBezTo>
                    <a:lnTo>
                      <a:pt x="11878" y="46517"/>
                    </a:lnTo>
                    <a:lnTo>
                      <a:pt x="0" y="46517"/>
                    </a:lnTo>
                    <a:lnTo>
                      <a:pt x="0" y="1155"/>
                    </a:lnTo>
                    <a:lnTo>
                      <a:pt x="11504" y="1155"/>
                    </a:lnTo>
                    <a:lnTo>
                      <a:pt x="11504" y="7811"/>
                    </a:lnTo>
                    <a:cubicBezTo>
                      <a:pt x="12656" y="5901"/>
                      <a:pt x="14115" y="4195"/>
                      <a:pt x="15822" y="2760"/>
                    </a:cubicBezTo>
                    <a:cubicBezTo>
                      <a:pt x="18522" y="851"/>
                      <a:pt x="21777" y="-114"/>
                      <a:pt x="25081" y="17"/>
                    </a:cubicBezTo>
                    <a:cubicBezTo>
                      <a:pt x="29221" y="-164"/>
                      <a:pt x="33292" y="1128"/>
                      <a:pt x="36570"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6"/>
              <p:cNvSpPr/>
              <p:nvPr/>
            </p:nvSpPr>
            <p:spPr>
              <a:xfrm rot="-5400000">
                <a:off x="10646435" y="6930030"/>
                <a:ext cx="43636" cy="46747"/>
              </a:xfrm>
              <a:custGeom>
                <a:avLst/>
                <a:gdLst/>
                <a:ahLst/>
                <a:cxnLst/>
                <a:rect l="l" t="t" r="r" b="b"/>
                <a:pathLst>
                  <a:path w="43636" h="46747" extrusionOk="0">
                    <a:moveTo>
                      <a:pt x="32111" y="2070"/>
                    </a:moveTo>
                    <a:cubicBezTo>
                      <a:pt x="35215" y="3467"/>
                      <a:pt x="37854" y="5723"/>
                      <a:pt x="39718" y="8570"/>
                    </a:cubicBezTo>
                    <a:cubicBezTo>
                      <a:pt x="41567" y="11297"/>
                      <a:pt x="42768" y="14411"/>
                      <a:pt x="43226" y="17674"/>
                    </a:cubicBezTo>
                    <a:cubicBezTo>
                      <a:pt x="43580" y="20569"/>
                      <a:pt x="43706" y="23488"/>
                      <a:pt x="43600" y="26403"/>
                    </a:cubicBezTo>
                    <a:lnTo>
                      <a:pt x="11535" y="26403"/>
                    </a:lnTo>
                    <a:cubicBezTo>
                      <a:pt x="11707" y="30815"/>
                      <a:pt x="13250" y="33917"/>
                      <a:pt x="16134" y="35756"/>
                    </a:cubicBezTo>
                    <a:cubicBezTo>
                      <a:pt x="18045" y="36908"/>
                      <a:pt x="20247" y="37487"/>
                      <a:pt x="22478" y="37424"/>
                    </a:cubicBezTo>
                    <a:cubicBezTo>
                      <a:pt x="24782" y="37530"/>
                      <a:pt x="27047" y="36812"/>
                      <a:pt x="28869" y="35398"/>
                    </a:cubicBezTo>
                    <a:cubicBezTo>
                      <a:pt x="29850" y="34559"/>
                      <a:pt x="30651" y="33530"/>
                      <a:pt x="31223" y="32374"/>
                    </a:cubicBezTo>
                    <a:lnTo>
                      <a:pt x="43023" y="32374"/>
                    </a:lnTo>
                    <a:cubicBezTo>
                      <a:pt x="42488" y="35413"/>
                      <a:pt x="40992" y="38200"/>
                      <a:pt x="38752" y="40324"/>
                    </a:cubicBezTo>
                    <a:cubicBezTo>
                      <a:pt x="34808" y="44611"/>
                      <a:pt x="29306" y="46746"/>
                      <a:pt x="22197" y="46746"/>
                    </a:cubicBezTo>
                    <a:cubicBezTo>
                      <a:pt x="16558" y="46814"/>
                      <a:pt x="11074" y="44900"/>
                      <a:pt x="6703" y="41337"/>
                    </a:cubicBezTo>
                    <a:cubicBezTo>
                      <a:pt x="2234" y="37721"/>
                      <a:pt x="0" y="31849"/>
                      <a:pt x="0" y="23722"/>
                    </a:cubicBezTo>
                    <a:cubicBezTo>
                      <a:pt x="0" y="16105"/>
                      <a:pt x="2022" y="10259"/>
                      <a:pt x="6064" y="6185"/>
                    </a:cubicBezTo>
                    <a:cubicBezTo>
                      <a:pt x="10212" y="2046"/>
                      <a:pt x="15889" y="-189"/>
                      <a:pt x="21745" y="13"/>
                    </a:cubicBezTo>
                    <a:cubicBezTo>
                      <a:pt x="25307" y="-48"/>
                      <a:pt x="28843" y="654"/>
                      <a:pt x="32111" y="2070"/>
                    </a:cubicBezTo>
                    <a:close/>
                    <a:moveTo>
                      <a:pt x="14965" y="12000"/>
                    </a:moveTo>
                    <a:cubicBezTo>
                      <a:pt x="13208" y="13893"/>
                      <a:pt x="12115" y="16306"/>
                      <a:pt x="11847" y="18874"/>
                    </a:cubicBezTo>
                    <a:lnTo>
                      <a:pt x="31659" y="18874"/>
                    </a:lnTo>
                    <a:cubicBezTo>
                      <a:pt x="31622" y="16226"/>
                      <a:pt x="30493" y="13711"/>
                      <a:pt x="28542" y="11922"/>
                    </a:cubicBezTo>
                    <a:cubicBezTo>
                      <a:pt x="26648" y="10316"/>
                      <a:pt x="24229" y="9462"/>
                      <a:pt x="21745" y="9521"/>
                    </a:cubicBezTo>
                    <a:cubicBezTo>
                      <a:pt x="19240" y="9381"/>
                      <a:pt x="16788" y="10278"/>
                      <a:pt x="14965" y="120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49" name="Google Shape;249;p26"/>
            <p:cNvSpPr txBox="1"/>
            <p:nvPr/>
          </p:nvSpPr>
          <p:spPr>
            <a:xfrm rot="-5400000">
              <a:off x="9886053" y="6107266"/>
              <a:ext cx="1362552" cy="97271"/>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IN" sz="702" b="0" i="0" u="none" strike="noStrike" cap="none">
                  <a:solidFill>
                    <a:schemeClr val="lt2"/>
                  </a:solidFill>
                  <a:latin typeface="Calibri"/>
                  <a:ea typeface="Calibri"/>
                  <a:cs typeface="Calibri"/>
                  <a:sym typeface="Calibri"/>
                </a:rPr>
                <a:t>Copyright © 2022 All rights reserved.</a:t>
              </a:r>
              <a:endParaRPr/>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1_Plain White">
  <p:cSld name="1_Plain White">
    <p:bg>
      <p:bgPr>
        <a:solidFill>
          <a:schemeClr val="lt2"/>
        </a:solidFill>
        <a:effectLst/>
      </p:bgPr>
    </p:bg>
    <p:spTree>
      <p:nvGrpSpPr>
        <p:cNvPr id="1" name="Shape 250"/>
        <p:cNvGrpSpPr/>
        <p:nvPr/>
      </p:nvGrpSpPr>
      <p:grpSpPr>
        <a:xfrm>
          <a:off x="0" y="0"/>
          <a:ext cx="0" cy="0"/>
          <a:chOff x="0" y="0"/>
          <a:chExt cx="0" cy="0"/>
        </a:xfrm>
      </p:grpSpPr>
      <p:pic>
        <p:nvPicPr>
          <p:cNvPr id="251" name="Google Shape;251;p27"/>
          <p:cNvPicPr preferRelativeResize="0"/>
          <p:nvPr/>
        </p:nvPicPr>
        <p:blipFill rotWithShape="1">
          <a:blip r:embed="rId2">
            <a:alphaModFix/>
          </a:blip>
          <a:srcRect/>
          <a:stretch/>
        </p:blipFill>
        <p:spPr>
          <a:xfrm>
            <a:off x="3" y="0"/>
            <a:ext cx="10691813" cy="7559675"/>
          </a:xfrm>
          <a:prstGeom prst="rect">
            <a:avLst/>
          </a:prstGeom>
          <a:noFill/>
          <a:ln>
            <a:noFill/>
          </a:ln>
        </p:spPr>
      </p:pic>
      <p:sp>
        <p:nvSpPr>
          <p:cNvPr id="252" name="Google Shape;252;p27"/>
          <p:cNvSpPr/>
          <p:nvPr/>
        </p:nvSpPr>
        <p:spPr>
          <a:xfrm>
            <a:off x="4" y="0"/>
            <a:ext cx="2352503" cy="7559675"/>
          </a:xfrm>
          <a:prstGeom prst="rect">
            <a:avLst/>
          </a:prstGeom>
          <a:solidFill>
            <a:schemeClr val="lt2">
              <a:alpha val="69803"/>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579">
              <a:solidFill>
                <a:schemeClr val="lt1"/>
              </a:solidFill>
              <a:latin typeface="Calibri"/>
              <a:ea typeface="Calibri"/>
              <a:cs typeface="Calibri"/>
              <a:sym typeface="Calibri"/>
            </a:endParaRPr>
          </a:p>
        </p:txBody>
      </p:sp>
      <p:sp>
        <p:nvSpPr>
          <p:cNvPr id="253" name="Google Shape;253;p27"/>
          <p:cNvSpPr/>
          <p:nvPr/>
        </p:nvSpPr>
        <p:spPr>
          <a:xfrm>
            <a:off x="3" y="4346090"/>
            <a:ext cx="9466726" cy="2127614"/>
          </a:xfrm>
          <a:prstGeom prst="rect">
            <a:avLst/>
          </a:prstGeom>
          <a:gradFill>
            <a:gsLst>
              <a:gs pos="0">
                <a:srgbClr val="062379"/>
              </a:gs>
              <a:gs pos="55000">
                <a:srgbClr val="385ED2"/>
              </a:gs>
              <a:gs pos="76000">
                <a:srgbClr val="4873F5">
                  <a:alpha val="89803"/>
                </a:srgbClr>
              </a:gs>
              <a:gs pos="100000">
                <a:srgbClr val="43E1D3">
                  <a:alpha val="89803"/>
                </a:srgbClr>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579">
              <a:solidFill>
                <a:schemeClr val="lt1"/>
              </a:solidFill>
              <a:latin typeface="Calibri"/>
              <a:ea typeface="Calibri"/>
              <a:cs typeface="Calibri"/>
              <a:sym typeface="Calibri"/>
            </a:endParaRPr>
          </a:p>
        </p:txBody>
      </p:sp>
      <p:sp>
        <p:nvSpPr>
          <p:cNvPr id="254" name="Google Shape;254;p27"/>
          <p:cNvSpPr txBox="1">
            <a:spLocks noGrp="1"/>
          </p:cNvSpPr>
          <p:nvPr>
            <p:ph type="sldNum" idx="12"/>
          </p:nvPr>
        </p:nvSpPr>
        <p:spPr>
          <a:xfrm>
            <a:off x="10091712" y="7135971"/>
            <a:ext cx="117019" cy="121444"/>
          </a:xfrm>
          <a:prstGeom prst="rect">
            <a:avLst/>
          </a:prstGeom>
          <a:noFill/>
          <a:ln>
            <a:noFill/>
          </a:ln>
        </p:spPr>
        <p:txBody>
          <a:bodyPr spcFirstLastPara="1" wrap="square" lIns="0" tIns="0" rIns="0" bIns="0" anchor="b" anchorCtr="0">
            <a:spAutoFit/>
          </a:bodyPr>
          <a:lstStyle>
            <a:lvl1pPr marL="0" lvl="0" indent="0" algn="r">
              <a:lnSpc>
                <a:spcPct val="100000"/>
              </a:lnSpc>
              <a:spcBef>
                <a:spcPts val="0"/>
              </a:spcBef>
              <a:buNone/>
              <a:defRPr sz="789" b="0" i="0" u="none" strike="noStrike" cap="none">
                <a:solidFill>
                  <a:srgbClr val="7F7F7F"/>
                </a:solidFill>
                <a:latin typeface="Calibri"/>
                <a:ea typeface="Calibri"/>
                <a:cs typeface="Calibri"/>
                <a:sym typeface="Calibri"/>
              </a:defRPr>
            </a:lvl1pPr>
            <a:lvl2pPr marL="0" lvl="1" indent="0" algn="r">
              <a:lnSpc>
                <a:spcPct val="100000"/>
              </a:lnSpc>
              <a:spcBef>
                <a:spcPts val="0"/>
              </a:spcBef>
              <a:buNone/>
              <a:defRPr sz="789" b="0" i="0" u="none" strike="noStrike" cap="none">
                <a:solidFill>
                  <a:srgbClr val="7F7F7F"/>
                </a:solidFill>
                <a:latin typeface="Calibri"/>
                <a:ea typeface="Calibri"/>
                <a:cs typeface="Calibri"/>
                <a:sym typeface="Calibri"/>
              </a:defRPr>
            </a:lvl2pPr>
            <a:lvl3pPr marL="0" lvl="2" indent="0" algn="r">
              <a:lnSpc>
                <a:spcPct val="100000"/>
              </a:lnSpc>
              <a:spcBef>
                <a:spcPts val="0"/>
              </a:spcBef>
              <a:buNone/>
              <a:defRPr sz="789" b="0" i="0" u="none" strike="noStrike" cap="none">
                <a:solidFill>
                  <a:srgbClr val="7F7F7F"/>
                </a:solidFill>
                <a:latin typeface="Calibri"/>
                <a:ea typeface="Calibri"/>
                <a:cs typeface="Calibri"/>
                <a:sym typeface="Calibri"/>
              </a:defRPr>
            </a:lvl3pPr>
            <a:lvl4pPr marL="0" lvl="3" indent="0" algn="r">
              <a:lnSpc>
                <a:spcPct val="100000"/>
              </a:lnSpc>
              <a:spcBef>
                <a:spcPts val="0"/>
              </a:spcBef>
              <a:buNone/>
              <a:defRPr sz="789" b="0" i="0" u="none" strike="noStrike" cap="none">
                <a:solidFill>
                  <a:srgbClr val="7F7F7F"/>
                </a:solidFill>
                <a:latin typeface="Calibri"/>
                <a:ea typeface="Calibri"/>
                <a:cs typeface="Calibri"/>
                <a:sym typeface="Calibri"/>
              </a:defRPr>
            </a:lvl4pPr>
            <a:lvl5pPr marL="0" lvl="4" indent="0" algn="r">
              <a:lnSpc>
                <a:spcPct val="100000"/>
              </a:lnSpc>
              <a:spcBef>
                <a:spcPts val="0"/>
              </a:spcBef>
              <a:buNone/>
              <a:defRPr sz="789" b="0" i="0" u="none" strike="noStrike" cap="none">
                <a:solidFill>
                  <a:srgbClr val="7F7F7F"/>
                </a:solidFill>
                <a:latin typeface="Calibri"/>
                <a:ea typeface="Calibri"/>
                <a:cs typeface="Calibri"/>
                <a:sym typeface="Calibri"/>
              </a:defRPr>
            </a:lvl5pPr>
            <a:lvl6pPr marL="0" lvl="5" indent="0" algn="r">
              <a:lnSpc>
                <a:spcPct val="100000"/>
              </a:lnSpc>
              <a:spcBef>
                <a:spcPts val="0"/>
              </a:spcBef>
              <a:buNone/>
              <a:defRPr sz="789" b="0" i="0" u="none" strike="noStrike" cap="none">
                <a:solidFill>
                  <a:srgbClr val="7F7F7F"/>
                </a:solidFill>
                <a:latin typeface="Calibri"/>
                <a:ea typeface="Calibri"/>
                <a:cs typeface="Calibri"/>
                <a:sym typeface="Calibri"/>
              </a:defRPr>
            </a:lvl6pPr>
            <a:lvl7pPr marL="0" lvl="6" indent="0" algn="r">
              <a:lnSpc>
                <a:spcPct val="100000"/>
              </a:lnSpc>
              <a:spcBef>
                <a:spcPts val="0"/>
              </a:spcBef>
              <a:buNone/>
              <a:defRPr sz="789" b="0" i="0" u="none" strike="noStrike" cap="none">
                <a:solidFill>
                  <a:srgbClr val="7F7F7F"/>
                </a:solidFill>
                <a:latin typeface="Calibri"/>
                <a:ea typeface="Calibri"/>
                <a:cs typeface="Calibri"/>
                <a:sym typeface="Calibri"/>
              </a:defRPr>
            </a:lvl7pPr>
            <a:lvl8pPr marL="0" lvl="7" indent="0" algn="r">
              <a:lnSpc>
                <a:spcPct val="100000"/>
              </a:lnSpc>
              <a:spcBef>
                <a:spcPts val="0"/>
              </a:spcBef>
              <a:buNone/>
              <a:defRPr sz="789" b="0" i="0" u="none" strike="noStrike" cap="none">
                <a:solidFill>
                  <a:srgbClr val="7F7F7F"/>
                </a:solidFill>
                <a:latin typeface="Calibri"/>
                <a:ea typeface="Calibri"/>
                <a:cs typeface="Calibri"/>
                <a:sym typeface="Calibri"/>
              </a:defRPr>
            </a:lvl8pPr>
            <a:lvl9pPr marL="0" lvl="8" indent="0" algn="r">
              <a:lnSpc>
                <a:spcPct val="100000"/>
              </a:lnSpc>
              <a:spcBef>
                <a:spcPts val="0"/>
              </a:spcBef>
              <a:buNone/>
              <a:defRPr sz="789"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sp>
        <p:nvSpPr>
          <p:cNvPr id="255" name="Google Shape;255;p27"/>
          <p:cNvSpPr txBox="1"/>
          <p:nvPr/>
        </p:nvSpPr>
        <p:spPr>
          <a:xfrm rot="-5400000">
            <a:off x="9798050" y="6272166"/>
            <a:ext cx="1545295" cy="8508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IN" sz="614" b="0" i="0">
                <a:solidFill>
                  <a:srgbClr val="7F7F7F"/>
                </a:solidFill>
                <a:latin typeface="Calibri"/>
                <a:ea typeface="Calibri"/>
                <a:cs typeface="Calibri"/>
                <a:sym typeface="Calibri"/>
              </a:rPr>
              <a:t>Infomineo Copyright © 2022. All rights reserved.</a:t>
            </a:r>
            <a:endParaRPr/>
          </a:p>
        </p:txBody>
      </p:sp>
      <p:sp>
        <p:nvSpPr>
          <p:cNvPr id="256" name="Google Shape;256;p27"/>
          <p:cNvSpPr txBox="1"/>
          <p:nvPr/>
        </p:nvSpPr>
        <p:spPr>
          <a:xfrm>
            <a:off x="10091711" y="7135972"/>
            <a:ext cx="117020" cy="121444"/>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None/>
            </a:pPr>
            <a:fld id="{00000000-1234-1234-1234-123412341234}" type="slidenum">
              <a:rPr lang="en-IN" sz="789" b="0" i="0" u="none" strike="noStrike" cap="none">
                <a:solidFill>
                  <a:srgbClr val="7F7F7F"/>
                </a:solidFill>
                <a:latin typeface="Calibri"/>
                <a:ea typeface="Calibri"/>
                <a:cs typeface="Calibri"/>
                <a:sym typeface="Calibri"/>
              </a:rPr>
              <a:t>‹#›</a:t>
            </a:fld>
            <a:endParaRPr sz="789" b="0" i="0" u="none" strike="noStrike" cap="none">
              <a:solidFill>
                <a:srgbClr val="7F7F7F"/>
              </a:solidFill>
              <a:latin typeface="Calibri"/>
              <a:ea typeface="Calibri"/>
              <a:cs typeface="Calibri"/>
              <a:sym typeface="Calibri"/>
            </a:endParaRPr>
          </a:p>
        </p:txBody>
      </p:sp>
      <p:sp>
        <p:nvSpPr>
          <p:cNvPr id="257" name="Google Shape;257;p27"/>
          <p:cNvSpPr txBox="1">
            <a:spLocks noGrp="1"/>
          </p:cNvSpPr>
          <p:nvPr>
            <p:ph type="title"/>
          </p:nvPr>
        </p:nvSpPr>
        <p:spPr>
          <a:xfrm>
            <a:off x="646836" y="5107144"/>
            <a:ext cx="7449629" cy="573555"/>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lt1"/>
              </a:buClr>
              <a:buSzPts val="4385"/>
              <a:buFont typeface="Franklin Gothic"/>
              <a:buNone/>
              <a:defRPr sz="4385">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Slide (Option 2)">
  <p:cSld name="Title Slide (Option 2)">
    <p:spTree>
      <p:nvGrpSpPr>
        <p:cNvPr id="1" name="Shape 61"/>
        <p:cNvGrpSpPr/>
        <p:nvPr/>
      </p:nvGrpSpPr>
      <p:grpSpPr>
        <a:xfrm>
          <a:off x="0" y="0"/>
          <a:ext cx="0" cy="0"/>
          <a:chOff x="0" y="0"/>
          <a:chExt cx="0" cy="0"/>
        </a:xfrm>
      </p:grpSpPr>
      <p:pic>
        <p:nvPicPr>
          <p:cNvPr id="62" name="Google Shape;62;p10" descr="A large body of water with a city in the background&#10;&#10;Description automatically generated"/>
          <p:cNvPicPr preferRelativeResize="0"/>
          <p:nvPr/>
        </p:nvPicPr>
        <p:blipFill rotWithShape="1">
          <a:blip r:embed="rId2">
            <a:alphaModFix/>
          </a:blip>
          <a:srcRect l="8469" t="3128" r="8468" b="3127"/>
          <a:stretch/>
        </p:blipFill>
        <p:spPr>
          <a:xfrm>
            <a:off x="236780" y="236780"/>
            <a:ext cx="10218254" cy="7086118"/>
          </a:xfrm>
          <a:prstGeom prst="rect">
            <a:avLst/>
          </a:prstGeom>
          <a:noFill/>
          <a:ln>
            <a:noFill/>
          </a:ln>
        </p:spPr>
      </p:pic>
      <p:sp>
        <p:nvSpPr>
          <p:cNvPr id="63" name="Google Shape;63;p10"/>
          <p:cNvSpPr/>
          <p:nvPr/>
        </p:nvSpPr>
        <p:spPr>
          <a:xfrm>
            <a:off x="470439" y="480160"/>
            <a:ext cx="6411747" cy="7079515"/>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64" name="Google Shape;64;p10"/>
          <p:cNvSpPr txBox="1">
            <a:spLocks noGrp="1"/>
          </p:cNvSpPr>
          <p:nvPr>
            <p:ph type="ctrTitle"/>
          </p:nvPr>
        </p:nvSpPr>
        <p:spPr>
          <a:xfrm>
            <a:off x="923269" y="3647481"/>
            <a:ext cx="5380568" cy="1090042"/>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 name="Google Shape;65;p10"/>
          <p:cNvSpPr txBox="1">
            <a:spLocks noGrp="1"/>
          </p:cNvSpPr>
          <p:nvPr>
            <p:ph type="subTitle" idx="1"/>
          </p:nvPr>
        </p:nvSpPr>
        <p:spPr>
          <a:xfrm>
            <a:off x="923269" y="4815019"/>
            <a:ext cx="5380568" cy="292388"/>
          </a:xfrm>
          <a:prstGeom prst="rect">
            <a:avLst/>
          </a:prstGeom>
          <a:noFill/>
          <a:ln>
            <a:noFill/>
          </a:ln>
        </p:spPr>
        <p:txBody>
          <a:bodyPr spcFirstLastPara="1" wrap="square" lIns="0" tIns="0" rIns="0" bIns="0" anchor="t" anchorCtr="0">
            <a:spAutoFit/>
          </a:bodyPr>
          <a:lstStyle>
            <a:lvl1pPr lvl="0" algn="l">
              <a:lnSpc>
                <a:spcPct val="95000"/>
              </a:lnSpc>
              <a:spcBef>
                <a:spcPts val="877"/>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439"/>
              </a:spcBef>
              <a:spcAft>
                <a:spcPts val="0"/>
              </a:spcAft>
              <a:buSzPts val="1620"/>
              <a:buChar char="▪"/>
              <a:defRPr/>
            </a:lvl2pPr>
            <a:lvl3pPr lvl="2" algn="l">
              <a:lnSpc>
                <a:spcPct val="95000"/>
              </a:lnSpc>
              <a:spcBef>
                <a:spcPts val="263"/>
              </a:spcBef>
              <a:spcAft>
                <a:spcPts val="0"/>
              </a:spcAft>
              <a:buSzPts val="1800"/>
              <a:buChar char="−"/>
              <a:defRPr/>
            </a:lvl3pPr>
            <a:lvl4pPr lvl="3" algn="l">
              <a:lnSpc>
                <a:spcPct val="95000"/>
              </a:lnSpc>
              <a:spcBef>
                <a:spcPts val="88"/>
              </a:spcBef>
              <a:spcAft>
                <a:spcPts val="0"/>
              </a:spcAft>
              <a:buSzPts val="1620"/>
              <a:buChar char="•"/>
              <a:defRPr/>
            </a:lvl4pPr>
            <a:lvl5pPr lvl="4" algn="l">
              <a:lnSpc>
                <a:spcPct val="95000"/>
              </a:lnSpc>
              <a:spcBef>
                <a:spcPts val="88"/>
              </a:spcBef>
              <a:spcAft>
                <a:spcPts val="0"/>
              </a:spcAft>
              <a:buSzPts val="1800"/>
              <a:buChar char="−"/>
              <a:defRPr/>
            </a:lvl5pPr>
            <a:lvl6pPr lvl="5" algn="l">
              <a:lnSpc>
                <a:spcPct val="90000"/>
              </a:lnSpc>
              <a:spcBef>
                <a:spcPts val="439"/>
              </a:spcBef>
              <a:spcAft>
                <a:spcPts val="0"/>
              </a:spcAft>
              <a:buClr>
                <a:schemeClr val="dk1"/>
              </a:buClr>
              <a:buSzPts val="1800"/>
              <a:buChar char="•"/>
              <a:defRPr/>
            </a:lvl6pPr>
            <a:lvl7pPr lvl="6" algn="l">
              <a:lnSpc>
                <a:spcPct val="90000"/>
              </a:lnSpc>
              <a:spcBef>
                <a:spcPts val="439"/>
              </a:spcBef>
              <a:spcAft>
                <a:spcPts val="0"/>
              </a:spcAft>
              <a:buClr>
                <a:schemeClr val="dk1"/>
              </a:buClr>
              <a:buSzPts val="1800"/>
              <a:buChar char="•"/>
              <a:defRPr/>
            </a:lvl7pPr>
            <a:lvl8pPr lvl="7" algn="l">
              <a:lnSpc>
                <a:spcPct val="90000"/>
              </a:lnSpc>
              <a:spcBef>
                <a:spcPts val="439"/>
              </a:spcBef>
              <a:spcAft>
                <a:spcPts val="0"/>
              </a:spcAft>
              <a:buClr>
                <a:schemeClr val="dk1"/>
              </a:buClr>
              <a:buSzPts val="1800"/>
              <a:buChar char="•"/>
              <a:defRPr/>
            </a:lvl8pPr>
            <a:lvl9pPr lvl="8" algn="l">
              <a:lnSpc>
                <a:spcPct val="90000"/>
              </a:lnSpc>
              <a:spcBef>
                <a:spcPts val="439"/>
              </a:spcBef>
              <a:spcAft>
                <a:spcPts val="0"/>
              </a:spcAft>
              <a:buClr>
                <a:schemeClr val="dk1"/>
              </a:buClr>
              <a:buSzPts val="1800"/>
              <a:buChar char="•"/>
              <a:defRPr/>
            </a:lvl9pPr>
          </a:lstStyle>
          <a:p>
            <a:endParaRPr/>
          </a:p>
        </p:txBody>
      </p:sp>
      <p:pic>
        <p:nvPicPr>
          <p:cNvPr id="66" name="Google Shape;66;p10"/>
          <p:cNvPicPr preferRelativeResize="0"/>
          <p:nvPr/>
        </p:nvPicPr>
        <p:blipFill rotWithShape="1">
          <a:blip r:embed="rId3">
            <a:alphaModFix/>
          </a:blip>
          <a:srcRect/>
          <a:stretch/>
        </p:blipFill>
        <p:spPr>
          <a:xfrm>
            <a:off x="923266" y="924940"/>
            <a:ext cx="2752975" cy="624132"/>
          </a:xfrm>
          <a:prstGeom prst="rect">
            <a:avLst/>
          </a:prstGeom>
          <a:noFill/>
          <a:ln>
            <a:noFill/>
          </a:ln>
        </p:spPr>
      </p:pic>
      <p:sp>
        <p:nvSpPr>
          <p:cNvPr id="67" name="Google Shape;67;p10"/>
          <p:cNvSpPr txBox="1">
            <a:spLocks noGrp="1"/>
          </p:cNvSpPr>
          <p:nvPr>
            <p:ph type="dt" idx="10"/>
          </p:nvPr>
        </p:nvSpPr>
        <p:spPr>
          <a:xfrm>
            <a:off x="921225" y="6529774"/>
            <a:ext cx="1550746" cy="2215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6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Guides">
  <p:cSld name="Guides">
    <p:spTree>
      <p:nvGrpSpPr>
        <p:cNvPr id="1" name="Shape 258"/>
        <p:cNvGrpSpPr/>
        <p:nvPr/>
      </p:nvGrpSpPr>
      <p:grpSpPr>
        <a:xfrm>
          <a:off x="0" y="0"/>
          <a:ext cx="0" cy="0"/>
          <a:chOff x="0" y="0"/>
          <a:chExt cx="0" cy="0"/>
        </a:xfrm>
      </p:grpSpPr>
      <p:sp>
        <p:nvSpPr>
          <p:cNvPr id="259" name="Google Shape;259;p28"/>
          <p:cNvSpPr/>
          <p:nvPr/>
        </p:nvSpPr>
        <p:spPr>
          <a:xfrm>
            <a:off x="0" y="0"/>
            <a:ext cx="10692865" cy="7559675"/>
          </a:xfrm>
          <a:custGeom>
            <a:avLst/>
            <a:gdLst/>
            <a:ahLst/>
            <a:cxnLst/>
            <a:rect l="l" t="t" r="r" b="b"/>
            <a:pathLst>
              <a:path w="10692865" h="7559675" extrusionOk="0">
                <a:moveTo>
                  <a:pt x="482600" y="483079"/>
                </a:moveTo>
                <a:lnTo>
                  <a:pt x="482600" y="7088267"/>
                </a:lnTo>
                <a:lnTo>
                  <a:pt x="10207986" y="7088267"/>
                </a:lnTo>
                <a:lnTo>
                  <a:pt x="10207986" y="6954202"/>
                </a:lnTo>
                <a:lnTo>
                  <a:pt x="10208732" y="6954202"/>
                </a:lnTo>
                <a:lnTo>
                  <a:pt x="10208732" y="605475"/>
                </a:lnTo>
                <a:lnTo>
                  <a:pt x="10207986" y="605475"/>
                </a:lnTo>
                <a:lnTo>
                  <a:pt x="10207986" y="483079"/>
                </a:lnTo>
                <a:close/>
                <a:moveTo>
                  <a:pt x="0" y="0"/>
                </a:moveTo>
                <a:lnTo>
                  <a:pt x="10692865" y="0"/>
                </a:lnTo>
                <a:lnTo>
                  <a:pt x="10692865" y="686522"/>
                </a:lnTo>
                <a:lnTo>
                  <a:pt x="10691813" y="686522"/>
                </a:lnTo>
                <a:lnTo>
                  <a:pt x="10691813" y="6790918"/>
                </a:lnTo>
                <a:lnTo>
                  <a:pt x="10692865" y="6790918"/>
                </a:lnTo>
                <a:lnTo>
                  <a:pt x="10692865" y="7559675"/>
                </a:lnTo>
                <a:lnTo>
                  <a:pt x="10691813" y="7559675"/>
                </a:lnTo>
                <a:lnTo>
                  <a:pt x="10139332" y="7559675"/>
                </a:lnTo>
                <a:lnTo>
                  <a:pt x="552482" y="7559675"/>
                </a:lnTo>
                <a:lnTo>
                  <a:pt x="1" y="7559675"/>
                </a:lnTo>
                <a:lnTo>
                  <a:pt x="1" y="6790918"/>
                </a:lnTo>
                <a:lnTo>
                  <a:pt x="1" y="686522"/>
                </a:lnTo>
                <a:lnTo>
                  <a:pt x="0" y="686522"/>
                </a:lnTo>
                <a:close/>
              </a:path>
            </a:pathLst>
          </a:custGeom>
          <a:solidFill>
            <a:srgbClr val="FF0000">
              <a:alpha val="4705"/>
            </a:srgbClr>
          </a:solidFill>
          <a:ln>
            <a:noFill/>
          </a:ln>
        </p:spPr>
        <p:txBody>
          <a:bodyPr spcFirstLastPara="1" wrap="square" lIns="80175" tIns="40075" rIns="80175" bIns="40075"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grpSp>
        <p:nvGrpSpPr>
          <p:cNvPr id="260" name="Google Shape;260;p28"/>
          <p:cNvGrpSpPr/>
          <p:nvPr/>
        </p:nvGrpSpPr>
        <p:grpSpPr>
          <a:xfrm>
            <a:off x="-523" y="483080"/>
            <a:ext cx="10692865" cy="6593515"/>
            <a:chOff x="-523" y="483080"/>
            <a:chExt cx="10692865" cy="6593515"/>
          </a:xfrm>
        </p:grpSpPr>
        <p:cxnSp>
          <p:nvCxnSpPr>
            <p:cNvPr id="261" name="Google Shape;261;p28"/>
            <p:cNvCxnSpPr/>
            <p:nvPr/>
          </p:nvCxnSpPr>
          <p:spPr>
            <a:xfrm>
              <a:off x="-523" y="483080"/>
              <a:ext cx="10692865" cy="0"/>
            </a:xfrm>
            <a:prstGeom prst="straightConnector1">
              <a:avLst/>
            </a:prstGeom>
            <a:noFill/>
            <a:ln w="9525" cap="flat" cmpd="sng">
              <a:solidFill>
                <a:srgbClr val="C00000">
                  <a:alpha val="49803"/>
                </a:srgbClr>
              </a:solidFill>
              <a:prstDash val="solid"/>
              <a:miter lim="800000"/>
              <a:headEnd type="none" w="sm" len="sm"/>
              <a:tailEnd type="none" w="sm" len="sm"/>
            </a:ln>
          </p:spPr>
        </p:cxnSp>
        <p:cxnSp>
          <p:nvCxnSpPr>
            <p:cNvPr id="262" name="Google Shape;262;p28"/>
            <p:cNvCxnSpPr/>
            <p:nvPr/>
          </p:nvCxnSpPr>
          <p:spPr>
            <a:xfrm>
              <a:off x="-523" y="108249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63" name="Google Shape;263;p28"/>
            <p:cNvCxnSpPr/>
            <p:nvPr/>
          </p:nvCxnSpPr>
          <p:spPr>
            <a:xfrm>
              <a:off x="-523" y="1382195"/>
              <a:ext cx="10692865" cy="0"/>
            </a:xfrm>
            <a:prstGeom prst="straightConnector1">
              <a:avLst/>
            </a:prstGeom>
            <a:noFill/>
            <a:ln w="9525" cap="flat" cmpd="sng">
              <a:solidFill>
                <a:srgbClr val="C00000">
                  <a:alpha val="49803"/>
                </a:srgbClr>
              </a:solidFill>
              <a:prstDash val="solid"/>
              <a:miter lim="800000"/>
              <a:headEnd type="none" w="sm" len="sm"/>
              <a:tailEnd type="none" w="sm" len="sm"/>
            </a:ln>
          </p:spPr>
        </p:cxnSp>
        <p:cxnSp>
          <p:nvCxnSpPr>
            <p:cNvPr id="264" name="Google Shape;264;p28"/>
            <p:cNvCxnSpPr/>
            <p:nvPr/>
          </p:nvCxnSpPr>
          <p:spPr>
            <a:xfrm>
              <a:off x="-523" y="168190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65" name="Google Shape;265;p28"/>
            <p:cNvCxnSpPr/>
            <p:nvPr/>
          </p:nvCxnSpPr>
          <p:spPr>
            <a:xfrm>
              <a:off x="-523" y="1981605"/>
              <a:ext cx="10692865" cy="0"/>
            </a:xfrm>
            <a:prstGeom prst="straightConnector1">
              <a:avLst/>
            </a:prstGeom>
            <a:noFill/>
            <a:ln w="9525" cap="flat" cmpd="sng">
              <a:solidFill>
                <a:srgbClr val="C00000">
                  <a:alpha val="49803"/>
                </a:srgbClr>
              </a:solidFill>
              <a:prstDash val="solid"/>
              <a:miter lim="800000"/>
              <a:headEnd type="none" w="sm" len="sm"/>
              <a:tailEnd type="none" w="sm" len="sm"/>
            </a:ln>
          </p:spPr>
        </p:cxnSp>
        <p:cxnSp>
          <p:nvCxnSpPr>
            <p:cNvPr id="266" name="Google Shape;266;p28"/>
            <p:cNvCxnSpPr/>
            <p:nvPr/>
          </p:nvCxnSpPr>
          <p:spPr>
            <a:xfrm>
              <a:off x="-523" y="228131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67" name="Google Shape;267;p28"/>
            <p:cNvCxnSpPr/>
            <p:nvPr/>
          </p:nvCxnSpPr>
          <p:spPr>
            <a:xfrm>
              <a:off x="-523" y="258101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68" name="Google Shape;268;p28"/>
            <p:cNvCxnSpPr/>
            <p:nvPr/>
          </p:nvCxnSpPr>
          <p:spPr>
            <a:xfrm>
              <a:off x="-523" y="288072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69" name="Google Shape;269;p28"/>
            <p:cNvCxnSpPr/>
            <p:nvPr/>
          </p:nvCxnSpPr>
          <p:spPr>
            <a:xfrm>
              <a:off x="-523" y="318042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0" name="Google Shape;270;p28"/>
            <p:cNvCxnSpPr/>
            <p:nvPr/>
          </p:nvCxnSpPr>
          <p:spPr>
            <a:xfrm>
              <a:off x="-523" y="348013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1" name="Google Shape;271;p28"/>
            <p:cNvCxnSpPr/>
            <p:nvPr/>
          </p:nvCxnSpPr>
          <p:spPr>
            <a:xfrm>
              <a:off x="-523" y="377983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2" name="Google Shape;272;p28"/>
            <p:cNvCxnSpPr/>
            <p:nvPr/>
          </p:nvCxnSpPr>
          <p:spPr>
            <a:xfrm>
              <a:off x="-523" y="407954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3" name="Google Shape;273;p28"/>
            <p:cNvCxnSpPr/>
            <p:nvPr/>
          </p:nvCxnSpPr>
          <p:spPr>
            <a:xfrm>
              <a:off x="-523" y="437924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4" name="Google Shape;274;p28"/>
            <p:cNvCxnSpPr/>
            <p:nvPr/>
          </p:nvCxnSpPr>
          <p:spPr>
            <a:xfrm>
              <a:off x="-523" y="467895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5" name="Google Shape;275;p28"/>
            <p:cNvCxnSpPr/>
            <p:nvPr/>
          </p:nvCxnSpPr>
          <p:spPr>
            <a:xfrm>
              <a:off x="-523" y="497865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6" name="Google Shape;276;p28"/>
            <p:cNvCxnSpPr/>
            <p:nvPr/>
          </p:nvCxnSpPr>
          <p:spPr>
            <a:xfrm>
              <a:off x="-523" y="527836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7" name="Google Shape;277;p28"/>
            <p:cNvCxnSpPr/>
            <p:nvPr/>
          </p:nvCxnSpPr>
          <p:spPr>
            <a:xfrm>
              <a:off x="-523" y="557806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8" name="Google Shape;278;p28"/>
            <p:cNvCxnSpPr/>
            <p:nvPr/>
          </p:nvCxnSpPr>
          <p:spPr>
            <a:xfrm>
              <a:off x="-523" y="587777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9" name="Google Shape;279;p28"/>
            <p:cNvCxnSpPr/>
            <p:nvPr/>
          </p:nvCxnSpPr>
          <p:spPr>
            <a:xfrm>
              <a:off x="-523" y="617747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80" name="Google Shape;280;p28"/>
            <p:cNvCxnSpPr/>
            <p:nvPr/>
          </p:nvCxnSpPr>
          <p:spPr>
            <a:xfrm>
              <a:off x="-523" y="647718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81" name="Google Shape;281;p28"/>
            <p:cNvCxnSpPr/>
            <p:nvPr/>
          </p:nvCxnSpPr>
          <p:spPr>
            <a:xfrm>
              <a:off x="-523" y="78278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82" name="Google Shape;282;p28"/>
            <p:cNvCxnSpPr/>
            <p:nvPr/>
          </p:nvCxnSpPr>
          <p:spPr>
            <a:xfrm>
              <a:off x="-523" y="7076595"/>
              <a:ext cx="10692865" cy="0"/>
            </a:xfrm>
            <a:prstGeom prst="straightConnector1">
              <a:avLst/>
            </a:prstGeom>
            <a:noFill/>
            <a:ln w="9525" cap="flat" cmpd="sng">
              <a:solidFill>
                <a:srgbClr val="C00000">
                  <a:alpha val="49803"/>
                </a:srgbClr>
              </a:solidFill>
              <a:prstDash val="solid"/>
              <a:miter lim="800000"/>
              <a:headEnd type="none" w="sm" len="sm"/>
              <a:tailEnd type="none" w="sm" len="sm"/>
            </a:ln>
          </p:spPr>
        </p:cxnSp>
        <p:cxnSp>
          <p:nvCxnSpPr>
            <p:cNvPr id="283" name="Google Shape;283;p28"/>
            <p:cNvCxnSpPr/>
            <p:nvPr/>
          </p:nvCxnSpPr>
          <p:spPr>
            <a:xfrm>
              <a:off x="-523" y="6776885"/>
              <a:ext cx="10692865" cy="0"/>
            </a:xfrm>
            <a:prstGeom prst="straightConnector1">
              <a:avLst/>
            </a:prstGeom>
            <a:noFill/>
            <a:ln w="9525" cap="flat" cmpd="sng">
              <a:solidFill>
                <a:srgbClr val="C00000"/>
              </a:solidFill>
              <a:prstDash val="solid"/>
              <a:miter lim="800000"/>
              <a:headEnd type="none" w="sm" len="sm"/>
              <a:tailEnd type="none" w="sm" len="sm"/>
            </a:ln>
          </p:spPr>
        </p:cxnSp>
      </p:grpSp>
      <p:sp>
        <p:nvSpPr>
          <p:cNvPr id="284" name="Google Shape;284;p28"/>
          <p:cNvSpPr/>
          <p:nvPr/>
        </p:nvSpPr>
        <p:spPr>
          <a:xfrm>
            <a:off x="482555" y="7088276"/>
            <a:ext cx="9726176" cy="288585"/>
          </a:xfrm>
          <a:prstGeom prst="rect">
            <a:avLst/>
          </a:prstGeom>
          <a:solidFill>
            <a:srgbClr val="FF0000">
              <a:alpha val="9803"/>
            </a:srgbClr>
          </a:solidFill>
          <a:ln>
            <a:noFill/>
          </a:ln>
        </p:spPr>
        <p:txBody>
          <a:bodyPr spcFirstLastPara="1" wrap="square" lIns="80175" tIns="40075" rIns="80175" bIns="40075"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85" name="Google Shape;285;p28"/>
          <p:cNvSpPr/>
          <p:nvPr/>
        </p:nvSpPr>
        <p:spPr>
          <a:xfrm>
            <a:off x="483082" y="1391828"/>
            <a:ext cx="9739052" cy="600004"/>
          </a:xfrm>
          <a:prstGeom prst="rect">
            <a:avLst/>
          </a:prstGeom>
          <a:solidFill>
            <a:srgbClr val="FF0000">
              <a:alpha val="4705"/>
            </a:srgbClr>
          </a:solidFill>
          <a:ln>
            <a:noFill/>
          </a:ln>
        </p:spPr>
        <p:txBody>
          <a:bodyPr spcFirstLastPara="1" wrap="square" lIns="80175" tIns="40075" rIns="80175" bIns="40075"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grpSp>
        <p:nvGrpSpPr>
          <p:cNvPr id="286" name="Google Shape;286;p28"/>
          <p:cNvGrpSpPr/>
          <p:nvPr/>
        </p:nvGrpSpPr>
        <p:grpSpPr>
          <a:xfrm>
            <a:off x="1065795" y="1991832"/>
            <a:ext cx="8561694" cy="5096444"/>
            <a:chOff x="1215339" y="549274"/>
            <a:chExt cx="9763000" cy="5759450"/>
          </a:xfrm>
        </p:grpSpPr>
        <p:sp>
          <p:nvSpPr>
            <p:cNvPr id="287" name="Google Shape;287;p28"/>
            <p:cNvSpPr/>
            <p:nvPr/>
          </p:nvSpPr>
          <p:spPr>
            <a:xfrm>
              <a:off x="690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88" name="Google Shape;288;p28"/>
            <p:cNvSpPr/>
            <p:nvPr/>
          </p:nvSpPr>
          <p:spPr>
            <a:xfrm>
              <a:off x="879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89" name="Google Shape;289;p28"/>
            <p:cNvSpPr/>
            <p:nvPr/>
          </p:nvSpPr>
          <p:spPr>
            <a:xfrm>
              <a:off x="7847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0" name="Google Shape;290;p28"/>
            <p:cNvSpPr/>
            <p:nvPr/>
          </p:nvSpPr>
          <p:spPr>
            <a:xfrm>
              <a:off x="9742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1" name="Google Shape;291;p28"/>
            <p:cNvSpPr/>
            <p:nvPr/>
          </p:nvSpPr>
          <p:spPr>
            <a:xfrm>
              <a:off x="1069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2" name="Google Shape;292;p28"/>
            <p:cNvSpPr/>
            <p:nvPr/>
          </p:nvSpPr>
          <p:spPr>
            <a:xfrm>
              <a:off x="5952839" y="549274"/>
              <a:ext cx="288000" cy="5759450"/>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3" name="Google Shape;293;p28"/>
            <p:cNvSpPr/>
            <p:nvPr/>
          </p:nvSpPr>
          <p:spPr>
            <a:xfrm>
              <a:off x="121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4" name="Google Shape;294;p28"/>
            <p:cNvSpPr/>
            <p:nvPr/>
          </p:nvSpPr>
          <p:spPr>
            <a:xfrm>
              <a:off x="2162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5" name="Google Shape;295;p28"/>
            <p:cNvSpPr/>
            <p:nvPr/>
          </p:nvSpPr>
          <p:spPr>
            <a:xfrm>
              <a:off x="311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6" name="Google Shape;296;p28"/>
            <p:cNvSpPr/>
            <p:nvPr/>
          </p:nvSpPr>
          <p:spPr>
            <a:xfrm>
              <a:off x="4057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7" name="Google Shape;297;p28"/>
            <p:cNvSpPr/>
            <p:nvPr/>
          </p:nvSpPr>
          <p:spPr>
            <a:xfrm>
              <a:off x="500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grpSp>
      <p:sp>
        <p:nvSpPr>
          <p:cNvPr id="298" name="Google Shape;298;p28"/>
          <p:cNvSpPr txBox="1"/>
          <p:nvPr/>
        </p:nvSpPr>
        <p:spPr>
          <a:xfrm>
            <a:off x="483080" y="7127843"/>
            <a:ext cx="7919690" cy="243015"/>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877"/>
              <a:buFont typeface="Calibri"/>
              <a:buNone/>
            </a:pPr>
            <a:r>
              <a:rPr lang="en-IN" sz="877" b="0" i="0" u="none" strike="noStrike" cap="none">
                <a:solidFill>
                  <a:srgbClr val="7F7F7F"/>
                </a:solidFill>
                <a:latin typeface="Calibri"/>
                <a:ea typeface="Calibri"/>
                <a:cs typeface="Calibri"/>
                <a:sym typeface="Calibri"/>
              </a:rPr>
              <a:t>Footnotes/Notes</a:t>
            </a:r>
            <a:endParaRPr/>
          </a:p>
          <a:p>
            <a:pPr marL="0" marR="0" lvl="0" indent="0" algn="l" rtl="0">
              <a:lnSpc>
                <a:spcPct val="90000"/>
              </a:lnSpc>
              <a:spcBef>
                <a:spcPts val="0"/>
              </a:spcBef>
              <a:spcAft>
                <a:spcPts val="0"/>
              </a:spcAft>
              <a:buClr>
                <a:srgbClr val="7F7F7F"/>
              </a:buClr>
              <a:buSzPts val="877"/>
              <a:buFont typeface="Calibri"/>
              <a:buNone/>
            </a:pPr>
            <a:r>
              <a:rPr lang="en-IN" sz="877" b="0" i="0" u="none" strike="noStrike" cap="none">
                <a:solidFill>
                  <a:srgbClr val="7F7F7F"/>
                </a:solidFill>
                <a:latin typeface="Calibri"/>
                <a:ea typeface="Calibri"/>
                <a:cs typeface="Calibri"/>
                <a:sym typeface="Calibri"/>
              </a:rPr>
              <a:t>Source: Include a source here</a:t>
            </a:r>
            <a:endParaRPr/>
          </a:p>
        </p:txBody>
      </p:sp>
      <p:sp>
        <p:nvSpPr>
          <p:cNvPr id="299" name="Google Shape;299;p28"/>
          <p:cNvSpPr txBox="1">
            <a:spLocks noGrp="1"/>
          </p:cNvSpPr>
          <p:nvPr>
            <p:ph type="sldNum" idx="12"/>
          </p:nvPr>
        </p:nvSpPr>
        <p:spPr>
          <a:xfrm>
            <a:off x="10075418" y="7235885"/>
            <a:ext cx="133050" cy="134973"/>
          </a:xfrm>
          <a:prstGeom prst="rect">
            <a:avLst/>
          </a:prstGeom>
          <a:noFill/>
          <a:ln>
            <a:noFill/>
          </a:ln>
        </p:spPr>
        <p:txBody>
          <a:bodyPr spcFirstLastPara="1" wrap="square" lIns="0" tIns="0" rIns="0" bIns="0" anchor="b" anchorCtr="0">
            <a:spAutoFit/>
          </a:bodyPr>
          <a:lstStyle>
            <a:lvl1pPr marL="0" lvl="0" indent="0" algn="r">
              <a:spcBef>
                <a:spcPts val="0"/>
              </a:spcBef>
              <a:buNone/>
              <a:defRPr sz="877" b="0" i="0" u="none" strike="noStrike" cap="none">
                <a:solidFill>
                  <a:srgbClr val="7F7F7F"/>
                </a:solidFill>
                <a:latin typeface="Calibri"/>
                <a:ea typeface="Calibri"/>
                <a:cs typeface="Calibri"/>
                <a:sym typeface="Calibri"/>
              </a:defRPr>
            </a:lvl1pPr>
            <a:lvl2pPr marL="0" lvl="1" indent="0" algn="r">
              <a:spcBef>
                <a:spcPts val="0"/>
              </a:spcBef>
              <a:buNone/>
              <a:defRPr sz="877" b="0" i="0" u="none" strike="noStrike" cap="none">
                <a:solidFill>
                  <a:srgbClr val="7F7F7F"/>
                </a:solidFill>
                <a:latin typeface="Calibri"/>
                <a:ea typeface="Calibri"/>
                <a:cs typeface="Calibri"/>
                <a:sym typeface="Calibri"/>
              </a:defRPr>
            </a:lvl2pPr>
            <a:lvl3pPr marL="0" lvl="2" indent="0" algn="r">
              <a:spcBef>
                <a:spcPts val="0"/>
              </a:spcBef>
              <a:buNone/>
              <a:defRPr sz="877" b="0" i="0" u="none" strike="noStrike" cap="none">
                <a:solidFill>
                  <a:srgbClr val="7F7F7F"/>
                </a:solidFill>
                <a:latin typeface="Calibri"/>
                <a:ea typeface="Calibri"/>
                <a:cs typeface="Calibri"/>
                <a:sym typeface="Calibri"/>
              </a:defRPr>
            </a:lvl3pPr>
            <a:lvl4pPr marL="0" lvl="3" indent="0" algn="r">
              <a:spcBef>
                <a:spcPts val="0"/>
              </a:spcBef>
              <a:buNone/>
              <a:defRPr sz="877" b="0" i="0" u="none" strike="noStrike" cap="none">
                <a:solidFill>
                  <a:srgbClr val="7F7F7F"/>
                </a:solidFill>
                <a:latin typeface="Calibri"/>
                <a:ea typeface="Calibri"/>
                <a:cs typeface="Calibri"/>
                <a:sym typeface="Calibri"/>
              </a:defRPr>
            </a:lvl4pPr>
            <a:lvl5pPr marL="0" lvl="4" indent="0" algn="r">
              <a:spcBef>
                <a:spcPts val="0"/>
              </a:spcBef>
              <a:buNone/>
              <a:defRPr sz="877" b="0" i="0" u="none" strike="noStrike" cap="none">
                <a:solidFill>
                  <a:srgbClr val="7F7F7F"/>
                </a:solidFill>
                <a:latin typeface="Calibri"/>
                <a:ea typeface="Calibri"/>
                <a:cs typeface="Calibri"/>
                <a:sym typeface="Calibri"/>
              </a:defRPr>
            </a:lvl5pPr>
            <a:lvl6pPr marL="0" lvl="5" indent="0" algn="r">
              <a:spcBef>
                <a:spcPts val="0"/>
              </a:spcBef>
              <a:buNone/>
              <a:defRPr sz="877" b="0" i="0" u="none" strike="noStrike" cap="none">
                <a:solidFill>
                  <a:srgbClr val="7F7F7F"/>
                </a:solidFill>
                <a:latin typeface="Calibri"/>
                <a:ea typeface="Calibri"/>
                <a:cs typeface="Calibri"/>
                <a:sym typeface="Calibri"/>
              </a:defRPr>
            </a:lvl6pPr>
            <a:lvl7pPr marL="0" lvl="6" indent="0" algn="r">
              <a:spcBef>
                <a:spcPts val="0"/>
              </a:spcBef>
              <a:buNone/>
              <a:defRPr sz="877" b="0" i="0" u="none" strike="noStrike" cap="none">
                <a:solidFill>
                  <a:srgbClr val="7F7F7F"/>
                </a:solidFill>
                <a:latin typeface="Calibri"/>
                <a:ea typeface="Calibri"/>
                <a:cs typeface="Calibri"/>
                <a:sym typeface="Calibri"/>
              </a:defRPr>
            </a:lvl7pPr>
            <a:lvl8pPr marL="0" lvl="7" indent="0" algn="r">
              <a:spcBef>
                <a:spcPts val="0"/>
              </a:spcBef>
              <a:buNone/>
              <a:defRPr sz="877" b="0" i="0" u="none" strike="noStrike" cap="none">
                <a:solidFill>
                  <a:srgbClr val="7F7F7F"/>
                </a:solidFill>
                <a:latin typeface="Calibri"/>
                <a:ea typeface="Calibri"/>
                <a:cs typeface="Calibri"/>
                <a:sym typeface="Calibri"/>
              </a:defRPr>
            </a:lvl8pPr>
            <a:lvl9pPr marL="0" lvl="8" indent="0" algn="r">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sp>
        <p:nvSpPr>
          <p:cNvPr id="300" name="Google Shape;300;p28"/>
          <p:cNvSpPr txBox="1">
            <a:spLocks noGrp="1"/>
          </p:cNvSpPr>
          <p:nvPr>
            <p:ph type="title"/>
          </p:nvPr>
        </p:nvSpPr>
        <p:spPr>
          <a:xfrm>
            <a:off x="482600" y="499818"/>
            <a:ext cx="9725867"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grpSp>
        <p:nvGrpSpPr>
          <p:cNvPr id="301" name="Google Shape;301;p28"/>
          <p:cNvGrpSpPr/>
          <p:nvPr/>
        </p:nvGrpSpPr>
        <p:grpSpPr>
          <a:xfrm>
            <a:off x="483085" y="6894071"/>
            <a:ext cx="9725385" cy="60847"/>
            <a:chOff x="550864" y="6156603"/>
            <a:chExt cx="11089971" cy="55199"/>
          </a:xfrm>
        </p:grpSpPr>
        <p:sp>
          <p:nvSpPr>
            <p:cNvPr id="302" name="Google Shape;302;p28"/>
            <p:cNvSpPr/>
            <p:nvPr/>
          </p:nvSpPr>
          <p:spPr>
            <a:xfrm>
              <a:off x="550864"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303" name="Google Shape;303;p28"/>
            <p:cNvSpPr/>
            <p:nvPr/>
          </p:nvSpPr>
          <p:spPr>
            <a:xfrm>
              <a:off x="5104050"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304" name="Google Shape;304;p28"/>
            <p:cNvSpPr/>
            <p:nvPr/>
          </p:nvSpPr>
          <p:spPr>
            <a:xfrm>
              <a:off x="7380643"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305" name="Google Shape;305;p28"/>
            <p:cNvSpPr/>
            <p:nvPr/>
          </p:nvSpPr>
          <p:spPr>
            <a:xfrm>
              <a:off x="9657235"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306" name="Google Shape;306;p28"/>
            <p:cNvSpPr/>
            <p:nvPr/>
          </p:nvSpPr>
          <p:spPr>
            <a:xfrm>
              <a:off x="2827457"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grpSp>
      <p:cxnSp>
        <p:nvCxnSpPr>
          <p:cNvPr id="307" name="Google Shape;307;p28"/>
          <p:cNvCxnSpPr/>
          <p:nvPr/>
        </p:nvCxnSpPr>
        <p:spPr>
          <a:xfrm>
            <a:off x="473028" y="416190"/>
            <a:ext cx="473555" cy="0"/>
          </a:xfrm>
          <a:prstGeom prst="straightConnector1">
            <a:avLst/>
          </a:prstGeom>
          <a:noFill/>
          <a:ln w="38100" cap="flat" cmpd="sng">
            <a:solidFill>
              <a:schemeClr val="dk2"/>
            </a:solidFill>
            <a:prstDash val="solid"/>
            <a:miter lim="800000"/>
            <a:headEnd type="none" w="sm" len="sm"/>
            <a:tailEnd type="none" w="sm" len="sm"/>
          </a:ln>
        </p:spPr>
      </p:cxnSp>
      <p:grpSp>
        <p:nvGrpSpPr>
          <p:cNvPr id="308" name="Google Shape;308;p28"/>
          <p:cNvGrpSpPr/>
          <p:nvPr/>
        </p:nvGrpSpPr>
        <p:grpSpPr>
          <a:xfrm>
            <a:off x="10518694" y="5524364"/>
            <a:ext cx="97271" cy="1816409"/>
            <a:chOff x="10518694" y="5463404"/>
            <a:chExt cx="97271" cy="1816408"/>
          </a:xfrm>
        </p:grpSpPr>
        <p:grpSp>
          <p:nvGrpSpPr>
            <p:cNvPr id="309" name="Google Shape;309;p28"/>
            <p:cNvGrpSpPr/>
            <p:nvPr/>
          </p:nvGrpSpPr>
          <p:grpSpPr>
            <a:xfrm>
              <a:off x="10530628" y="6878757"/>
              <a:ext cx="62166" cy="401056"/>
              <a:chOff x="10629461" y="6878757"/>
              <a:chExt cx="62166" cy="401056"/>
            </a:xfrm>
          </p:grpSpPr>
          <p:sp>
            <p:nvSpPr>
              <p:cNvPr id="310" name="Google Shape;310;p28"/>
              <p:cNvSpPr/>
              <p:nvPr/>
            </p:nvSpPr>
            <p:spPr>
              <a:xfrm rot="-5400000">
                <a:off x="10688095" y="7163862"/>
                <a:ext cx="15" cy="1558"/>
              </a:xfrm>
              <a:custGeom>
                <a:avLst/>
                <a:gdLst/>
                <a:ahLst/>
                <a:cxnLst/>
                <a:rect l="l" t="t" r="r" b="b"/>
                <a:pathLst>
                  <a:path w="15" h="1558" extrusionOk="0">
                    <a:moveTo>
                      <a:pt x="0" y="0"/>
                    </a:moveTo>
                    <a:lnTo>
                      <a:pt x="16" y="0"/>
                    </a:lnTo>
                    <a:lnTo>
                      <a:pt x="16" y="0"/>
                    </a:lnTo>
                    <a:lnTo>
                      <a:pt x="0" y="0"/>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1" name="Google Shape;311;p28"/>
              <p:cNvSpPr/>
              <p:nvPr/>
            </p:nvSpPr>
            <p:spPr>
              <a:xfrm rot="-5400000">
                <a:off x="10652401" y="7145302"/>
                <a:ext cx="411" cy="246"/>
              </a:xfrm>
              <a:custGeom>
                <a:avLst/>
                <a:gdLst/>
                <a:ahLst/>
                <a:cxnLst/>
                <a:rect l="l" t="t" r="r" b="b"/>
                <a:pathLst>
                  <a:path w="411" h="246" extrusionOk="0">
                    <a:moveTo>
                      <a:pt x="0" y="0"/>
                    </a:moveTo>
                    <a:cubicBezTo>
                      <a:pt x="234" y="156"/>
                      <a:pt x="452" y="312"/>
                      <a:pt x="405" y="218"/>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2" name="Google Shape;312;p28"/>
              <p:cNvSpPr/>
              <p:nvPr/>
            </p:nvSpPr>
            <p:spPr>
              <a:xfrm rot="-5400000">
                <a:off x="10652556" y="7165151"/>
                <a:ext cx="13" cy="69"/>
              </a:xfrm>
              <a:custGeom>
                <a:avLst/>
                <a:gdLst/>
                <a:ahLst/>
                <a:cxnLst/>
                <a:rect l="l" t="t" r="r" b="b"/>
                <a:pathLst>
                  <a:path w="13" h="69" extrusionOk="0">
                    <a:moveTo>
                      <a:pt x="14" y="35"/>
                    </a:moveTo>
                    <a:cubicBezTo>
                      <a:pt x="14" y="35"/>
                      <a:pt x="14" y="-43"/>
                      <a:pt x="14" y="35"/>
                    </a:cubicBezTo>
                    <a:cubicBezTo>
                      <a:pt x="14" y="113"/>
                      <a:pt x="-17" y="35"/>
                      <a:pt x="14" y="35"/>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3" name="Google Shape;313;p28"/>
              <p:cNvSpPr/>
              <p:nvPr/>
            </p:nvSpPr>
            <p:spPr>
              <a:xfrm rot="-5400000">
                <a:off x="10650495" y="7161416"/>
                <a:ext cx="237" cy="93"/>
              </a:xfrm>
              <a:custGeom>
                <a:avLst/>
                <a:gdLst/>
                <a:ahLst/>
                <a:cxnLst/>
                <a:rect l="l" t="t" r="r" b="b"/>
                <a:pathLst>
                  <a:path w="237" h="93" extrusionOk="0">
                    <a:moveTo>
                      <a:pt x="238" y="0"/>
                    </a:moveTo>
                    <a:lnTo>
                      <a:pt x="50" y="94"/>
                    </a:lnTo>
                    <a:cubicBezTo>
                      <a:pt x="160" y="94"/>
                      <a:pt x="-105" y="94"/>
                      <a:pt x="50" y="9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4" name="Google Shape;314;p28"/>
              <p:cNvSpPr/>
              <p:nvPr/>
            </p:nvSpPr>
            <p:spPr>
              <a:xfrm rot="-5400000">
                <a:off x="10645049" y="7132879"/>
                <a:ext cx="46577" cy="46577"/>
              </a:xfrm>
              <a:custGeom>
                <a:avLst/>
                <a:gdLst/>
                <a:ahLst/>
                <a:cxnLst/>
                <a:rect l="l" t="t" r="r" b="b"/>
                <a:pathLst>
                  <a:path w="46577" h="46577" extrusionOk="0">
                    <a:moveTo>
                      <a:pt x="23289" y="0"/>
                    </a:moveTo>
                    <a:cubicBezTo>
                      <a:pt x="10427" y="0"/>
                      <a:pt x="0" y="10427"/>
                      <a:pt x="0" y="23289"/>
                    </a:cubicBezTo>
                    <a:cubicBezTo>
                      <a:pt x="0" y="36151"/>
                      <a:pt x="10427" y="46578"/>
                      <a:pt x="23289" y="46578"/>
                    </a:cubicBezTo>
                    <a:cubicBezTo>
                      <a:pt x="36151" y="46578"/>
                      <a:pt x="46577" y="36151"/>
                      <a:pt x="46577" y="23289"/>
                    </a:cubicBezTo>
                    <a:cubicBezTo>
                      <a:pt x="46577" y="23273"/>
                      <a:pt x="46577" y="23258"/>
                      <a:pt x="46577" y="23242"/>
                    </a:cubicBezTo>
                    <a:cubicBezTo>
                      <a:pt x="46569" y="10397"/>
                      <a:pt x="36149" y="-9"/>
                      <a:pt x="23304" y="0"/>
                    </a:cubicBezTo>
                    <a:cubicBezTo>
                      <a:pt x="23299" y="0"/>
                      <a:pt x="23294" y="0"/>
                      <a:pt x="23289" y="0"/>
                    </a:cubicBezTo>
                    <a:close/>
                    <a:moveTo>
                      <a:pt x="24473" y="14201"/>
                    </a:moveTo>
                    <a:cubicBezTo>
                      <a:pt x="24380" y="14201"/>
                      <a:pt x="24473" y="14326"/>
                      <a:pt x="24473" y="14372"/>
                    </a:cubicBezTo>
                    <a:cubicBezTo>
                      <a:pt x="24407" y="14358"/>
                      <a:pt x="24337" y="14358"/>
                      <a:pt x="24271" y="14372"/>
                    </a:cubicBezTo>
                    <a:cubicBezTo>
                      <a:pt x="24411" y="14372"/>
                      <a:pt x="24629" y="14559"/>
                      <a:pt x="24442" y="14669"/>
                    </a:cubicBezTo>
                    <a:cubicBezTo>
                      <a:pt x="24255" y="14778"/>
                      <a:pt x="24520" y="14669"/>
                      <a:pt x="24536" y="14669"/>
                    </a:cubicBezTo>
                    <a:cubicBezTo>
                      <a:pt x="24660" y="14388"/>
                      <a:pt x="25034" y="14778"/>
                      <a:pt x="24769" y="14965"/>
                    </a:cubicBezTo>
                    <a:lnTo>
                      <a:pt x="24769" y="14965"/>
                    </a:lnTo>
                    <a:cubicBezTo>
                      <a:pt x="24769" y="14965"/>
                      <a:pt x="24769" y="14965"/>
                      <a:pt x="24769" y="14965"/>
                    </a:cubicBezTo>
                    <a:lnTo>
                      <a:pt x="24769" y="14965"/>
                    </a:lnTo>
                    <a:cubicBezTo>
                      <a:pt x="24769" y="14965"/>
                      <a:pt x="24676" y="14965"/>
                      <a:pt x="24645" y="14965"/>
                    </a:cubicBezTo>
                    <a:cubicBezTo>
                      <a:pt x="24614" y="14965"/>
                      <a:pt x="24645" y="14965"/>
                      <a:pt x="24645" y="15058"/>
                    </a:cubicBezTo>
                    <a:cubicBezTo>
                      <a:pt x="24645" y="15152"/>
                      <a:pt x="24754" y="15058"/>
                      <a:pt x="24645" y="15058"/>
                    </a:cubicBezTo>
                    <a:cubicBezTo>
                      <a:pt x="24536" y="15058"/>
                      <a:pt x="24769" y="15058"/>
                      <a:pt x="24847" y="15058"/>
                    </a:cubicBezTo>
                    <a:cubicBezTo>
                      <a:pt x="24925" y="15058"/>
                      <a:pt x="24754" y="15167"/>
                      <a:pt x="24754" y="15245"/>
                    </a:cubicBezTo>
                    <a:cubicBezTo>
                      <a:pt x="24754" y="15323"/>
                      <a:pt x="24317" y="15370"/>
                      <a:pt x="24271" y="15245"/>
                    </a:cubicBezTo>
                    <a:cubicBezTo>
                      <a:pt x="24224" y="15121"/>
                      <a:pt x="23865" y="15245"/>
                      <a:pt x="23663" y="15339"/>
                    </a:cubicBezTo>
                    <a:cubicBezTo>
                      <a:pt x="23460" y="15432"/>
                      <a:pt x="23663" y="15542"/>
                      <a:pt x="23476" y="15417"/>
                    </a:cubicBezTo>
                    <a:cubicBezTo>
                      <a:pt x="23289" y="15292"/>
                      <a:pt x="23242" y="15417"/>
                      <a:pt x="23195" y="15557"/>
                    </a:cubicBezTo>
                    <a:cubicBezTo>
                      <a:pt x="23148" y="15697"/>
                      <a:pt x="23195" y="15557"/>
                      <a:pt x="23055" y="15557"/>
                    </a:cubicBezTo>
                    <a:cubicBezTo>
                      <a:pt x="23189" y="15454"/>
                      <a:pt x="23315" y="15339"/>
                      <a:pt x="23429" y="15214"/>
                    </a:cubicBezTo>
                    <a:cubicBezTo>
                      <a:pt x="23429" y="15058"/>
                      <a:pt x="23647" y="15214"/>
                      <a:pt x="23772" y="15214"/>
                    </a:cubicBezTo>
                    <a:cubicBezTo>
                      <a:pt x="23897" y="15214"/>
                      <a:pt x="23865" y="15074"/>
                      <a:pt x="23912" y="15012"/>
                    </a:cubicBezTo>
                    <a:cubicBezTo>
                      <a:pt x="23959" y="14949"/>
                      <a:pt x="23678" y="15214"/>
                      <a:pt x="23600" y="15089"/>
                    </a:cubicBezTo>
                    <a:cubicBezTo>
                      <a:pt x="23522" y="14965"/>
                      <a:pt x="23367" y="15089"/>
                      <a:pt x="23507" y="15089"/>
                    </a:cubicBezTo>
                    <a:cubicBezTo>
                      <a:pt x="23647" y="15089"/>
                      <a:pt x="23382" y="15089"/>
                      <a:pt x="23289" y="15089"/>
                    </a:cubicBezTo>
                    <a:lnTo>
                      <a:pt x="23289" y="15089"/>
                    </a:lnTo>
                    <a:cubicBezTo>
                      <a:pt x="23289" y="15089"/>
                      <a:pt x="23289" y="15089"/>
                      <a:pt x="23289" y="15089"/>
                    </a:cubicBezTo>
                    <a:cubicBezTo>
                      <a:pt x="23522" y="15012"/>
                      <a:pt x="23632" y="14949"/>
                      <a:pt x="23600" y="14715"/>
                    </a:cubicBezTo>
                    <a:lnTo>
                      <a:pt x="23444" y="14715"/>
                    </a:lnTo>
                    <a:cubicBezTo>
                      <a:pt x="23554" y="14606"/>
                      <a:pt x="23709" y="14466"/>
                      <a:pt x="23865" y="14575"/>
                    </a:cubicBezTo>
                    <a:cubicBezTo>
                      <a:pt x="23741" y="14419"/>
                      <a:pt x="23865" y="14575"/>
                      <a:pt x="23865" y="14575"/>
                    </a:cubicBezTo>
                    <a:cubicBezTo>
                      <a:pt x="23865" y="14575"/>
                      <a:pt x="23772" y="14372"/>
                      <a:pt x="23865" y="14326"/>
                    </a:cubicBezTo>
                    <a:cubicBezTo>
                      <a:pt x="23959" y="14279"/>
                      <a:pt x="23865" y="14201"/>
                      <a:pt x="23772" y="14326"/>
                    </a:cubicBezTo>
                    <a:lnTo>
                      <a:pt x="23772" y="14326"/>
                    </a:lnTo>
                    <a:cubicBezTo>
                      <a:pt x="23647" y="14326"/>
                      <a:pt x="23772" y="14045"/>
                      <a:pt x="23772" y="14061"/>
                    </a:cubicBezTo>
                    <a:cubicBezTo>
                      <a:pt x="23616" y="14061"/>
                      <a:pt x="23585" y="14170"/>
                      <a:pt x="23444" y="14061"/>
                    </a:cubicBezTo>
                    <a:cubicBezTo>
                      <a:pt x="23304" y="13952"/>
                      <a:pt x="23444" y="14061"/>
                      <a:pt x="23444" y="14154"/>
                    </a:cubicBezTo>
                    <a:cubicBezTo>
                      <a:pt x="23444" y="14248"/>
                      <a:pt x="23289" y="14029"/>
                      <a:pt x="23335" y="14154"/>
                    </a:cubicBezTo>
                    <a:cubicBezTo>
                      <a:pt x="23382" y="14279"/>
                      <a:pt x="23335" y="14061"/>
                      <a:pt x="23335" y="14029"/>
                    </a:cubicBezTo>
                    <a:lnTo>
                      <a:pt x="23335" y="14029"/>
                    </a:lnTo>
                    <a:cubicBezTo>
                      <a:pt x="23335" y="14029"/>
                      <a:pt x="23335" y="13874"/>
                      <a:pt x="23429" y="13827"/>
                    </a:cubicBezTo>
                    <a:cubicBezTo>
                      <a:pt x="23522" y="13780"/>
                      <a:pt x="23335" y="13640"/>
                      <a:pt x="23429" y="13671"/>
                    </a:cubicBezTo>
                    <a:cubicBezTo>
                      <a:pt x="23522" y="13702"/>
                      <a:pt x="23429" y="13671"/>
                      <a:pt x="23429" y="13577"/>
                    </a:cubicBezTo>
                    <a:cubicBezTo>
                      <a:pt x="23429" y="13484"/>
                      <a:pt x="23429" y="13655"/>
                      <a:pt x="23429" y="13687"/>
                    </a:cubicBezTo>
                    <a:lnTo>
                      <a:pt x="23429" y="13687"/>
                    </a:lnTo>
                    <a:cubicBezTo>
                      <a:pt x="23429" y="13687"/>
                      <a:pt x="23429" y="13687"/>
                      <a:pt x="23429" y="13687"/>
                    </a:cubicBezTo>
                    <a:cubicBezTo>
                      <a:pt x="23429" y="13687"/>
                      <a:pt x="23429" y="13687"/>
                      <a:pt x="23429" y="13687"/>
                    </a:cubicBezTo>
                    <a:cubicBezTo>
                      <a:pt x="23425" y="13770"/>
                      <a:pt x="23425" y="13853"/>
                      <a:pt x="23429" y="13936"/>
                    </a:cubicBezTo>
                    <a:cubicBezTo>
                      <a:pt x="23335" y="13936"/>
                      <a:pt x="23429" y="13811"/>
                      <a:pt x="23429" y="13764"/>
                    </a:cubicBezTo>
                    <a:cubicBezTo>
                      <a:pt x="23429" y="13718"/>
                      <a:pt x="23429" y="13484"/>
                      <a:pt x="23522" y="13453"/>
                    </a:cubicBezTo>
                    <a:cubicBezTo>
                      <a:pt x="23616" y="13422"/>
                      <a:pt x="23522" y="13453"/>
                      <a:pt x="23522" y="13453"/>
                    </a:cubicBezTo>
                    <a:cubicBezTo>
                      <a:pt x="23522" y="13453"/>
                      <a:pt x="23413" y="13593"/>
                      <a:pt x="23351" y="13453"/>
                    </a:cubicBezTo>
                    <a:cubicBezTo>
                      <a:pt x="23289" y="13312"/>
                      <a:pt x="23351" y="13453"/>
                      <a:pt x="23351" y="13453"/>
                    </a:cubicBezTo>
                    <a:cubicBezTo>
                      <a:pt x="23351" y="13453"/>
                      <a:pt x="23351" y="13328"/>
                      <a:pt x="23476" y="13375"/>
                    </a:cubicBezTo>
                    <a:cubicBezTo>
                      <a:pt x="23600" y="13422"/>
                      <a:pt x="23476" y="13375"/>
                      <a:pt x="23476" y="13375"/>
                    </a:cubicBezTo>
                    <a:cubicBezTo>
                      <a:pt x="23476" y="13375"/>
                      <a:pt x="23476" y="13375"/>
                      <a:pt x="23476" y="13375"/>
                    </a:cubicBezTo>
                    <a:cubicBezTo>
                      <a:pt x="23476" y="13375"/>
                      <a:pt x="23476" y="13375"/>
                      <a:pt x="23476" y="13375"/>
                    </a:cubicBezTo>
                    <a:cubicBezTo>
                      <a:pt x="23476" y="13375"/>
                      <a:pt x="23476" y="13375"/>
                      <a:pt x="23476" y="13375"/>
                    </a:cubicBezTo>
                    <a:lnTo>
                      <a:pt x="23476" y="13375"/>
                    </a:lnTo>
                    <a:lnTo>
                      <a:pt x="23476" y="13297"/>
                    </a:lnTo>
                    <a:cubicBezTo>
                      <a:pt x="23476" y="13297"/>
                      <a:pt x="23476" y="13297"/>
                      <a:pt x="23476" y="13297"/>
                    </a:cubicBezTo>
                    <a:cubicBezTo>
                      <a:pt x="23476" y="13297"/>
                      <a:pt x="23476" y="13219"/>
                      <a:pt x="23476" y="13172"/>
                    </a:cubicBezTo>
                    <a:lnTo>
                      <a:pt x="23476" y="13172"/>
                    </a:lnTo>
                    <a:cubicBezTo>
                      <a:pt x="23476" y="13172"/>
                      <a:pt x="23476" y="13172"/>
                      <a:pt x="23476" y="13172"/>
                    </a:cubicBezTo>
                    <a:cubicBezTo>
                      <a:pt x="23476" y="13172"/>
                      <a:pt x="23476" y="13172"/>
                      <a:pt x="23569" y="13172"/>
                    </a:cubicBezTo>
                    <a:cubicBezTo>
                      <a:pt x="23574" y="13146"/>
                      <a:pt x="23574" y="13120"/>
                      <a:pt x="23569" y="13094"/>
                    </a:cubicBezTo>
                    <a:cubicBezTo>
                      <a:pt x="23569" y="13094"/>
                      <a:pt x="23678" y="12782"/>
                      <a:pt x="23709" y="12969"/>
                    </a:cubicBezTo>
                    <a:cubicBezTo>
                      <a:pt x="23741" y="13157"/>
                      <a:pt x="23709" y="12969"/>
                      <a:pt x="23709" y="12969"/>
                    </a:cubicBezTo>
                    <a:cubicBezTo>
                      <a:pt x="24084" y="12829"/>
                      <a:pt x="23990" y="12969"/>
                      <a:pt x="23709" y="13188"/>
                    </a:cubicBezTo>
                    <a:lnTo>
                      <a:pt x="23709" y="13188"/>
                    </a:lnTo>
                    <a:cubicBezTo>
                      <a:pt x="23507" y="13375"/>
                      <a:pt x="23928" y="13188"/>
                      <a:pt x="24037" y="13188"/>
                    </a:cubicBezTo>
                    <a:cubicBezTo>
                      <a:pt x="24146" y="13188"/>
                      <a:pt x="24037" y="13640"/>
                      <a:pt x="23834" y="13609"/>
                    </a:cubicBezTo>
                    <a:cubicBezTo>
                      <a:pt x="23632" y="13577"/>
                      <a:pt x="23834" y="13609"/>
                      <a:pt x="23834" y="13609"/>
                    </a:cubicBezTo>
                    <a:cubicBezTo>
                      <a:pt x="23834" y="13609"/>
                      <a:pt x="23694" y="13733"/>
                      <a:pt x="23600" y="13609"/>
                    </a:cubicBezTo>
                    <a:cubicBezTo>
                      <a:pt x="23654" y="13665"/>
                      <a:pt x="23743" y="13666"/>
                      <a:pt x="23799" y="13613"/>
                    </a:cubicBezTo>
                    <a:cubicBezTo>
                      <a:pt x="23800" y="13612"/>
                      <a:pt x="23802" y="13610"/>
                      <a:pt x="23803" y="13609"/>
                    </a:cubicBezTo>
                    <a:cubicBezTo>
                      <a:pt x="24037" y="13702"/>
                      <a:pt x="24052" y="13952"/>
                      <a:pt x="24130" y="14139"/>
                    </a:cubicBezTo>
                    <a:cubicBezTo>
                      <a:pt x="24208" y="14326"/>
                      <a:pt x="24349" y="14107"/>
                      <a:pt x="24473" y="14170"/>
                    </a:cubicBezTo>
                    <a:close/>
                    <a:moveTo>
                      <a:pt x="16461" y="43086"/>
                    </a:moveTo>
                    <a:lnTo>
                      <a:pt x="16461" y="43086"/>
                    </a:lnTo>
                    <a:lnTo>
                      <a:pt x="16461" y="43086"/>
                    </a:lnTo>
                    <a:lnTo>
                      <a:pt x="16461" y="43086"/>
                    </a:lnTo>
                    <a:lnTo>
                      <a:pt x="16539" y="43086"/>
                    </a:lnTo>
                    <a:lnTo>
                      <a:pt x="16539" y="43086"/>
                    </a:lnTo>
                    <a:lnTo>
                      <a:pt x="16321" y="42961"/>
                    </a:lnTo>
                    <a:lnTo>
                      <a:pt x="16321" y="42961"/>
                    </a:lnTo>
                    <a:lnTo>
                      <a:pt x="16321" y="42961"/>
                    </a:lnTo>
                    <a:lnTo>
                      <a:pt x="16399" y="42961"/>
                    </a:lnTo>
                    <a:lnTo>
                      <a:pt x="16399" y="42961"/>
                    </a:lnTo>
                    <a:lnTo>
                      <a:pt x="16399" y="42961"/>
                    </a:lnTo>
                    <a:lnTo>
                      <a:pt x="16149" y="42852"/>
                    </a:lnTo>
                    <a:lnTo>
                      <a:pt x="16149" y="42852"/>
                    </a:lnTo>
                    <a:cubicBezTo>
                      <a:pt x="16149" y="42852"/>
                      <a:pt x="16149" y="42852"/>
                      <a:pt x="16149" y="42852"/>
                    </a:cubicBezTo>
                    <a:cubicBezTo>
                      <a:pt x="16120" y="42838"/>
                      <a:pt x="16085" y="42838"/>
                      <a:pt x="16056" y="42852"/>
                    </a:cubicBezTo>
                    <a:lnTo>
                      <a:pt x="16056" y="42852"/>
                    </a:lnTo>
                    <a:lnTo>
                      <a:pt x="16056" y="42852"/>
                    </a:lnTo>
                    <a:lnTo>
                      <a:pt x="16056" y="42852"/>
                    </a:lnTo>
                    <a:lnTo>
                      <a:pt x="16212" y="42852"/>
                    </a:lnTo>
                    <a:lnTo>
                      <a:pt x="16025" y="42852"/>
                    </a:lnTo>
                    <a:lnTo>
                      <a:pt x="16025" y="42852"/>
                    </a:lnTo>
                    <a:lnTo>
                      <a:pt x="15806" y="42759"/>
                    </a:lnTo>
                    <a:lnTo>
                      <a:pt x="15806" y="42759"/>
                    </a:lnTo>
                    <a:lnTo>
                      <a:pt x="15806" y="42759"/>
                    </a:lnTo>
                    <a:lnTo>
                      <a:pt x="15682" y="42759"/>
                    </a:lnTo>
                    <a:lnTo>
                      <a:pt x="15853" y="42852"/>
                    </a:lnTo>
                    <a:lnTo>
                      <a:pt x="15604" y="42727"/>
                    </a:lnTo>
                    <a:lnTo>
                      <a:pt x="15604" y="42727"/>
                    </a:lnTo>
                    <a:lnTo>
                      <a:pt x="15760" y="42727"/>
                    </a:lnTo>
                    <a:lnTo>
                      <a:pt x="15635" y="42727"/>
                    </a:lnTo>
                    <a:lnTo>
                      <a:pt x="15760" y="42727"/>
                    </a:lnTo>
                    <a:lnTo>
                      <a:pt x="15526" y="42618"/>
                    </a:lnTo>
                    <a:lnTo>
                      <a:pt x="15526" y="42618"/>
                    </a:lnTo>
                    <a:lnTo>
                      <a:pt x="15432" y="42618"/>
                    </a:lnTo>
                    <a:lnTo>
                      <a:pt x="15432" y="42618"/>
                    </a:lnTo>
                    <a:lnTo>
                      <a:pt x="15230" y="42525"/>
                    </a:lnTo>
                    <a:lnTo>
                      <a:pt x="15230" y="42525"/>
                    </a:lnTo>
                    <a:lnTo>
                      <a:pt x="15152" y="42525"/>
                    </a:lnTo>
                    <a:lnTo>
                      <a:pt x="15152" y="42525"/>
                    </a:lnTo>
                    <a:cubicBezTo>
                      <a:pt x="15026" y="42475"/>
                      <a:pt x="14906" y="42412"/>
                      <a:pt x="14793" y="42338"/>
                    </a:cubicBezTo>
                    <a:lnTo>
                      <a:pt x="14793" y="42338"/>
                    </a:lnTo>
                    <a:lnTo>
                      <a:pt x="14637" y="42244"/>
                    </a:lnTo>
                    <a:lnTo>
                      <a:pt x="14778" y="42338"/>
                    </a:lnTo>
                    <a:lnTo>
                      <a:pt x="14466" y="42166"/>
                    </a:lnTo>
                    <a:lnTo>
                      <a:pt x="14466" y="42166"/>
                    </a:lnTo>
                    <a:lnTo>
                      <a:pt x="14372" y="42166"/>
                    </a:lnTo>
                    <a:lnTo>
                      <a:pt x="14372" y="42166"/>
                    </a:lnTo>
                    <a:lnTo>
                      <a:pt x="14216" y="42073"/>
                    </a:lnTo>
                    <a:lnTo>
                      <a:pt x="14216" y="42073"/>
                    </a:lnTo>
                    <a:lnTo>
                      <a:pt x="14216" y="42073"/>
                    </a:lnTo>
                    <a:lnTo>
                      <a:pt x="14216" y="42073"/>
                    </a:lnTo>
                    <a:lnTo>
                      <a:pt x="14076" y="41995"/>
                    </a:lnTo>
                    <a:lnTo>
                      <a:pt x="14076" y="41995"/>
                    </a:lnTo>
                    <a:lnTo>
                      <a:pt x="13920" y="41886"/>
                    </a:lnTo>
                    <a:lnTo>
                      <a:pt x="13920" y="41886"/>
                    </a:lnTo>
                    <a:lnTo>
                      <a:pt x="13795" y="41886"/>
                    </a:lnTo>
                    <a:lnTo>
                      <a:pt x="13795" y="41886"/>
                    </a:lnTo>
                    <a:cubicBezTo>
                      <a:pt x="13760" y="41896"/>
                      <a:pt x="13722" y="41896"/>
                      <a:pt x="13686" y="41886"/>
                    </a:cubicBezTo>
                    <a:lnTo>
                      <a:pt x="13686" y="41886"/>
                    </a:lnTo>
                    <a:lnTo>
                      <a:pt x="13811" y="41964"/>
                    </a:lnTo>
                    <a:lnTo>
                      <a:pt x="13686" y="41886"/>
                    </a:lnTo>
                    <a:lnTo>
                      <a:pt x="13686" y="41886"/>
                    </a:lnTo>
                    <a:lnTo>
                      <a:pt x="13577" y="41886"/>
                    </a:lnTo>
                    <a:lnTo>
                      <a:pt x="13577" y="41886"/>
                    </a:lnTo>
                    <a:lnTo>
                      <a:pt x="13453" y="41808"/>
                    </a:lnTo>
                    <a:cubicBezTo>
                      <a:pt x="13513" y="41833"/>
                      <a:pt x="13570" y="41864"/>
                      <a:pt x="13624" y="41901"/>
                    </a:cubicBezTo>
                    <a:cubicBezTo>
                      <a:pt x="13624" y="41901"/>
                      <a:pt x="13749" y="41995"/>
                      <a:pt x="13780" y="41995"/>
                    </a:cubicBezTo>
                    <a:lnTo>
                      <a:pt x="13359" y="41699"/>
                    </a:lnTo>
                    <a:lnTo>
                      <a:pt x="13359" y="41699"/>
                    </a:lnTo>
                    <a:cubicBezTo>
                      <a:pt x="13110" y="41496"/>
                      <a:pt x="12829" y="41324"/>
                      <a:pt x="12595" y="41122"/>
                    </a:cubicBezTo>
                    <a:lnTo>
                      <a:pt x="12689" y="41122"/>
                    </a:lnTo>
                    <a:lnTo>
                      <a:pt x="12548" y="41013"/>
                    </a:lnTo>
                    <a:lnTo>
                      <a:pt x="12548" y="41013"/>
                    </a:lnTo>
                    <a:cubicBezTo>
                      <a:pt x="12548" y="41013"/>
                      <a:pt x="12548" y="41013"/>
                      <a:pt x="12455" y="41013"/>
                    </a:cubicBezTo>
                    <a:lnTo>
                      <a:pt x="12455" y="41013"/>
                    </a:lnTo>
                    <a:lnTo>
                      <a:pt x="12455" y="41013"/>
                    </a:lnTo>
                    <a:lnTo>
                      <a:pt x="12455" y="41013"/>
                    </a:lnTo>
                    <a:cubicBezTo>
                      <a:pt x="12251" y="40890"/>
                      <a:pt x="12063" y="40743"/>
                      <a:pt x="11894" y="40576"/>
                    </a:cubicBezTo>
                    <a:lnTo>
                      <a:pt x="11894" y="40576"/>
                    </a:lnTo>
                    <a:cubicBezTo>
                      <a:pt x="11675" y="40342"/>
                      <a:pt x="11410" y="40171"/>
                      <a:pt x="11177" y="39953"/>
                    </a:cubicBezTo>
                    <a:cubicBezTo>
                      <a:pt x="11177" y="39953"/>
                      <a:pt x="11177" y="39953"/>
                      <a:pt x="11177" y="39953"/>
                    </a:cubicBezTo>
                    <a:cubicBezTo>
                      <a:pt x="10229" y="38961"/>
                      <a:pt x="9393" y="37869"/>
                      <a:pt x="8683" y="36695"/>
                    </a:cubicBezTo>
                    <a:lnTo>
                      <a:pt x="8683" y="36695"/>
                    </a:lnTo>
                    <a:cubicBezTo>
                      <a:pt x="8363" y="35817"/>
                      <a:pt x="7887" y="35004"/>
                      <a:pt x="7280" y="34294"/>
                    </a:cubicBezTo>
                    <a:lnTo>
                      <a:pt x="7280" y="34294"/>
                    </a:lnTo>
                    <a:cubicBezTo>
                      <a:pt x="6307" y="33179"/>
                      <a:pt x="5626" y="31840"/>
                      <a:pt x="5300" y="30397"/>
                    </a:cubicBezTo>
                    <a:cubicBezTo>
                      <a:pt x="5300" y="30397"/>
                      <a:pt x="5300" y="30397"/>
                      <a:pt x="5300" y="30475"/>
                    </a:cubicBezTo>
                    <a:cubicBezTo>
                      <a:pt x="5309" y="30444"/>
                      <a:pt x="5309" y="30412"/>
                      <a:pt x="5300" y="30382"/>
                    </a:cubicBezTo>
                    <a:cubicBezTo>
                      <a:pt x="5300" y="30382"/>
                      <a:pt x="5300" y="30475"/>
                      <a:pt x="5300" y="30506"/>
                    </a:cubicBezTo>
                    <a:cubicBezTo>
                      <a:pt x="5082" y="30132"/>
                      <a:pt x="5160" y="25830"/>
                      <a:pt x="4739" y="27498"/>
                    </a:cubicBezTo>
                    <a:cubicBezTo>
                      <a:pt x="4739" y="27498"/>
                      <a:pt x="4739" y="27311"/>
                      <a:pt x="4739" y="27264"/>
                    </a:cubicBezTo>
                    <a:cubicBezTo>
                      <a:pt x="4739" y="27217"/>
                      <a:pt x="4739" y="27264"/>
                      <a:pt x="4739" y="27342"/>
                    </a:cubicBezTo>
                    <a:cubicBezTo>
                      <a:pt x="4739" y="27420"/>
                      <a:pt x="4739" y="27124"/>
                      <a:pt x="4598" y="27030"/>
                    </a:cubicBezTo>
                    <a:cubicBezTo>
                      <a:pt x="4458" y="26937"/>
                      <a:pt x="4598" y="27030"/>
                      <a:pt x="4598" y="27030"/>
                    </a:cubicBezTo>
                    <a:lnTo>
                      <a:pt x="4598" y="27030"/>
                    </a:lnTo>
                    <a:cubicBezTo>
                      <a:pt x="4598" y="27030"/>
                      <a:pt x="4598" y="26874"/>
                      <a:pt x="4598" y="26812"/>
                    </a:cubicBezTo>
                    <a:cubicBezTo>
                      <a:pt x="4598" y="26749"/>
                      <a:pt x="4598" y="26921"/>
                      <a:pt x="4598" y="26968"/>
                    </a:cubicBezTo>
                    <a:cubicBezTo>
                      <a:pt x="4598" y="26734"/>
                      <a:pt x="4489" y="26469"/>
                      <a:pt x="4396" y="26235"/>
                    </a:cubicBezTo>
                    <a:cubicBezTo>
                      <a:pt x="4396" y="26313"/>
                      <a:pt x="4396" y="26391"/>
                      <a:pt x="4396" y="26484"/>
                    </a:cubicBezTo>
                    <a:cubicBezTo>
                      <a:pt x="4256" y="26095"/>
                      <a:pt x="4240" y="25674"/>
                      <a:pt x="4131" y="25269"/>
                    </a:cubicBezTo>
                    <a:cubicBezTo>
                      <a:pt x="4131" y="25347"/>
                      <a:pt x="4131" y="25269"/>
                      <a:pt x="4131" y="25175"/>
                    </a:cubicBezTo>
                    <a:cubicBezTo>
                      <a:pt x="4131" y="25082"/>
                      <a:pt x="4131" y="25175"/>
                      <a:pt x="4131" y="25175"/>
                    </a:cubicBezTo>
                    <a:cubicBezTo>
                      <a:pt x="4131" y="25175"/>
                      <a:pt x="4131" y="25175"/>
                      <a:pt x="4131" y="25175"/>
                    </a:cubicBezTo>
                    <a:cubicBezTo>
                      <a:pt x="4131" y="25175"/>
                      <a:pt x="4131" y="25175"/>
                      <a:pt x="4131" y="25175"/>
                    </a:cubicBezTo>
                    <a:cubicBezTo>
                      <a:pt x="3941" y="24764"/>
                      <a:pt x="3835" y="24318"/>
                      <a:pt x="3819" y="23866"/>
                    </a:cubicBezTo>
                    <a:cubicBezTo>
                      <a:pt x="3828" y="23928"/>
                      <a:pt x="3828" y="23991"/>
                      <a:pt x="3819" y="24053"/>
                    </a:cubicBezTo>
                    <a:cubicBezTo>
                      <a:pt x="3828" y="23991"/>
                      <a:pt x="3828" y="23928"/>
                      <a:pt x="3819" y="23866"/>
                    </a:cubicBezTo>
                    <a:lnTo>
                      <a:pt x="3819" y="23866"/>
                    </a:lnTo>
                    <a:cubicBezTo>
                      <a:pt x="3819" y="23866"/>
                      <a:pt x="3819" y="23866"/>
                      <a:pt x="3819" y="23866"/>
                    </a:cubicBezTo>
                    <a:lnTo>
                      <a:pt x="3819" y="23866"/>
                    </a:lnTo>
                    <a:lnTo>
                      <a:pt x="3819" y="23866"/>
                    </a:lnTo>
                    <a:cubicBezTo>
                      <a:pt x="3819" y="23866"/>
                      <a:pt x="3819" y="23866"/>
                      <a:pt x="3819" y="23959"/>
                    </a:cubicBezTo>
                    <a:cubicBezTo>
                      <a:pt x="3819" y="24053"/>
                      <a:pt x="3819" y="23959"/>
                      <a:pt x="3819" y="23959"/>
                    </a:cubicBezTo>
                    <a:lnTo>
                      <a:pt x="3819" y="23959"/>
                    </a:lnTo>
                    <a:lnTo>
                      <a:pt x="3819" y="23959"/>
                    </a:lnTo>
                    <a:cubicBezTo>
                      <a:pt x="3819" y="23881"/>
                      <a:pt x="3819" y="23772"/>
                      <a:pt x="3819" y="23679"/>
                    </a:cubicBezTo>
                    <a:lnTo>
                      <a:pt x="3819" y="23679"/>
                    </a:lnTo>
                    <a:cubicBezTo>
                      <a:pt x="3811" y="23627"/>
                      <a:pt x="3811" y="23574"/>
                      <a:pt x="3819" y="23523"/>
                    </a:cubicBezTo>
                    <a:lnTo>
                      <a:pt x="3819" y="23523"/>
                    </a:lnTo>
                    <a:cubicBezTo>
                      <a:pt x="3803" y="23305"/>
                      <a:pt x="3803" y="23086"/>
                      <a:pt x="3819" y="22868"/>
                    </a:cubicBezTo>
                    <a:lnTo>
                      <a:pt x="3819" y="22868"/>
                    </a:lnTo>
                    <a:cubicBezTo>
                      <a:pt x="3819" y="22868"/>
                      <a:pt x="3819" y="22790"/>
                      <a:pt x="3819" y="22759"/>
                    </a:cubicBezTo>
                    <a:lnTo>
                      <a:pt x="3819" y="22759"/>
                    </a:lnTo>
                    <a:cubicBezTo>
                      <a:pt x="4323" y="14291"/>
                      <a:pt x="9917" y="6976"/>
                      <a:pt x="17957" y="4271"/>
                    </a:cubicBezTo>
                    <a:lnTo>
                      <a:pt x="17957" y="4271"/>
                    </a:lnTo>
                    <a:lnTo>
                      <a:pt x="18145" y="4271"/>
                    </a:lnTo>
                    <a:lnTo>
                      <a:pt x="18145" y="4271"/>
                    </a:lnTo>
                    <a:lnTo>
                      <a:pt x="18347" y="4271"/>
                    </a:lnTo>
                    <a:lnTo>
                      <a:pt x="18207" y="4271"/>
                    </a:lnTo>
                    <a:lnTo>
                      <a:pt x="18456" y="4271"/>
                    </a:lnTo>
                    <a:lnTo>
                      <a:pt x="18363" y="4271"/>
                    </a:lnTo>
                    <a:lnTo>
                      <a:pt x="18363" y="4271"/>
                    </a:lnTo>
                    <a:lnTo>
                      <a:pt x="18534" y="4271"/>
                    </a:lnTo>
                    <a:lnTo>
                      <a:pt x="18534" y="4271"/>
                    </a:lnTo>
                    <a:lnTo>
                      <a:pt x="19703" y="4006"/>
                    </a:lnTo>
                    <a:lnTo>
                      <a:pt x="19703" y="4006"/>
                    </a:lnTo>
                    <a:lnTo>
                      <a:pt x="20000" y="4006"/>
                    </a:lnTo>
                    <a:lnTo>
                      <a:pt x="19797" y="4006"/>
                    </a:lnTo>
                    <a:lnTo>
                      <a:pt x="19797" y="4006"/>
                    </a:lnTo>
                    <a:lnTo>
                      <a:pt x="20342" y="4006"/>
                    </a:lnTo>
                    <a:lnTo>
                      <a:pt x="20342" y="4006"/>
                    </a:lnTo>
                    <a:lnTo>
                      <a:pt x="20062" y="4006"/>
                    </a:lnTo>
                    <a:lnTo>
                      <a:pt x="20327" y="4006"/>
                    </a:lnTo>
                    <a:lnTo>
                      <a:pt x="20327" y="4006"/>
                    </a:lnTo>
                    <a:lnTo>
                      <a:pt x="20592" y="4006"/>
                    </a:lnTo>
                    <a:lnTo>
                      <a:pt x="20498" y="4006"/>
                    </a:lnTo>
                    <a:lnTo>
                      <a:pt x="20405" y="4006"/>
                    </a:lnTo>
                    <a:lnTo>
                      <a:pt x="20623" y="4006"/>
                    </a:lnTo>
                    <a:lnTo>
                      <a:pt x="20280" y="4006"/>
                    </a:lnTo>
                    <a:lnTo>
                      <a:pt x="20187" y="4006"/>
                    </a:lnTo>
                    <a:lnTo>
                      <a:pt x="20015" y="4006"/>
                    </a:lnTo>
                    <a:lnTo>
                      <a:pt x="20342" y="4006"/>
                    </a:lnTo>
                    <a:lnTo>
                      <a:pt x="19984" y="4006"/>
                    </a:lnTo>
                    <a:lnTo>
                      <a:pt x="19984" y="4006"/>
                    </a:lnTo>
                    <a:lnTo>
                      <a:pt x="19610" y="4006"/>
                    </a:lnTo>
                    <a:lnTo>
                      <a:pt x="19610" y="4006"/>
                    </a:lnTo>
                    <a:lnTo>
                      <a:pt x="19251" y="4084"/>
                    </a:lnTo>
                    <a:lnTo>
                      <a:pt x="19407" y="4084"/>
                    </a:lnTo>
                    <a:lnTo>
                      <a:pt x="19407" y="4084"/>
                    </a:lnTo>
                    <a:cubicBezTo>
                      <a:pt x="19286" y="4123"/>
                      <a:pt x="19160" y="4150"/>
                      <a:pt x="19033" y="4162"/>
                    </a:cubicBezTo>
                    <a:lnTo>
                      <a:pt x="19189" y="4162"/>
                    </a:lnTo>
                    <a:lnTo>
                      <a:pt x="19017" y="4162"/>
                    </a:lnTo>
                    <a:lnTo>
                      <a:pt x="19017" y="4162"/>
                    </a:lnTo>
                    <a:lnTo>
                      <a:pt x="18908" y="4162"/>
                    </a:lnTo>
                    <a:lnTo>
                      <a:pt x="18908" y="4162"/>
                    </a:lnTo>
                    <a:lnTo>
                      <a:pt x="18908" y="4162"/>
                    </a:lnTo>
                    <a:cubicBezTo>
                      <a:pt x="18908" y="4162"/>
                      <a:pt x="18908" y="4162"/>
                      <a:pt x="18908" y="4162"/>
                    </a:cubicBezTo>
                    <a:lnTo>
                      <a:pt x="18908" y="4162"/>
                    </a:lnTo>
                    <a:lnTo>
                      <a:pt x="18752" y="4162"/>
                    </a:lnTo>
                    <a:lnTo>
                      <a:pt x="18752" y="4162"/>
                    </a:lnTo>
                    <a:lnTo>
                      <a:pt x="18752" y="4162"/>
                    </a:lnTo>
                    <a:lnTo>
                      <a:pt x="18752" y="4162"/>
                    </a:lnTo>
                    <a:lnTo>
                      <a:pt x="18659" y="4162"/>
                    </a:lnTo>
                    <a:lnTo>
                      <a:pt x="18659" y="4162"/>
                    </a:lnTo>
                    <a:lnTo>
                      <a:pt x="18254" y="4271"/>
                    </a:lnTo>
                    <a:lnTo>
                      <a:pt x="18254" y="4271"/>
                    </a:lnTo>
                    <a:lnTo>
                      <a:pt x="17957" y="4380"/>
                    </a:lnTo>
                    <a:lnTo>
                      <a:pt x="17957" y="4380"/>
                    </a:lnTo>
                    <a:lnTo>
                      <a:pt x="17599" y="4489"/>
                    </a:lnTo>
                    <a:lnTo>
                      <a:pt x="17599" y="4489"/>
                    </a:lnTo>
                    <a:lnTo>
                      <a:pt x="17334" y="4676"/>
                    </a:lnTo>
                    <a:lnTo>
                      <a:pt x="17334" y="4676"/>
                    </a:lnTo>
                    <a:lnTo>
                      <a:pt x="17240" y="4676"/>
                    </a:lnTo>
                    <a:lnTo>
                      <a:pt x="17240" y="4676"/>
                    </a:lnTo>
                    <a:lnTo>
                      <a:pt x="16726" y="4864"/>
                    </a:lnTo>
                    <a:lnTo>
                      <a:pt x="16851" y="4864"/>
                    </a:lnTo>
                    <a:lnTo>
                      <a:pt x="16851" y="4864"/>
                    </a:lnTo>
                    <a:cubicBezTo>
                      <a:pt x="17028" y="4797"/>
                      <a:pt x="17211" y="4745"/>
                      <a:pt x="17396" y="4708"/>
                    </a:cubicBezTo>
                    <a:lnTo>
                      <a:pt x="17396" y="4708"/>
                    </a:lnTo>
                    <a:lnTo>
                      <a:pt x="17552" y="4708"/>
                    </a:lnTo>
                    <a:lnTo>
                      <a:pt x="17661" y="4708"/>
                    </a:lnTo>
                    <a:lnTo>
                      <a:pt x="17412" y="4708"/>
                    </a:lnTo>
                    <a:lnTo>
                      <a:pt x="17412" y="4708"/>
                    </a:lnTo>
                    <a:lnTo>
                      <a:pt x="17272" y="4708"/>
                    </a:lnTo>
                    <a:lnTo>
                      <a:pt x="17272" y="4708"/>
                    </a:lnTo>
                    <a:lnTo>
                      <a:pt x="17162" y="4708"/>
                    </a:lnTo>
                    <a:lnTo>
                      <a:pt x="17162" y="4708"/>
                    </a:lnTo>
                    <a:lnTo>
                      <a:pt x="17007" y="4708"/>
                    </a:lnTo>
                    <a:lnTo>
                      <a:pt x="17007" y="4708"/>
                    </a:lnTo>
                    <a:lnTo>
                      <a:pt x="17147" y="4708"/>
                    </a:lnTo>
                    <a:lnTo>
                      <a:pt x="17147" y="4708"/>
                    </a:lnTo>
                    <a:lnTo>
                      <a:pt x="17287" y="4708"/>
                    </a:lnTo>
                    <a:lnTo>
                      <a:pt x="17287" y="4708"/>
                    </a:lnTo>
                    <a:lnTo>
                      <a:pt x="17116" y="4708"/>
                    </a:lnTo>
                    <a:cubicBezTo>
                      <a:pt x="17240" y="4708"/>
                      <a:pt x="17599" y="4599"/>
                      <a:pt x="17272" y="4708"/>
                    </a:cubicBezTo>
                    <a:lnTo>
                      <a:pt x="17412" y="4708"/>
                    </a:lnTo>
                    <a:lnTo>
                      <a:pt x="17505" y="4708"/>
                    </a:lnTo>
                    <a:lnTo>
                      <a:pt x="17833" y="4614"/>
                    </a:lnTo>
                    <a:cubicBezTo>
                      <a:pt x="17472" y="4715"/>
                      <a:pt x="17118" y="4840"/>
                      <a:pt x="16773" y="4988"/>
                    </a:cubicBezTo>
                    <a:lnTo>
                      <a:pt x="16929" y="4988"/>
                    </a:lnTo>
                    <a:lnTo>
                      <a:pt x="16929" y="4988"/>
                    </a:lnTo>
                    <a:cubicBezTo>
                      <a:pt x="16929" y="4988"/>
                      <a:pt x="17116" y="4988"/>
                      <a:pt x="17007" y="4988"/>
                    </a:cubicBezTo>
                    <a:lnTo>
                      <a:pt x="17147" y="4988"/>
                    </a:lnTo>
                    <a:lnTo>
                      <a:pt x="17147" y="4988"/>
                    </a:lnTo>
                    <a:lnTo>
                      <a:pt x="17272" y="4988"/>
                    </a:lnTo>
                    <a:cubicBezTo>
                      <a:pt x="17178" y="4988"/>
                      <a:pt x="17069" y="4988"/>
                      <a:pt x="16991" y="5097"/>
                    </a:cubicBezTo>
                    <a:lnTo>
                      <a:pt x="16991" y="5097"/>
                    </a:lnTo>
                    <a:lnTo>
                      <a:pt x="16866" y="5097"/>
                    </a:lnTo>
                    <a:lnTo>
                      <a:pt x="16866" y="5097"/>
                    </a:lnTo>
                    <a:lnTo>
                      <a:pt x="16710" y="5097"/>
                    </a:lnTo>
                    <a:cubicBezTo>
                      <a:pt x="16793" y="5104"/>
                      <a:pt x="16877" y="5104"/>
                      <a:pt x="16960" y="5097"/>
                    </a:cubicBezTo>
                    <a:cubicBezTo>
                      <a:pt x="16695" y="5238"/>
                      <a:pt x="16367" y="5362"/>
                      <a:pt x="16103" y="5534"/>
                    </a:cubicBezTo>
                    <a:lnTo>
                      <a:pt x="16103" y="5534"/>
                    </a:lnTo>
                    <a:lnTo>
                      <a:pt x="15931" y="5627"/>
                    </a:lnTo>
                    <a:lnTo>
                      <a:pt x="16103" y="5627"/>
                    </a:lnTo>
                    <a:lnTo>
                      <a:pt x="16103" y="5627"/>
                    </a:lnTo>
                    <a:cubicBezTo>
                      <a:pt x="16103" y="5627"/>
                      <a:pt x="16103" y="5627"/>
                      <a:pt x="16103" y="5627"/>
                    </a:cubicBezTo>
                    <a:cubicBezTo>
                      <a:pt x="15934" y="5726"/>
                      <a:pt x="15756" y="5810"/>
                      <a:pt x="15573" y="5877"/>
                    </a:cubicBezTo>
                    <a:cubicBezTo>
                      <a:pt x="15573" y="5877"/>
                      <a:pt x="15573" y="5877"/>
                      <a:pt x="15573" y="5877"/>
                    </a:cubicBezTo>
                    <a:cubicBezTo>
                      <a:pt x="15573" y="5877"/>
                      <a:pt x="15479" y="5877"/>
                      <a:pt x="15463" y="5877"/>
                    </a:cubicBezTo>
                    <a:lnTo>
                      <a:pt x="15463" y="5877"/>
                    </a:lnTo>
                    <a:cubicBezTo>
                      <a:pt x="15406" y="5898"/>
                      <a:pt x="15353" y="5930"/>
                      <a:pt x="15308" y="5970"/>
                    </a:cubicBezTo>
                    <a:lnTo>
                      <a:pt x="15308" y="5970"/>
                    </a:lnTo>
                    <a:cubicBezTo>
                      <a:pt x="15308" y="5970"/>
                      <a:pt x="15089" y="6126"/>
                      <a:pt x="15183" y="6095"/>
                    </a:cubicBezTo>
                    <a:lnTo>
                      <a:pt x="15183" y="6095"/>
                    </a:lnTo>
                    <a:lnTo>
                      <a:pt x="15183" y="6095"/>
                    </a:lnTo>
                    <a:lnTo>
                      <a:pt x="15183" y="6095"/>
                    </a:lnTo>
                    <a:cubicBezTo>
                      <a:pt x="15183" y="6095"/>
                      <a:pt x="15183" y="6095"/>
                      <a:pt x="15183" y="6095"/>
                    </a:cubicBezTo>
                    <a:lnTo>
                      <a:pt x="15323" y="6095"/>
                    </a:lnTo>
                    <a:lnTo>
                      <a:pt x="15089" y="6220"/>
                    </a:lnTo>
                    <a:lnTo>
                      <a:pt x="15089" y="6220"/>
                    </a:lnTo>
                    <a:cubicBezTo>
                      <a:pt x="15089" y="6220"/>
                      <a:pt x="14933" y="6220"/>
                      <a:pt x="14871" y="6344"/>
                    </a:cubicBezTo>
                    <a:cubicBezTo>
                      <a:pt x="14809" y="6469"/>
                      <a:pt x="14980" y="6344"/>
                      <a:pt x="15027" y="6344"/>
                    </a:cubicBezTo>
                    <a:cubicBezTo>
                      <a:pt x="14873" y="6412"/>
                      <a:pt x="14727" y="6496"/>
                      <a:pt x="14590" y="6594"/>
                    </a:cubicBezTo>
                    <a:lnTo>
                      <a:pt x="14590" y="6594"/>
                    </a:lnTo>
                    <a:lnTo>
                      <a:pt x="14590" y="6594"/>
                    </a:lnTo>
                    <a:cubicBezTo>
                      <a:pt x="14808" y="6458"/>
                      <a:pt x="15037" y="6343"/>
                      <a:pt x="15276" y="6251"/>
                    </a:cubicBezTo>
                    <a:lnTo>
                      <a:pt x="15276" y="6251"/>
                    </a:lnTo>
                    <a:cubicBezTo>
                      <a:pt x="15276" y="6251"/>
                      <a:pt x="15276" y="6251"/>
                      <a:pt x="15276" y="6251"/>
                    </a:cubicBezTo>
                    <a:lnTo>
                      <a:pt x="15276" y="6251"/>
                    </a:lnTo>
                    <a:lnTo>
                      <a:pt x="15370" y="6251"/>
                    </a:lnTo>
                    <a:lnTo>
                      <a:pt x="15276" y="6251"/>
                    </a:lnTo>
                    <a:cubicBezTo>
                      <a:pt x="15276" y="6251"/>
                      <a:pt x="15417" y="6157"/>
                      <a:pt x="15479" y="6157"/>
                    </a:cubicBezTo>
                    <a:lnTo>
                      <a:pt x="15479" y="6157"/>
                    </a:lnTo>
                    <a:cubicBezTo>
                      <a:pt x="15479" y="6157"/>
                      <a:pt x="15713" y="6064"/>
                      <a:pt x="15573" y="6157"/>
                    </a:cubicBezTo>
                    <a:lnTo>
                      <a:pt x="15463" y="6157"/>
                    </a:lnTo>
                    <a:cubicBezTo>
                      <a:pt x="15494" y="6149"/>
                      <a:pt x="15526" y="6149"/>
                      <a:pt x="15557" y="6157"/>
                    </a:cubicBezTo>
                    <a:lnTo>
                      <a:pt x="15448" y="6157"/>
                    </a:lnTo>
                    <a:lnTo>
                      <a:pt x="15448" y="6157"/>
                    </a:lnTo>
                    <a:cubicBezTo>
                      <a:pt x="15448" y="6157"/>
                      <a:pt x="15448" y="6157"/>
                      <a:pt x="15323" y="6157"/>
                    </a:cubicBezTo>
                    <a:cubicBezTo>
                      <a:pt x="15198" y="6157"/>
                      <a:pt x="15495" y="6157"/>
                      <a:pt x="15432" y="6157"/>
                    </a:cubicBezTo>
                    <a:cubicBezTo>
                      <a:pt x="15522" y="6121"/>
                      <a:pt x="15623" y="6121"/>
                      <a:pt x="15713" y="6157"/>
                    </a:cubicBezTo>
                    <a:lnTo>
                      <a:pt x="15713" y="6157"/>
                    </a:lnTo>
                    <a:cubicBezTo>
                      <a:pt x="15541" y="6282"/>
                      <a:pt x="15339" y="6376"/>
                      <a:pt x="15152" y="6485"/>
                    </a:cubicBezTo>
                    <a:lnTo>
                      <a:pt x="15152" y="6485"/>
                    </a:lnTo>
                    <a:lnTo>
                      <a:pt x="15152" y="6485"/>
                    </a:lnTo>
                    <a:lnTo>
                      <a:pt x="15152" y="6485"/>
                    </a:lnTo>
                    <a:cubicBezTo>
                      <a:pt x="15152" y="6485"/>
                      <a:pt x="15152" y="6485"/>
                      <a:pt x="15152" y="6485"/>
                    </a:cubicBezTo>
                    <a:lnTo>
                      <a:pt x="15152" y="6485"/>
                    </a:lnTo>
                    <a:lnTo>
                      <a:pt x="15152" y="6485"/>
                    </a:lnTo>
                    <a:lnTo>
                      <a:pt x="14933" y="6625"/>
                    </a:lnTo>
                    <a:lnTo>
                      <a:pt x="14933" y="6625"/>
                    </a:lnTo>
                    <a:cubicBezTo>
                      <a:pt x="14933" y="6625"/>
                      <a:pt x="14933" y="6625"/>
                      <a:pt x="14933" y="6703"/>
                    </a:cubicBezTo>
                    <a:lnTo>
                      <a:pt x="15074" y="6703"/>
                    </a:lnTo>
                    <a:lnTo>
                      <a:pt x="15074" y="6703"/>
                    </a:lnTo>
                    <a:lnTo>
                      <a:pt x="15074" y="6796"/>
                    </a:lnTo>
                    <a:cubicBezTo>
                      <a:pt x="15074" y="6796"/>
                      <a:pt x="15074" y="6796"/>
                      <a:pt x="15074" y="6796"/>
                    </a:cubicBezTo>
                    <a:lnTo>
                      <a:pt x="15074" y="6796"/>
                    </a:lnTo>
                    <a:cubicBezTo>
                      <a:pt x="15385" y="6594"/>
                      <a:pt x="15167" y="6796"/>
                      <a:pt x="15074" y="6890"/>
                    </a:cubicBezTo>
                    <a:cubicBezTo>
                      <a:pt x="15183" y="6890"/>
                      <a:pt x="15276" y="6703"/>
                      <a:pt x="15401" y="6656"/>
                    </a:cubicBezTo>
                    <a:lnTo>
                      <a:pt x="15401" y="6656"/>
                    </a:lnTo>
                    <a:cubicBezTo>
                      <a:pt x="15401" y="6656"/>
                      <a:pt x="15682" y="6485"/>
                      <a:pt x="15526" y="6656"/>
                    </a:cubicBezTo>
                    <a:lnTo>
                      <a:pt x="15650" y="6656"/>
                    </a:lnTo>
                    <a:lnTo>
                      <a:pt x="15557" y="6656"/>
                    </a:lnTo>
                    <a:cubicBezTo>
                      <a:pt x="15557" y="6656"/>
                      <a:pt x="15557" y="6656"/>
                      <a:pt x="15557" y="6656"/>
                    </a:cubicBezTo>
                    <a:cubicBezTo>
                      <a:pt x="15557" y="6656"/>
                      <a:pt x="15448" y="6656"/>
                      <a:pt x="15417" y="6750"/>
                    </a:cubicBezTo>
                    <a:lnTo>
                      <a:pt x="15417" y="6750"/>
                    </a:lnTo>
                    <a:cubicBezTo>
                      <a:pt x="15417" y="6750"/>
                      <a:pt x="15323" y="6750"/>
                      <a:pt x="15308" y="6750"/>
                    </a:cubicBezTo>
                    <a:cubicBezTo>
                      <a:pt x="15619" y="6641"/>
                      <a:pt x="15198" y="6750"/>
                      <a:pt x="15074" y="6874"/>
                    </a:cubicBezTo>
                    <a:lnTo>
                      <a:pt x="15074" y="6874"/>
                    </a:lnTo>
                    <a:lnTo>
                      <a:pt x="14902" y="6968"/>
                    </a:lnTo>
                    <a:lnTo>
                      <a:pt x="14902" y="6968"/>
                    </a:lnTo>
                    <a:lnTo>
                      <a:pt x="14778" y="6968"/>
                    </a:lnTo>
                    <a:cubicBezTo>
                      <a:pt x="14918" y="6968"/>
                      <a:pt x="14778" y="6968"/>
                      <a:pt x="14778" y="6968"/>
                    </a:cubicBezTo>
                    <a:lnTo>
                      <a:pt x="14778" y="6968"/>
                    </a:lnTo>
                    <a:lnTo>
                      <a:pt x="14637" y="6968"/>
                    </a:lnTo>
                    <a:lnTo>
                      <a:pt x="14637" y="6968"/>
                    </a:lnTo>
                    <a:lnTo>
                      <a:pt x="14637" y="6968"/>
                    </a:lnTo>
                    <a:lnTo>
                      <a:pt x="14637" y="6968"/>
                    </a:lnTo>
                    <a:cubicBezTo>
                      <a:pt x="14544" y="6968"/>
                      <a:pt x="14450" y="7108"/>
                      <a:pt x="14357" y="7139"/>
                    </a:cubicBezTo>
                    <a:cubicBezTo>
                      <a:pt x="14263" y="7171"/>
                      <a:pt x="14497" y="7046"/>
                      <a:pt x="14559" y="7030"/>
                    </a:cubicBezTo>
                    <a:cubicBezTo>
                      <a:pt x="14622" y="7015"/>
                      <a:pt x="14559" y="7030"/>
                      <a:pt x="14559" y="7030"/>
                    </a:cubicBezTo>
                    <a:cubicBezTo>
                      <a:pt x="14640" y="6992"/>
                      <a:pt x="14723" y="6961"/>
                      <a:pt x="14809" y="6937"/>
                    </a:cubicBezTo>
                    <a:lnTo>
                      <a:pt x="14700" y="6937"/>
                    </a:lnTo>
                    <a:cubicBezTo>
                      <a:pt x="14871" y="6859"/>
                      <a:pt x="15027" y="6734"/>
                      <a:pt x="15198" y="6672"/>
                    </a:cubicBezTo>
                    <a:lnTo>
                      <a:pt x="15198" y="6672"/>
                    </a:lnTo>
                    <a:lnTo>
                      <a:pt x="15198" y="6672"/>
                    </a:lnTo>
                    <a:cubicBezTo>
                      <a:pt x="15406" y="6614"/>
                      <a:pt x="15605" y="6531"/>
                      <a:pt x="15791" y="6422"/>
                    </a:cubicBezTo>
                    <a:cubicBezTo>
                      <a:pt x="15791" y="6422"/>
                      <a:pt x="15791" y="6422"/>
                      <a:pt x="15666" y="6422"/>
                    </a:cubicBezTo>
                    <a:lnTo>
                      <a:pt x="15666" y="6422"/>
                    </a:lnTo>
                    <a:cubicBezTo>
                      <a:pt x="15760" y="6422"/>
                      <a:pt x="16118" y="6204"/>
                      <a:pt x="15900" y="6344"/>
                    </a:cubicBezTo>
                    <a:cubicBezTo>
                      <a:pt x="16056" y="6344"/>
                      <a:pt x="16056" y="6189"/>
                      <a:pt x="16196" y="6142"/>
                    </a:cubicBezTo>
                    <a:cubicBezTo>
                      <a:pt x="16056" y="6142"/>
                      <a:pt x="16196" y="6142"/>
                      <a:pt x="16196" y="6142"/>
                    </a:cubicBezTo>
                    <a:lnTo>
                      <a:pt x="16196" y="6142"/>
                    </a:lnTo>
                    <a:cubicBezTo>
                      <a:pt x="16368" y="6015"/>
                      <a:pt x="16564" y="5925"/>
                      <a:pt x="16773" y="5877"/>
                    </a:cubicBezTo>
                    <a:lnTo>
                      <a:pt x="16773" y="5877"/>
                    </a:lnTo>
                    <a:cubicBezTo>
                      <a:pt x="16936" y="5775"/>
                      <a:pt x="17115" y="5701"/>
                      <a:pt x="17303" y="5659"/>
                    </a:cubicBezTo>
                    <a:lnTo>
                      <a:pt x="17162" y="5736"/>
                    </a:lnTo>
                    <a:cubicBezTo>
                      <a:pt x="17334" y="5736"/>
                      <a:pt x="17459" y="5581"/>
                      <a:pt x="17630" y="5549"/>
                    </a:cubicBezTo>
                    <a:lnTo>
                      <a:pt x="17459" y="5674"/>
                    </a:lnTo>
                    <a:cubicBezTo>
                      <a:pt x="18410" y="5097"/>
                      <a:pt x="20000" y="4536"/>
                      <a:pt x="18425" y="5362"/>
                    </a:cubicBezTo>
                    <a:cubicBezTo>
                      <a:pt x="18675" y="5284"/>
                      <a:pt x="19267" y="4910"/>
                      <a:pt x="19080" y="5129"/>
                    </a:cubicBezTo>
                    <a:cubicBezTo>
                      <a:pt x="19766" y="4895"/>
                      <a:pt x="18721" y="5456"/>
                      <a:pt x="18425" y="5581"/>
                    </a:cubicBezTo>
                    <a:cubicBezTo>
                      <a:pt x="18784" y="5456"/>
                      <a:pt x="18425" y="5581"/>
                      <a:pt x="18425" y="5581"/>
                    </a:cubicBezTo>
                    <a:cubicBezTo>
                      <a:pt x="18425" y="5581"/>
                      <a:pt x="18659" y="5425"/>
                      <a:pt x="18519" y="5581"/>
                    </a:cubicBezTo>
                    <a:cubicBezTo>
                      <a:pt x="18752" y="5316"/>
                      <a:pt x="18986" y="5581"/>
                      <a:pt x="18597" y="5659"/>
                    </a:cubicBezTo>
                    <a:cubicBezTo>
                      <a:pt x="18557" y="5643"/>
                      <a:pt x="18512" y="5643"/>
                      <a:pt x="18472" y="5659"/>
                    </a:cubicBezTo>
                    <a:cubicBezTo>
                      <a:pt x="18706" y="5659"/>
                      <a:pt x="18378" y="5736"/>
                      <a:pt x="18300" y="5768"/>
                    </a:cubicBezTo>
                    <a:cubicBezTo>
                      <a:pt x="18893" y="5581"/>
                      <a:pt x="17802" y="6033"/>
                      <a:pt x="18456" y="5768"/>
                    </a:cubicBezTo>
                    <a:cubicBezTo>
                      <a:pt x="17630" y="6126"/>
                      <a:pt x="18830" y="5768"/>
                      <a:pt x="18020" y="6095"/>
                    </a:cubicBezTo>
                    <a:cubicBezTo>
                      <a:pt x="18020" y="6189"/>
                      <a:pt x="18020" y="6095"/>
                      <a:pt x="18238" y="6095"/>
                    </a:cubicBezTo>
                    <a:cubicBezTo>
                      <a:pt x="18120" y="6184"/>
                      <a:pt x="17989" y="6252"/>
                      <a:pt x="17848" y="6298"/>
                    </a:cubicBezTo>
                    <a:cubicBezTo>
                      <a:pt x="17755" y="6298"/>
                      <a:pt x="18534" y="6298"/>
                      <a:pt x="17692" y="6485"/>
                    </a:cubicBezTo>
                    <a:cubicBezTo>
                      <a:pt x="17599" y="6485"/>
                      <a:pt x="18113" y="6485"/>
                      <a:pt x="17568" y="6594"/>
                    </a:cubicBezTo>
                    <a:cubicBezTo>
                      <a:pt x="18020" y="6438"/>
                      <a:pt x="18082" y="6594"/>
                      <a:pt x="17568" y="6672"/>
                    </a:cubicBezTo>
                    <a:cubicBezTo>
                      <a:pt x="17770" y="6843"/>
                      <a:pt x="17474" y="6890"/>
                      <a:pt x="17568" y="6828"/>
                    </a:cubicBezTo>
                    <a:cubicBezTo>
                      <a:pt x="17318" y="6828"/>
                      <a:pt x="17568" y="7030"/>
                      <a:pt x="17287" y="6921"/>
                    </a:cubicBezTo>
                    <a:cubicBezTo>
                      <a:pt x="17116" y="7217"/>
                      <a:pt x="17412" y="7046"/>
                      <a:pt x="17116" y="7186"/>
                    </a:cubicBezTo>
                    <a:cubicBezTo>
                      <a:pt x="17350" y="7108"/>
                      <a:pt x="16929" y="7436"/>
                      <a:pt x="17116" y="7295"/>
                    </a:cubicBezTo>
                    <a:cubicBezTo>
                      <a:pt x="16820" y="7591"/>
                      <a:pt x="17381" y="7124"/>
                      <a:pt x="16975" y="7623"/>
                    </a:cubicBezTo>
                    <a:cubicBezTo>
                      <a:pt x="16773" y="7732"/>
                      <a:pt x="17303" y="7623"/>
                      <a:pt x="16835" y="7794"/>
                    </a:cubicBezTo>
                    <a:cubicBezTo>
                      <a:pt x="17178" y="7654"/>
                      <a:pt x="16913" y="8137"/>
                      <a:pt x="16695" y="8012"/>
                    </a:cubicBezTo>
                    <a:cubicBezTo>
                      <a:pt x="16695" y="8137"/>
                      <a:pt x="16555" y="8231"/>
                      <a:pt x="16508" y="8137"/>
                    </a:cubicBezTo>
                    <a:cubicBezTo>
                      <a:pt x="16461" y="8044"/>
                      <a:pt x="16352" y="8309"/>
                      <a:pt x="16508" y="8137"/>
                    </a:cubicBezTo>
                    <a:cubicBezTo>
                      <a:pt x="16664" y="7966"/>
                      <a:pt x="16056" y="8574"/>
                      <a:pt x="16196" y="8309"/>
                    </a:cubicBezTo>
                    <a:cubicBezTo>
                      <a:pt x="16071" y="8137"/>
                      <a:pt x="16492" y="7903"/>
                      <a:pt x="16539" y="7810"/>
                    </a:cubicBezTo>
                    <a:cubicBezTo>
                      <a:pt x="16258" y="7966"/>
                      <a:pt x="16430" y="7810"/>
                      <a:pt x="16539" y="7654"/>
                    </a:cubicBezTo>
                    <a:cubicBezTo>
                      <a:pt x="16648" y="7498"/>
                      <a:pt x="16305" y="7841"/>
                      <a:pt x="16383" y="7654"/>
                    </a:cubicBezTo>
                    <a:cubicBezTo>
                      <a:pt x="16118" y="7903"/>
                      <a:pt x="15962" y="7934"/>
                      <a:pt x="15869" y="8309"/>
                    </a:cubicBezTo>
                    <a:cubicBezTo>
                      <a:pt x="15775" y="8683"/>
                      <a:pt x="15261" y="9135"/>
                      <a:pt x="15198" y="8932"/>
                    </a:cubicBezTo>
                    <a:cubicBezTo>
                      <a:pt x="15136" y="8729"/>
                      <a:pt x="15308" y="8823"/>
                      <a:pt x="15198" y="8527"/>
                    </a:cubicBezTo>
                    <a:cubicBezTo>
                      <a:pt x="14996" y="8885"/>
                      <a:pt x="14996" y="9353"/>
                      <a:pt x="14996" y="9353"/>
                    </a:cubicBezTo>
                    <a:cubicBezTo>
                      <a:pt x="14357" y="9493"/>
                      <a:pt x="15105" y="8262"/>
                      <a:pt x="15245" y="8231"/>
                    </a:cubicBezTo>
                    <a:cubicBezTo>
                      <a:pt x="14996" y="8324"/>
                      <a:pt x="15245" y="8231"/>
                      <a:pt x="15027" y="8231"/>
                    </a:cubicBezTo>
                    <a:cubicBezTo>
                      <a:pt x="15136" y="8075"/>
                      <a:pt x="14871" y="8309"/>
                      <a:pt x="14793" y="8231"/>
                    </a:cubicBezTo>
                    <a:cubicBezTo>
                      <a:pt x="14715" y="8153"/>
                      <a:pt x="15432" y="7607"/>
                      <a:pt x="15292" y="7981"/>
                    </a:cubicBezTo>
                    <a:cubicBezTo>
                      <a:pt x="16617" y="7701"/>
                      <a:pt x="17427" y="6422"/>
                      <a:pt x="17724" y="6111"/>
                    </a:cubicBezTo>
                    <a:cubicBezTo>
                      <a:pt x="17272" y="6485"/>
                      <a:pt x="17396" y="6111"/>
                      <a:pt x="17225" y="6111"/>
                    </a:cubicBezTo>
                    <a:cubicBezTo>
                      <a:pt x="17053" y="6111"/>
                      <a:pt x="17459" y="5970"/>
                      <a:pt x="17225" y="5955"/>
                    </a:cubicBezTo>
                    <a:cubicBezTo>
                      <a:pt x="17427" y="5736"/>
                      <a:pt x="17225" y="5955"/>
                      <a:pt x="17225" y="5783"/>
                    </a:cubicBezTo>
                    <a:lnTo>
                      <a:pt x="17318" y="5783"/>
                    </a:lnTo>
                    <a:lnTo>
                      <a:pt x="17178" y="5861"/>
                    </a:lnTo>
                    <a:cubicBezTo>
                      <a:pt x="16944" y="5970"/>
                      <a:pt x="16726" y="6111"/>
                      <a:pt x="16492" y="6235"/>
                    </a:cubicBezTo>
                    <a:lnTo>
                      <a:pt x="16492" y="6235"/>
                    </a:lnTo>
                    <a:lnTo>
                      <a:pt x="16601" y="6235"/>
                    </a:lnTo>
                    <a:lnTo>
                      <a:pt x="16555" y="6235"/>
                    </a:lnTo>
                    <a:lnTo>
                      <a:pt x="16555" y="6235"/>
                    </a:lnTo>
                    <a:cubicBezTo>
                      <a:pt x="16555" y="6313"/>
                      <a:pt x="16321" y="6235"/>
                      <a:pt x="16243" y="6376"/>
                    </a:cubicBezTo>
                    <a:lnTo>
                      <a:pt x="16243" y="6376"/>
                    </a:lnTo>
                    <a:lnTo>
                      <a:pt x="16243" y="6376"/>
                    </a:lnTo>
                    <a:lnTo>
                      <a:pt x="16336" y="6376"/>
                    </a:lnTo>
                    <a:cubicBezTo>
                      <a:pt x="16336" y="6376"/>
                      <a:pt x="16336" y="6376"/>
                      <a:pt x="16336" y="6376"/>
                    </a:cubicBezTo>
                    <a:lnTo>
                      <a:pt x="16336" y="6376"/>
                    </a:lnTo>
                    <a:cubicBezTo>
                      <a:pt x="16336" y="6376"/>
                      <a:pt x="16227" y="6376"/>
                      <a:pt x="16180" y="6376"/>
                    </a:cubicBezTo>
                    <a:lnTo>
                      <a:pt x="16180" y="6376"/>
                    </a:lnTo>
                    <a:lnTo>
                      <a:pt x="16180" y="6376"/>
                    </a:lnTo>
                    <a:cubicBezTo>
                      <a:pt x="15993" y="6516"/>
                      <a:pt x="15791" y="6625"/>
                      <a:pt x="15588" y="6750"/>
                    </a:cubicBezTo>
                    <a:lnTo>
                      <a:pt x="15822" y="6656"/>
                    </a:lnTo>
                    <a:lnTo>
                      <a:pt x="15822" y="6656"/>
                    </a:lnTo>
                    <a:lnTo>
                      <a:pt x="16212" y="6454"/>
                    </a:lnTo>
                    <a:cubicBezTo>
                      <a:pt x="16065" y="6587"/>
                      <a:pt x="15903" y="6702"/>
                      <a:pt x="15728" y="6796"/>
                    </a:cubicBezTo>
                    <a:lnTo>
                      <a:pt x="15728" y="6796"/>
                    </a:lnTo>
                    <a:cubicBezTo>
                      <a:pt x="15496" y="6904"/>
                      <a:pt x="15285" y="7052"/>
                      <a:pt x="15105" y="7233"/>
                    </a:cubicBezTo>
                    <a:cubicBezTo>
                      <a:pt x="15105" y="7233"/>
                      <a:pt x="15198" y="7155"/>
                      <a:pt x="15245" y="7155"/>
                    </a:cubicBezTo>
                    <a:lnTo>
                      <a:pt x="15245" y="7155"/>
                    </a:lnTo>
                    <a:lnTo>
                      <a:pt x="16040" y="6750"/>
                    </a:lnTo>
                    <a:lnTo>
                      <a:pt x="16040" y="6750"/>
                    </a:lnTo>
                    <a:lnTo>
                      <a:pt x="16040" y="6750"/>
                    </a:lnTo>
                    <a:cubicBezTo>
                      <a:pt x="16040" y="6750"/>
                      <a:pt x="16040" y="6656"/>
                      <a:pt x="16165" y="6672"/>
                    </a:cubicBezTo>
                    <a:lnTo>
                      <a:pt x="16165" y="6672"/>
                    </a:lnTo>
                    <a:cubicBezTo>
                      <a:pt x="16165" y="6672"/>
                      <a:pt x="16165" y="6672"/>
                      <a:pt x="16274" y="6672"/>
                    </a:cubicBezTo>
                    <a:lnTo>
                      <a:pt x="16274" y="6672"/>
                    </a:lnTo>
                    <a:lnTo>
                      <a:pt x="16664" y="6454"/>
                    </a:lnTo>
                    <a:cubicBezTo>
                      <a:pt x="16664" y="6454"/>
                      <a:pt x="16664" y="6454"/>
                      <a:pt x="16664" y="6594"/>
                    </a:cubicBezTo>
                    <a:lnTo>
                      <a:pt x="16664" y="6594"/>
                    </a:lnTo>
                    <a:cubicBezTo>
                      <a:pt x="16645" y="6644"/>
                      <a:pt x="16605" y="6684"/>
                      <a:pt x="16555" y="6703"/>
                    </a:cubicBezTo>
                    <a:cubicBezTo>
                      <a:pt x="16555" y="6625"/>
                      <a:pt x="16555" y="6781"/>
                      <a:pt x="16430" y="6796"/>
                    </a:cubicBezTo>
                    <a:cubicBezTo>
                      <a:pt x="16305" y="6812"/>
                      <a:pt x="16305" y="6921"/>
                      <a:pt x="16243" y="6921"/>
                    </a:cubicBezTo>
                    <a:cubicBezTo>
                      <a:pt x="16180" y="6921"/>
                      <a:pt x="16243" y="6921"/>
                      <a:pt x="16243" y="6921"/>
                    </a:cubicBezTo>
                    <a:lnTo>
                      <a:pt x="16243" y="6921"/>
                    </a:lnTo>
                    <a:cubicBezTo>
                      <a:pt x="16243" y="6921"/>
                      <a:pt x="15978" y="7046"/>
                      <a:pt x="16056" y="6921"/>
                    </a:cubicBezTo>
                    <a:lnTo>
                      <a:pt x="16056" y="6921"/>
                    </a:lnTo>
                    <a:cubicBezTo>
                      <a:pt x="16056" y="6921"/>
                      <a:pt x="16056" y="6999"/>
                      <a:pt x="15915" y="7015"/>
                    </a:cubicBezTo>
                    <a:lnTo>
                      <a:pt x="15915" y="7015"/>
                    </a:lnTo>
                    <a:cubicBezTo>
                      <a:pt x="15915" y="7015"/>
                      <a:pt x="15806" y="7015"/>
                      <a:pt x="15915" y="7015"/>
                    </a:cubicBezTo>
                    <a:cubicBezTo>
                      <a:pt x="15629" y="7264"/>
                      <a:pt x="15287" y="7441"/>
                      <a:pt x="14918" y="7529"/>
                    </a:cubicBezTo>
                    <a:cubicBezTo>
                      <a:pt x="14943" y="7513"/>
                      <a:pt x="14969" y="7497"/>
                      <a:pt x="14996" y="7482"/>
                    </a:cubicBezTo>
                    <a:lnTo>
                      <a:pt x="14996" y="7482"/>
                    </a:lnTo>
                    <a:lnTo>
                      <a:pt x="15120" y="7373"/>
                    </a:lnTo>
                    <a:lnTo>
                      <a:pt x="15120" y="7373"/>
                    </a:lnTo>
                    <a:cubicBezTo>
                      <a:pt x="15120" y="7373"/>
                      <a:pt x="14965" y="7451"/>
                      <a:pt x="15120" y="7373"/>
                    </a:cubicBezTo>
                    <a:cubicBezTo>
                      <a:pt x="15026" y="7487"/>
                      <a:pt x="14916" y="7587"/>
                      <a:pt x="14793" y="7669"/>
                    </a:cubicBezTo>
                    <a:lnTo>
                      <a:pt x="14887" y="7529"/>
                    </a:lnTo>
                    <a:cubicBezTo>
                      <a:pt x="14887" y="7529"/>
                      <a:pt x="14887" y="7607"/>
                      <a:pt x="14778" y="7623"/>
                    </a:cubicBezTo>
                    <a:cubicBezTo>
                      <a:pt x="14668" y="7638"/>
                      <a:pt x="14778" y="7623"/>
                      <a:pt x="14778" y="7623"/>
                    </a:cubicBezTo>
                    <a:lnTo>
                      <a:pt x="14778" y="7623"/>
                    </a:lnTo>
                    <a:lnTo>
                      <a:pt x="14918" y="7514"/>
                    </a:lnTo>
                    <a:cubicBezTo>
                      <a:pt x="14918" y="7514"/>
                      <a:pt x="14824" y="7514"/>
                      <a:pt x="14918" y="7514"/>
                    </a:cubicBezTo>
                    <a:lnTo>
                      <a:pt x="14918" y="7514"/>
                    </a:lnTo>
                    <a:lnTo>
                      <a:pt x="14918" y="7514"/>
                    </a:lnTo>
                    <a:cubicBezTo>
                      <a:pt x="14757" y="7658"/>
                      <a:pt x="14572" y="7774"/>
                      <a:pt x="14372" y="7856"/>
                    </a:cubicBezTo>
                    <a:lnTo>
                      <a:pt x="14372" y="7856"/>
                    </a:lnTo>
                    <a:cubicBezTo>
                      <a:pt x="14076" y="8028"/>
                      <a:pt x="14372" y="7732"/>
                      <a:pt x="14372" y="7591"/>
                    </a:cubicBezTo>
                    <a:cubicBezTo>
                      <a:pt x="14107" y="7747"/>
                      <a:pt x="14170" y="8028"/>
                      <a:pt x="13873" y="8106"/>
                    </a:cubicBezTo>
                    <a:lnTo>
                      <a:pt x="13873" y="8106"/>
                    </a:lnTo>
                    <a:lnTo>
                      <a:pt x="13468" y="8293"/>
                    </a:lnTo>
                    <a:cubicBezTo>
                      <a:pt x="13468" y="8293"/>
                      <a:pt x="13468" y="8293"/>
                      <a:pt x="13468" y="8293"/>
                    </a:cubicBezTo>
                    <a:lnTo>
                      <a:pt x="13468" y="8293"/>
                    </a:lnTo>
                    <a:lnTo>
                      <a:pt x="13468" y="8293"/>
                    </a:lnTo>
                    <a:cubicBezTo>
                      <a:pt x="13468" y="8293"/>
                      <a:pt x="13468" y="8293"/>
                      <a:pt x="13577" y="8199"/>
                    </a:cubicBezTo>
                    <a:cubicBezTo>
                      <a:pt x="13686" y="8106"/>
                      <a:pt x="13468" y="8199"/>
                      <a:pt x="13437" y="8277"/>
                    </a:cubicBezTo>
                    <a:cubicBezTo>
                      <a:pt x="13475" y="8255"/>
                      <a:pt x="13508" y="8223"/>
                      <a:pt x="13530" y="8184"/>
                    </a:cubicBezTo>
                    <a:cubicBezTo>
                      <a:pt x="13530" y="8184"/>
                      <a:pt x="13172" y="8480"/>
                      <a:pt x="13328" y="8293"/>
                    </a:cubicBezTo>
                    <a:lnTo>
                      <a:pt x="13188" y="8402"/>
                    </a:lnTo>
                    <a:cubicBezTo>
                      <a:pt x="13251" y="8269"/>
                      <a:pt x="13329" y="8143"/>
                      <a:pt x="13421" y="8028"/>
                    </a:cubicBezTo>
                    <a:lnTo>
                      <a:pt x="13421" y="8028"/>
                    </a:lnTo>
                    <a:lnTo>
                      <a:pt x="13421" y="8028"/>
                    </a:lnTo>
                    <a:lnTo>
                      <a:pt x="13343" y="8121"/>
                    </a:lnTo>
                    <a:cubicBezTo>
                      <a:pt x="13530" y="7981"/>
                      <a:pt x="13250" y="8293"/>
                      <a:pt x="13203" y="8277"/>
                    </a:cubicBezTo>
                    <a:lnTo>
                      <a:pt x="13328" y="8277"/>
                    </a:lnTo>
                    <a:cubicBezTo>
                      <a:pt x="13203" y="8496"/>
                      <a:pt x="12704" y="8761"/>
                      <a:pt x="13078" y="8277"/>
                    </a:cubicBezTo>
                    <a:cubicBezTo>
                      <a:pt x="12954" y="8355"/>
                      <a:pt x="12891" y="8496"/>
                      <a:pt x="12782" y="8574"/>
                    </a:cubicBezTo>
                    <a:lnTo>
                      <a:pt x="12782" y="8574"/>
                    </a:lnTo>
                    <a:lnTo>
                      <a:pt x="12782" y="8574"/>
                    </a:lnTo>
                    <a:lnTo>
                      <a:pt x="12782" y="8574"/>
                    </a:lnTo>
                    <a:lnTo>
                      <a:pt x="12642" y="8698"/>
                    </a:lnTo>
                    <a:cubicBezTo>
                      <a:pt x="12642" y="8698"/>
                      <a:pt x="12642" y="8698"/>
                      <a:pt x="12642" y="8698"/>
                    </a:cubicBezTo>
                    <a:cubicBezTo>
                      <a:pt x="12642" y="8698"/>
                      <a:pt x="12533" y="8698"/>
                      <a:pt x="12502" y="8698"/>
                    </a:cubicBezTo>
                    <a:cubicBezTo>
                      <a:pt x="12470" y="8698"/>
                      <a:pt x="12034" y="8994"/>
                      <a:pt x="11909" y="9026"/>
                    </a:cubicBezTo>
                    <a:lnTo>
                      <a:pt x="11909" y="9026"/>
                    </a:lnTo>
                    <a:cubicBezTo>
                      <a:pt x="11559" y="9339"/>
                      <a:pt x="11189" y="9631"/>
                      <a:pt x="10803" y="9899"/>
                    </a:cubicBezTo>
                    <a:cubicBezTo>
                      <a:pt x="11707" y="9306"/>
                      <a:pt x="10662" y="10351"/>
                      <a:pt x="10460" y="10351"/>
                    </a:cubicBezTo>
                    <a:cubicBezTo>
                      <a:pt x="10865" y="10351"/>
                      <a:pt x="10647" y="10694"/>
                      <a:pt x="10460" y="10974"/>
                    </a:cubicBezTo>
                    <a:lnTo>
                      <a:pt x="10460" y="10974"/>
                    </a:lnTo>
                    <a:cubicBezTo>
                      <a:pt x="10447" y="11120"/>
                      <a:pt x="10410" y="11262"/>
                      <a:pt x="10350" y="11395"/>
                    </a:cubicBezTo>
                    <a:cubicBezTo>
                      <a:pt x="10460" y="11395"/>
                      <a:pt x="10444" y="11520"/>
                      <a:pt x="10553" y="11520"/>
                    </a:cubicBezTo>
                    <a:lnTo>
                      <a:pt x="10553" y="11520"/>
                    </a:lnTo>
                    <a:cubicBezTo>
                      <a:pt x="10113" y="11959"/>
                      <a:pt x="9735" y="12458"/>
                      <a:pt x="9431" y="13001"/>
                    </a:cubicBezTo>
                    <a:cubicBezTo>
                      <a:pt x="9618" y="13001"/>
                      <a:pt x="9571" y="13001"/>
                      <a:pt x="9758" y="12876"/>
                    </a:cubicBezTo>
                    <a:cubicBezTo>
                      <a:pt x="9758" y="12954"/>
                      <a:pt x="9571" y="13110"/>
                      <a:pt x="9665" y="13172"/>
                    </a:cubicBezTo>
                    <a:cubicBezTo>
                      <a:pt x="10043" y="12406"/>
                      <a:pt x="10669" y="11791"/>
                      <a:pt x="11442" y="11426"/>
                    </a:cubicBezTo>
                    <a:cubicBezTo>
                      <a:pt x="11894" y="10912"/>
                      <a:pt x="12237" y="10288"/>
                      <a:pt x="12704" y="10117"/>
                    </a:cubicBezTo>
                    <a:lnTo>
                      <a:pt x="12704" y="10117"/>
                    </a:lnTo>
                    <a:cubicBezTo>
                      <a:pt x="12782" y="10117"/>
                      <a:pt x="12813" y="9961"/>
                      <a:pt x="12891" y="9961"/>
                    </a:cubicBezTo>
                    <a:cubicBezTo>
                      <a:pt x="12969" y="9961"/>
                      <a:pt x="12891" y="9867"/>
                      <a:pt x="13000" y="9852"/>
                    </a:cubicBezTo>
                    <a:cubicBezTo>
                      <a:pt x="13110" y="9836"/>
                      <a:pt x="14060" y="8901"/>
                      <a:pt x="13686" y="9446"/>
                    </a:cubicBezTo>
                    <a:cubicBezTo>
                      <a:pt x="13686" y="9446"/>
                      <a:pt x="13842" y="9446"/>
                      <a:pt x="13795" y="9446"/>
                    </a:cubicBezTo>
                    <a:lnTo>
                      <a:pt x="13795" y="9446"/>
                    </a:lnTo>
                    <a:cubicBezTo>
                      <a:pt x="14076" y="9446"/>
                      <a:pt x="13795" y="9446"/>
                      <a:pt x="13889" y="9587"/>
                    </a:cubicBezTo>
                    <a:cubicBezTo>
                      <a:pt x="13983" y="9727"/>
                      <a:pt x="13795" y="9665"/>
                      <a:pt x="13764" y="9711"/>
                    </a:cubicBezTo>
                    <a:lnTo>
                      <a:pt x="13764" y="9711"/>
                    </a:lnTo>
                    <a:cubicBezTo>
                      <a:pt x="13764" y="9711"/>
                      <a:pt x="13764" y="9805"/>
                      <a:pt x="13764" y="9852"/>
                    </a:cubicBezTo>
                    <a:lnTo>
                      <a:pt x="13764" y="9852"/>
                    </a:lnTo>
                    <a:cubicBezTo>
                      <a:pt x="13764" y="9852"/>
                      <a:pt x="13764" y="9930"/>
                      <a:pt x="13764" y="9930"/>
                    </a:cubicBezTo>
                    <a:lnTo>
                      <a:pt x="13764" y="9930"/>
                    </a:lnTo>
                    <a:cubicBezTo>
                      <a:pt x="13764" y="9930"/>
                      <a:pt x="13764" y="10008"/>
                      <a:pt x="13655" y="10054"/>
                    </a:cubicBezTo>
                    <a:lnTo>
                      <a:pt x="13655" y="10054"/>
                    </a:lnTo>
                    <a:lnTo>
                      <a:pt x="13655" y="10054"/>
                    </a:lnTo>
                    <a:lnTo>
                      <a:pt x="13655" y="10054"/>
                    </a:lnTo>
                    <a:lnTo>
                      <a:pt x="13655" y="10054"/>
                    </a:lnTo>
                    <a:lnTo>
                      <a:pt x="13655" y="10054"/>
                    </a:lnTo>
                    <a:cubicBezTo>
                      <a:pt x="13795" y="10054"/>
                      <a:pt x="13655" y="10132"/>
                      <a:pt x="13655" y="10179"/>
                    </a:cubicBezTo>
                    <a:cubicBezTo>
                      <a:pt x="13655" y="10226"/>
                      <a:pt x="13749" y="10086"/>
                      <a:pt x="13795" y="10101"/>
                    </a:cubicBezTo>
                    <a:cubicBezTo>
                      <a:pt x="13842" y="10117"/>
                      <a:pt x="13530" y="10288"/>
                      <a:pt x="13421" y="10444"/>
                    </a:cubicBezTo>
                    <a:lnTo>
                      <a:pt x="13421" y="10444"/>
                    </a:lnTo>
                    <a:cubicBezTo>
                      <a:pt x="13421" y="10444"/>
                      <a:pt x="13297" y="10553"/>
                      <a:pt x="13234" y="10444"/>
                    </a:cubicBezTo>
                    <a:cubicBezTo>
                      <a:pt x="13406" y="10600"/>
                      <a:pt x="12985" y="10927"/>
                      <a:pt x="13000" y="10881"/>
                    </a:cubicBezTo>
                    <a:cubicBezTo>
                      <a:pt x="13016" y="10834"/>
                      <a:pt x="13000" y="11021"/>
                      <a:pt x="13000" y="10881"/>
                    </a:cubicBezTo>
                    <a:cubicBezTo>
                      <a:pt x="13000" y="10740"/>
                      <a:pt x="12813" y="11130"/>
                      <a:pt x="12720" y="11224"/>
                    </a:cubicBezTo>
                    <a:cubicBezTo>
                      <a:pt x="12969" y="11052"/>
                      <a:pt x="13032" y="11021"/>
                      <a:pt x="12720" y="11224"/>
                    </a:cubicBezTo>
                    <a:cubicBezTo>
                      <a:pt x="12720" y="11224"/>
                      <a:pt x="12985" y="11005"/>
                      <a:pt x="12985" y="11099"/>
                    </a:cubicBezTo>
                    <a:cubicBezTo>
                      <a:pt x="12985" y="11192"/>
                      <a:pt x="13125" y="10990"/>
                      <a:pt x="13203" y="10959"/>
                    </a:cubicBezTo>
                    <a:cubicBezTo>
                      <a:pt x="13217" y="11010"/>
                      <a:pt x="13217" y="11063"/>
                      <a:pt x="13203" y="11114"/>
                    </a:cubicBezTo>
                    <a:cubicBezTo>
                      <a:pt x="13203" y="11037"/>
                      <a:pt x="13577" y="10709"/>
                      <a:pt x="13608" y="10818"/>
                    </a:cubicBezTo>
                    <a:cubicBezTo>
                      <a:pt x="13640" y="10927"/>
                      <a:pt x="13608" y="10818"/>
                      <a:pt x="13608" y="10818"/>
                    </a:cubicBezTo>
                    <a:cubicBezTo>
                      <a:pt x="13608" y="10818"/>
                      <a:pt x="13608" y="10725"/>
                      <a:pt x="13733" y="10725"/>
                    </a:cubicBezTo>
                    <a:lnTo>
                      <a:pt x="13733" y="10725"/>
                    </a:lnTo>
                    <a:cubicBezTo>
                      <a:pt x="13733" y="10647"/>
                      <a:pt x="14138" y="10397"/>
                      <a:pt x="14014" y="10507"/>
                    </a:cubicBezTo>
                    <a:lnTo>
                      <a:pt x="14014" y="10507"/>
                    </a:lnTo>
                    <a:cubicBezTo>
                      <a:pt x="14014" y="10507"/>
                      <a:pt x="14014" y="10616"/>
                      <a:pt x="13905" y="10616"/>
                    </a:cubicBezTo>
                    <a:cubicBezTo>
                      <a:pt x="13795" y="10616"/>
                      <a:pt x="13905" y="10616"/>
                      <a:pt x="13905" y="10694"/>
                    </a:cubicBezTo>
                    <a:lnTo>
                      <a:pt x="13905" y="10694"/>
                    </a:lnTo>
                    <a:cubicBezTo>
                      <a:pt x="13811" y="10694"/>
                      <a:pt x="13905" y="10849"/>
                      <a:pt x="13749" y="10896"/>
                    </a:cubicBezTo>
                    <a:cubicBezTo>
                      <a:pt x="13593" y="10943"/>
                      <a:pt x="13749" y="11005"/>
                      <a:pt x="13749" y="10896"/>
                    </a:cubicBezTo>
                    <a:cubicBezTo>
                      <a:pt x="13749" y="10787"/>
                      <a:pt x="13421" y="11037"/>
                      <a:pt x="13749" y="11021"/>
                    </a:cubicBezTo>
                    <a:cubicBezTo>
                      <a:pt x="14076" y="11005"/>
                      <a:pt x="13577" y="11161"/>
                      <a:pt x="13749" y="11114"/>
                    </a:cubicBezTo>
                    <a:cubicBezTo>
                      <a:pt x="13920" y="11068"/>
                      <a:pt x="13608" y="11270"/>
                      <a:pt x="13593" y="11114"/>
                    </a:cubicBezTo>
                    <a:cubicBezTo>
                      <a:pt x="13577" y="10959"/>
                      <a:pt x="13593" y="11192"/>
                      <a:pt x="13593" y="11208"/>
                    </a:cubicBezTo>
                    <a:cubicBezTo>
                      <a:pt x="13593" y="11224"/>
                      <a:pt x="13702" y="11208"/>
                      <a:pt x="13749" y="11208"/>
                    </a:cubicBezTo>
                    <a:cubicBezTo>
                      <a:pt x="13795" y="11208"/>
                      <a:pt x="13577" y="11208"/>
                      <a:pt x="13515" y="11348"/>
                    </a:cubicBezTo>
                    <a:cubicBezTo>
                      <a:pt x="13733" y="11348"/>
                      <a:pt x="13655" y="11348"/>
                      <a:pt x="13515" y="11442"/>
                    </a:cubicBezTo>
                    <a:cubicBezTo>
                      <a:pt x="13375" y="11535"/>
                      <a:pt x="13515" y="11442"/>
                      <a:pt x="13608" y="11442"/>
                    </a:cubicBezTo>
                    <a:cubicBezTo>
                      <a:pt x="13623" y="11509"/>
                      <a:pt x="13580" y="11575"/>
                      <a:pt x="13512" y="11590"/>
                    </a:cubicBezTo>
                    <a:cubicBezTo>
                      <a:pt x="13487" y="11595"/>
                      <a:pt x="13461" y="11592"/>
                      <a:pt x="13437" y="11582"/>
                    </a:cubicBezTo>
                    <a:cubicBezTo>
                      <a:pt x="13437" y="11582"/>
                      <a:pt x="13577" y="11660"/>
                      <a:pt x="13437" y="11722"/>
                    </a:cubicBezTo>
                    <a:cubicBezTo>
                      <a:pt x="13608" y="11816"/>
                      <a:pt x="13250" y="11941"/>
                      <a:pt x="13219" y="11878"/>
                    </a:cubicBezTo>
                    <a:cubicBezTo>
                      <a:pt x="13188" y="11816"/>
                      <a:pt x="13219" y="12128"/>
                      <a:pt x="13078" y="12081"/>
                    </a:cubicBezTo>
                    <a:cubicBezTo>
                      <a:pt x="12938" y="12034"/>
                      <a:pt x="13312" y="12081"/>
                      <a:pt x="13188" y="12174"/>
                    </a:cubicBezTo>
                    <a:cubicBezTo>
                      <a:pt x="13063" y="12268"/>
                      <a:pt x="13188" y="12174"/>
                      <a:pt x="13188" y="12252"/>
                    </a:cubicBezTo>
                    <a:cubicBezTo>
                      <a:pt x="13188" y="12330"/>
                      <a:pt x="13188" y="12252"/>
                      <a:pt x="13188" y="12362"/>
                    </a:cubicBezTo>
                    <a:lnTo>
                      <a:pt x="13281" y="12362"/>
                    </a:lnTo>
                    <a:cubicBezTo>
                      <a:pt x="13281" y="12439"/>
                      <a:pt x="13094" y="12595"/>
                      <a:pt x="13000" y="12564"/>
                    </a:cubicBezTo>
                    <a:cubicBezTo>
                      <a:pt x="12907" y="12533"/>
                      <a:pt x="13141" y="12564"/>
                      <a:pt x="13203" y="12564"/>
                    </a:cubicBezTo>
                    <a:cubicBezTo>
                      <a:pt x="13000" y="12751"/>
                      <a:pt x="13203" y="12564"/>
                      <a:pt x="13203" y="12564"/>
                    </a:cubicBezTo>
                    <a:cubicBezTo>
                      <a:pt x="13203" y="12564"/>
                      <a:pt x="13203" y="12564"/>
                      <a:pt x="13063" y="12704"/>
                    </a:cubicBezTo>
                    <a:cubicBezTo>
                      <a:pt x="13063" y="12704"/>
                      <a:pt x="13328" y="12533"/>
                      <a:pt x="13203" y="12704"/>
                    </a:cubicBezTo>
                    <a:lnTo>
                      <a:pt x="13203" y="12704"/>
                    </a:lnTo>
                    <a:cubicBezTo>
                      <a:pt x="13203" y="12704"/>
                      <a:pt x="13125" y="12798"/>
                      <a:pt x="13110" y="12845"/>
                    </a:cubicBezTo>
                    <a:cubicBezTo>
                      <a:pt x="13094" y="12892"/>
                      <a:pt x="13390" y="12845"/>
                      <a:pt x="13203" y="12845"/>
                    </a:cubicBezTo>
                    <a:cubicBezTo>
                      <a:pt x="13437" y="13016"/>
                      <a:pt x="12891" y="12923"/>
                      <a:pt x="12813" y="13032"/>
                    </a:cubicBezTo>
                    <a:cubicBezTo>
                      <a:pt x="13219" y="13032"/>
                      <a:pt x="12689" y="13032"/>
                      <a:pt x="12611" y="13157"/>
                    </a:cubicBezTo>
                    <a:cubicBezTo>
                      <a:pt x="12587" y="13102"/>
                      <a:pt x="12587" y="13040"/>
                      <a:pt x="12611" y="12985"/>
                    </a:cubicBezTo>
                    <a:cubicBezTo>
                      <a:pt x="12611" y="13110"/>
                      <a:pt x="12611" y="13188"/>
                      <a:pt x="12517" y="13281"/>
                    </a:cubicBezTo>
                    <a:cubicBezTo>
                      <a:pt x="12689" y="13281"/>
                      <a:pt x="12876" y="13016"/>
                      <a:pt x="13094" y="13079"/>
                    </a:cubicBezTo>
                    <a:cubicBezTo>
                      <a:pt x="12985" y="12938"/>
                      <a:pt x="13437" y="13079"/>
                      <a:pt x="13094" y="13266"/>
                    </a:cubicBezTo>
                    <a:cubicBezTo>
                      <a:pt x="13094" y="13266"/>
                      <a:pt x="13094" y="13266"/>
                      <a:pt x="13094" y="13266"/>
                    </a:cubicBezTo>
                    <a:cubicBezTo>
                      <a:pt x="13094" y="13266"/>
                      <a:pt x="13343" y="13125"/>
                      <a:pt x="13219" y="13266"/>
                    </a:cubicBezTo>
                    <a:cubicBezTo>
                      <a:pt x="13094" y="13406"/>
                      <a:pt x="13312" y="13266"/>
                      <a:pt x="13297" y="13266"/>
                    </a:cubicBezTo>
                    <a:cubicBezTo>
                      <a:pt x="13281" y="13266"/>
                      <a:pt x="13297" y="13422"/>
                      <a:pt x="13156" y="13406"/>
                    </a:cubicBezTo>
                    <a:cubicBezTo>
                      <a:pt x="13250" y="13406"/>
                      <a:pt x="13032" y="13609"/>
                      <a:pt x="13032" y="13499"/>
                    </a:cubicBezTo>
                    <a:cubicBezTo>
                      <a:pt x="13032" y="13390"/>
                      <a:pt x="13203" y="13655"/>
                      <a:pt x="13032" y="13624"/>
                    </a:cubicBezTo>
                    <a:cubicBezTo>
                      <a:pt x="13234" y="13718"/>
                      <a:pt x="12595" y="13983"/>
                      <a:pt x="12564" y="13874"/>
                    </a:cubicBezTo>
                    <a:cubicBezTo>
                      <a:pt x="12533" y="13764"/>
                      <a:pt x="12455" y="13874"/>
                      <a:pt x="12564" y="13874"/>
                    </a:cubicBezTo>
                    <a:cubicBezTo>
                      <a:pt x="12143" y="14232"/>
                      <a:pt x="11800" y="14279"/>
                      <a:pt x="11426" y="13983"/>
                    </a:cubicBezTo>
                    <a:cubicBezTo>
                      <a:pt x="11426" y="13983"/>
                      <a:pt x="11083" y="13983"/>
                      <a:pt x="11114" y="13842"/>
                    </a:cubicBezTo>
                    <a:cubicBezTo>
                      <a:pt x="10553" y="14185"/>
                      <a:pt x="10039" y="14544"/>
                      <a:pt x="9462" y="14856"/>
                    </a:cubicBezTo>
                    <a:cubicBezTo>
                      <a:pt x="9846" y="14695"/>
                      <a:pt x="10278" y="14695"/>
                      <a:pt x="10662" y="14856"/>
                    </a:cubicBezTo>
                    <a:cubicBezTo>
                      <a:pt x="10622" y="14910"/>
                      <a:pt x="10568" y="14953"/>
                      <a:pt x="10506" y="14980"/>
                    </a:cubicBezTo>
                    <a:cubicBezTo>
                      <a:pt x="10662" y="14980"/>
                      <a:pt x="10304" y="15323"/>
                      <a:pt x="10506" y="15370"/>
                    </a:cubicBezTo>
                    <a:cubicBezTo>
                      <a:pt x="10350" y="15448"/>
                      <a:pt x="10647" y="15666"/>
                      <a:pt x="10740" y="15542"/>
                    </a:cubicBezTo>
                    <a:cubicBezTo>
                      <a:pt x="10740" y="15542"/>
                      <a:pt x="10865" y="15666"/>
                      <a:pt x="10740" y="15651"/>
                    </a:cubicBezTo>
                    <a:cubicBezTo>
                      <a:pt x="10958" y="15651"/>
                      <a:pt x="10148" y="15900"/>
                      <a:pt x="10210" y="15760"/>
                    </a:cubicBezTo>
                    <a:cubicBezTo>
                      <a:pt x="10075" y="15886"/>
                      <a:pt x="9929" y="16001"/>
                      <a:pt x="9774" y="16103"/>
                    </a:cubicBezTo>
                    <a:lnTo>
                      <a:pt x="9774" y="16103"/>
                    </a:lnTo>
                    <a:cubicBezTo>
                      <a:pt x="9680" y="16103"/>
                      <a:pt x="9774" y="15962"/>
                      <a:pt x="9774" y="16009"/>
                    </a:cubicBezTo>
                    <a:cubicBezTo>
                      <a:pt x="9774" y="15807"/>
                      <a:pt x="10319" y="15417"/>
                      <a:pt x="10319" y="15682"/>
                    </a:cubicBezTo>
                    <a:cubicBezTo>
                      <a:pt x="10319" y="15588"/>
                      <a:pt x="10428" y="15682"/>
                      <a:pt x="10475" y="15604"/>
                    </a:cubicBezTo>
                    <a:cubicBezTo>
                      <a:pt x="10195" y="15495"/>
                      <a:pt x="10195" y="15604"/>
                      <a:pt x="10475" y="15401"/>
                    </a:cubicBezTo>
                    <a:lnTo>
                      <a:pt x="10475" y="15401"/>
                    </a:lnTo>
                    <a:lnTo>
                      <a:pt x="10475" y="15401"/>
                    </a:lnTo>
                    <a:cubicBezTo>
                      <a:pt x="10475" y="15495"/>
                      <a:pt x="10023" y="15651"/>
                      <a:pt x="10195" y="15401"/>
                    </a:cubicBezTo>
                    <a:cubicBezTo>
                      <a:pt x="10070" y="15542"/>
                      <a:pt x="10023" y="15495"/>
                      <a:pt x="9914" y="15401"/>
                    </a:cubicBezTo>
                    <a:cubicBezTo>
                      <a:pt x="9805" y="15308"/>
                      <a:pt x="9914" y="15510"/>
                      <a:pt x="9914" y="15573"/>
                    </a:cubicBezTo>
                    <a:cubicBezTo>
                      <a:pt x="9914" y="15635"/>
                      <a:pt x="9914" y="15729"/>
                      <a:pt x="9914" y="15573"/>
                    </a:cubicBezTo>
                    <a:cubicBezTo>
                      <a:pt x="9914" y="15417"/>
                      <a:pt x="9618" y="15713"/>
                      <a:pt x="9680" y="15573"/>
                    </a:cubicBezTo>
                    <a:cubicBezTo>
                      <a:pt x="9743" y="15432"/>
                      <a:pt x="9509" y="15651"/>
                      <a:pt x="9680" y="15573"/>
                    </a:cubicBezTo>
                    <a:cubicBezTo>
                      <a:pt x="9852" y="15495"/>
                      <a:pt x="9571" y="15697"/>
                      <a:pt x="9509" y="15729"/>
                    </a:cubicBezTo>
                    <a:lnTo>
                      <a:pt x="9509" y="15729"/>
                    </a:lnTo>
                    <a:cubicBezTo>
                      <a:pt x="9509" y="15729"/>
                      <a:pt x="9509" y="15807"/>
                      <a:pt x="9509" y="15729"/>
                    </a:cubicBezTo>
                    <a:cubicBezTo>
                      <a:pt x="9509" y="15651"/>
                      <a:pt x="9400" y="15853"/>
                      <a:pt x="9509" y="15729"/>
                    </a:cubicBezTo>
                    <a:cubicBezTo>
                      <a:pt x="9306" y="15729"/>
                      <a:pt x="8823" y="16648"/>
                      <a:pt x="9150" y="16337"/>
                    </a:cubicBezTo>
                    <a:cubicBezTo>
                      <a:pt x="9150" y="16461"/>
                      <a:pt x="8932" y="16633"/>
                      <a:pt x="8994" y="16414"/>
                    </a:cubicBezTo>
                    <a:cubicBezTo>
                      <a:pt x="8870" y="16570"/>
                      <a:pt x="8885" y="16555"/>
                      <a:pt x="8901" y="16414"/>
                    </a:cubicBezTo>
                    <a:cubicBezTo>
                      <a:pt x="8495" y="16565"/>
                      <a:pt x="8153" y="16851"/>
                      <a:pt x="7934" y="17225"/>
                    </a:cubicBezTo>
                    <a:lnTo>
                      <a:pt x="7934" y="17225"/>
                    </a:lnTo>
                    <a:lnTo>
                      <a:pt x="7934" y="17225"/>
                    </a:lnTo>
                    <a:cubicBezTo>
                      <a:pt x="7934" y="17225"/>
                      <a:pt x="7934" y="17085"/>
                      <a:pt x="7934" y="17007"/>
                    </a:cubicBezTo>
                    <a:cubicBezTo>
                      <a:pt x="7810" y="17225"/>
                      <a:pt x="7794" y="17506"/>
                      <a:pt x="7591" y="17693"/>
                    </a:cubicBezTo>
                    <a:lnTo>
                      <a:pt x="7591" y="17693"/>
                    </a:lnTo>
                    <a:lnTo>
                      <a:pt x="7498" y="17833"/>
                    </a:lnTo>
                    <a:cubicBezTo>
                      <a:pt x="7531" y="17730"/>
                      <a:pt x="7584" y="17635"/>
                      <a:pt x="7654" y="17552"/>
                    </a:cubicBezTo>
                    <a:cubicBezTo>
                      <a:pt x="7654" y="17552"/>
                      <a:pt x="7654" y="17474"/>
                      <a:pt x="7654" y="17443"/>
                    </a:cubicBezTo>
                    <a:lnTo>
                      <a:pt x="7654" y="17443"/>
                    </a:lnTo>
                    <a:cubicBezTo>
                      <a:pt x="7654" y="17256"/>
                      <a:pt x="7810" y="17116"/>
                      <a:pt x="7872" y="16944"/>
                    </a:cubicBezTo>
                    <a:cubicBezTo>
                      <a:pt x="7755" y="17096"/>
                      <a:pt x="7660" y="17264"/>
                      <a:pt x="7591" y="17443"/>
                    </a:cubicBezTo>
                    <a:cubicBezTo>
                      <a:pt x="7591" y="17350"/>
                      <a:pt x="7591" y="17272"/>
                      <a:pt x="7591" y="17178"/>
                    </a:cubicBezTo>
                    <a:cubicBezTo>
                      <a:pt x="7591" y="17085"/>
                      <a:pt x="7591" y="17771"/>
                      <a:pt x="7591" y="17537"/>
                    </a:cubicBezTo>
                    <a:cubicBezTo>
                      <a:pt x="7591" y="17537"/>
                      <a:pt x="7591" y="17786"/>
                      <a:pt x="7591" y="17724"/>
                    </a:cubicBezTo>
                    <a:cubicBezTo>
                      <a:pt x="7591" y="17662"/>
                      <a:pt x="7591" y="17802"/>
                      <a:pt x="7591" y="17833"/>
                    </a:cubicBezTo>
                    <a:cubicBezTo>
                      <a:pt x="7600" y="17792"/>
                      <a:pt x="7600" y="17749"/>
                      <a:pt x="7591" y="17708"/>
                    </a:cubicBezTo>
                    <a:cubicBezTo>
                      <a:pt x="7591" y="17833"/>
                      <a:pt x="7716" y="17895"/>
                      <a:pt x="7591" y="18020"/>
                    </a:cubicBezTo>
                    <a:lnTo>
                      <a:pt x="7591" y="18020"/>
                    </a:lnTo>
                    <a:cubicBezTo>
                      <a:pt x="7591" y="18145"/>
                      <a:pt x="7420" y="18285"/>
                      <a:pt x="7451" y="18129"/>
                    </a:cubicBezTo>
                    <a:cubicBezTo>
                      <a:pt x="7482" y="17973"/>
                      <a:pt x="7451" y="18223"/>
                      <a:pt x="7451" y="18238"/>
                    </a:cubicBezTo>
                    <a:cubicBezTo>
                      <a:pt x="7451" y="18254"/>
                      <a:pt x="7529" y="18238"/>
                      <a:pt x="7545" y="18363"/>
                    </a:cubicBezTo>
                    <a:cubicBezTo>
                      <a:pt x="7536" y="18332"/>
                      <a:pt x="7536" y="18300"/>
                      <a:pt x="7545" y="18269"/>
                    </a:cubicBezTo>
                    <a:cubicBezTo>
                      <a:pt x="7545" y="18363"/>
                      <a:pt x="7545" y="18410"/>
                      <a:pt x="7420" y="18472"/>
                    </a:cubicBezTo>
                    <a:cubicBezTo>
                      <a:pt x="7295" y="18534"/>
                      <a:pt x="7420" y="18472"/>
                      <a:pt x="7420" y="18379"/>
                    </a:cubicBezTo>
                    <a:cubicBezTo>
                      <a:pt x="7420" y="18285"/>
                      <a:pt x="7420" y="18379"/>
                      <a:pt x="7420" y="18379"/>
                    </a:cubicBezTo>
                    <a:cubicBezTo>
                      <a:pt x="7420" y="18379"/>
                      <a:pt x="7420" y="18581"/>
                      <a:pt x="7420" y="18503"/>
                    </a:cubicBezTo>
                    <a:lnTo>
                      <a:pt x="7420" y="18503"/>
                    </a:lnTo>
                    <a:lnTo>
                      <a:pt x="7420" y="18503"/>
                    </a:lnTo>
                    <a:lnTo>
                      <a:pt x="7420" y="18503"/>
                    </a:lnTo>
                    <a:cubicBezTo>
                      <a:pt x="6344" y="18503"/>
                      <a:pt x="5861" y="22681"/>
                      <a:pt x="5970" y="20857"/>
                    </a:cubicBezTo>
                    <a:cubicBezTo>
                      <a:pt x="5970" y="20857"/>
                      <a:pt x="5970" y="20857"/>
                      <a:pt x="5970" y="20857"/>
                    </a:cubicBezTo>
                    <a:cubicBezTo>
                      <a:pt x="5970" y="20857"/>
                      <a:pt x="5970" y="20857"/>
                      <a:pt x="5970" y="20857"/>
                    </a:cubicBezTo>
                    <a:lnTo>
                      <a:pt x="5970" y="20857"/>
                    </a:lnTo>
                    <a:cubicBezTo>
                      <a:pt x="5970" y="20764"/>
                      <a:pt x="5970" y="20608"/>
                      <a:pt x="5970" y="20514"/>
                    </a:cubicBezTo>
                    <a:cubicBezTo>
                      <a:pt x="5970" y="20421"/>
                      <a:pt x="5970" y="20514"/>
                      <a:pt x="5970" y="20608"/>
                    </a:cubicBezTo>
                    <a:cubicBezTo>
                      <a:pt x="5970" y="20701"/>
                      <a:pt x="6220" y="19766"/>
                      <a:pt x="5970" y="19735"/>
                    </a:cubicBezTo>
                    <a:cubicBezTo>
                      <a:pt x="5721" y="19704"/>
                      <a:pt x="5877" y="19828"/>
                      <a:pt x="5970" y="19735"/>
                    </a:cubicBezTo>
                    <a:lnTo>
                      <a:pt x="5970" y="19735"/>
                    </a:lnTo>
                    <a:lnTo>
                      <a:pt x="5970" y="19735"/>
                    </a:lnTo>
                    <a:cubicBezTo>
                      <a:pt x="5970" y="19735"/>
                      <a:pt x="5970" y="19579"/>
                      <a:pt x="5970" y="19641"/>
                    </a:cubicBezTo>
                    <a:cubicBezTo>
                      <a:pt x="5978" y="19605"/>
                      <a:pt x="5978" y="19568"/>
                      <a:pt x="5970" y="19532"/>
                    </a:cubicBezTo>
                    <a:lnTo>
                      <a:pt x="5970" y="19532"/>
                    </a:lnTo>
                    <a:cubicBezTo>
                      <a:pt x="5970" y="19532"/>
                      <a:pt x="5970" y="19454"/>
                      <a:pt x="5970" y="19407"/>
                    </a:cubicBezTo>
                    <a:lnTo>
                      <a:pt x="5970" y="19407"/>
                    </a:lnTo>
                    <a:cubicBezTo>
                      <a:pt x="5970" y="19407"/>
                      <a:pt x="5970" y="19407"/>
                      <a:pt x="5970" y="19407"/>
                    </a:cubicBezTo>
                    <a:cubicBezTo>
                      <a:pt x="5970" y="19407"/>
                      <a:pt x="5970" y="19407"/>
                      <a:pt x="5970" y="19407"/>
                    </a:cubicBezTo>
                    <a:cubicBezTo>
                      <a:pt x="5970" y="19407"/>
                      <a:pt x="5970" y="19314"/>
                      <a:pt x="5970" y="19267"/>
                    </a:cubicBezTo>
                    <a:lnTo>
                      <a:pt x="5970" y="19361"/>
                    </a:lnTo>
                    <a:cubicBezTo>
                      <a:pt x="5970" y="19267"/>
                      <a:pt x="5799" y="19361"/>
                      <a:pt x="5783" y="19470"/>
                    </a:cubicBezTo>
                    <a:lnTo>
                      <a:pt x="5783" y="19470"/>
                    </a:lnTo>
                    <a:cubicBezTo>
                      <a:pt x="5783" y="19641"/>
                      <a:pt x="5783" y="19750"/>
                      <a:pt x="5783" y="19828"/>
                    </a:cubicBezTo>
                    <a:cubicBezTo>
                      <a:pt x="5783" y="19906"/>
                      <a:pt x="5783" y="19485"/>
                      <a:pt x="5783" y="19750"/>
                    </a:cubicBezTo>
                    <a:lnTo>
                      <a:pt x="5783" y="19657"/>
                    </a:lnTo>
                    <a:cubicBezTo>
                      <a:pt x="5783" y="19548"/>
                      <a:pt x="5783" y="19485"/>
                      <a:pt x="5783" y="19376"/>
                    </a:cubicBezTo>
                    <a:cubicBezTo>
                      <a:pt x="5783" y="19267"/>
                      <a:pt x="5783" y="19376"/>
                      <a:pt x="5783" y="19376"/>
                    </a:cubicBezTo>
                    <a:cubicBezTo>
                      <a:pt x="5783" y="19594"/>
                      <a:pt x="5783" y="19127"/>
                      <a:pt x="5612" y="19376"/>
                    </a:cubicBezTo>
                    <a:cubicBezTo>
                      <a:pt x="5612" y="19376"/>
                      <a:pt x="5612" y="19236"/>
                      <a:pt x="5612" y="19174"/>
                    </a:cubicBezTo>
                    <a:cubicBezTo>
                      <a:pt x="5612" y="19111"/>
                      <a:pt x="5612" y="19283"/>
                      <a:pt x="5612" y="19174"/>
                    </a:cubicBezTo>
                    <a:cubicBezTo>
                      <a:pt x="5621" y="19251"/>
                      <a:pt x="5621" y="19330"/>
                      <a:pt x="5612" y="19407"/>
                    </a:cubicBezTo>
                    <a:lnTo>
                      <a:pt x="5612" y="19407"/>
                    </a:lnTo>
                    <a:lnTo>
                      <a:pt x="5612" y="19517"/>
                    </a:lnTo>
                    <a:lnTo>
                      <a:pt x="5612" y="19517"/>
                    </a:lnTo>
                    <a:cubicBezTo>
                      <a:pt x="5612" y="19594"/>
                      <a:pt x="5612" y="19517"/>
                      <a:pt x="5612" y="19517"/>
                    </a:cubicBezTo>
                    <a:lnTo>
                      <a:pt x="5612" y="19517"/>
                    </a:lnTo>
                    <a:cubicBezTo>
                      <a:pt x="5612" y="19517"/>
                      <a:pt x="5612" y="19517"/>
                      <a:pt x="5612" y="19517"/>
                    </a:cubicBezTo>
                    <a:lnTo>
                      <a:pt x="5612" y="19517"/>
                    </a:lnTo>
                    <a:cubicBezTo>
                      <a:pt x="5612" y="19517"/>
                      <a:pt x="5612" y="19610"/>
                      <a:pt x="5612" y="19610"/>
                    </a:cubicBezTo>
                    <a:lnTo>
                      <a:pt x="5612" y="19610"/>
                    </a:lnTo>
                    <a:cubicBezTo>
                      <a:pt x="5523" y="19891"/>
                      <a:pt x="5450" y="20178"/>
                      <a:pt x="5393" y="20467"/>
                    </a:cubicBezTo>
                    <a:cubicBezTo>
                      <a:pt x="5393" y="20467"/>
                      <a:pt x="5393" y="20358"/>
                      <a:pt x="5393" y="20327"/>
                    </a:cubicBezTo>
                    <a:cubicBezTo>
                      <a:pt x="5393" y="20296"/>
                      <a:pt x="5300" y="20748"/>
                      <a:pt x="5393" y="20530"/>
                    </a:cubicBezTo>
                    <a:cubicBezTo>
                      <a:pt x="5298" y="20978"/>
                      <a:pt x="5225" y="21430"/>
                      <a:pt x="5175" y="21886"/>
                    </a:cubicBezTo>
                    <a:cubicBezTo>
                      <a:pt x="5144" y="22306"/>
                      <a:pt x="5144" y="22728"/>
                      <a:pt x="5175" y="23149"/>
                    </a:cubicBezTo>
                    <a:cubicBezTo>
                      <a:pt x="5175" y="23149"/>
                      <a:pt x="5175" y="23149"/>
                      <a:pt x="5175" y="23149"/>
                    </a:cubicBezTo>
                    <a:cubicBezTo>
                      <a:pt x="5181" y="23123"/>
                      <a:pt x="5181" y="23096"/>
                      <a:pt x="5175" y="23071"/>
                    </a:cubicBezTo>
                    <a:lnTo>
                      <a:pt x="5175" y="23071"/>
                    </a:lnTo>
                    <a:cubicBezTo>
                      <a:pt x="5175" y="23071"/>
                      <a:pt x="5175" y="23071"/>
                      <a:pt x="5175" y="23071"/>
                    </a:cubicBezTo>
                    <a:lnTo>
                      <a:pt x="5175" y="23071"/>
                    </a:lnTo>
                    <a:cubicBezTo>
                      <a:pt x="5175" y="23071"/>
                      <a:pt x="5175" y="23195"/>
                      <a:pt x="5175" y="23258"/>
                    </a:cubicBezTo>
                    <a:lnTo>
                      <a:pt x="5175" y="23258"/>
                    </a:lnTo>
                    <a:lnTo>
                      <a:pt x="5175" y="23258"/>
                    </a:lnTo>
                    <a:cubicBezTo>
                      <a:pt x="5183" y="23190"/>
                      <a:pt x="5183" y="23122"/>
                      <a:pt x="5175" y="23055"/>
                    </a:cubicBezTo>
                    <a:lnTo>
                      <a:pt x="5175" y="23055"/>
                    </a:lnTo>
                    <a:cubicBezTo>
                      <a:pt x="5316" y="22915"/>
                      <a:pt x="5175" y="22244"/>
                      <a:pt x="5440" y="22385"/>
                    </a:cubicBezTo>
                    <a:cubicBezTo>
                      <a:pt x="5440" y="22385"/>
                      <a:pt x="5440" y="22291"/>
                      <a:pt x="5440" y="22385"/>
                    </a:cubicBezTo>
                    <a:cubicBezTo>
                      <a:pt x="5440" y="22478"/>
                      <a:pt x="5440" y="22385"/>
                      <a:pt x="5440" y="22385"/>
                    </a:cubicBezTo>
                    <a:cubicBezTo>
                      <a:pt x="5440" y="22385"/>
                      <a:pt x="5440" y="22525"/>
                      <a:pt x="5440" y="22385"/>
                    </a:cubicBezTo>
                    <a:cubicBezTo>
                      <a:pt x="5534" y="22650"/>
                      <a:pt x="5269" y="22946"/>
                      <a:pt x="5316" y="23227"/>
                    </a:cubicBezTo>
                    <a:cubicBezTo>
                      <a:pt x="5316" y="23227"/>
                      <a:pt x="5316" y="23476"/>
                      <a:pt x="5316" y="23523"/>
                    </a:cubicBezTo>
                    <a:cubicBezTo>
                      <a:pt x="5277" y="23863"/>
                      <a:pt x="4970" y="24107"/>
                      <a:pt x="4630" y="24068"/>
                    </a:cubicBezTo>
                    <a:cubicBezTo>
                      <a:pt x="4290" y="24029"/>
                      <a:pt x="4045" y="23723"/>
                      <a:pt x="4084" y="23382"/>
                    </a:cubicBezTo>
                    <a:cubicBezTo>
                      <a:pt x="4084" y="23554"/>
                      <a:pt x="4084" y="23912"/>
                      <a:pt x="3991" y="24193"/>
                    </a:cubicBezTo>
                    <a:lnTo>
                      <a:pt x="3991" y="24193"/>
                    </a:lnTo>
                    <a:cubicBezTo>
                      <a:pt x="3975" y="24254"/>
                      <a:pt x="3975" y="24319"/>
                      <a:pt x="3991" y="24380"/>
                    </a:cubicBezTo>
                    <a:lnTo>
                      <a:pt x="3991" y="24380"/>
                    </a:lnTo>
                    <a:cubicBezTo>
                      <a:pt x="3991" y="24380"/>
                      <a:pt x="3991" y="24380"/>
                      <a:pt x="3991" y="24458"/>
                    </a:cubicBezTo>
                    <a:cubicBezTo>
                      <a:pt x="3991" y="24536"/>
                      <a:pt x="4178" y="24629"/>
                      <a:pt x="4162" y="24458"/>
                    </a:cubicBezTo>
                    <a:cubicBezTo>
                      <a:pt x="4162" y="24552"/>
                      <a:pt x="4162" y="24598"/>
                      <a:pt x="4287" y="24676"/>
                    </a:cubicBezTo>
                    <a:lnTo>
                      <a:pt x="4287" y="24676"/>
                    </a:lnTo>
                    <a:cubicBezTo>
                      <a:pt x="4300" y="24722"/>
                      <a:pt x="4300" y="24771"/>
                      <a:pt x="4287" y="24817"/>
                    </a:cubicBezTo>
                    <a:cubicBezTo>
                      <a:pt x="4287" y="24692"/>
                      <a:pt x="4287" y="24817"/>
                      <a:pt x="4287" y="24910"/>
                    </a:cubicBezTo>
                    <a:lnTo>
                      <a:pt x="4287" y="24910"/>
                    </a:lnTo>
                    <a:cubicBezTo>
                      <a:pt x="4326" y="25121"/>
                      <a:pt x="4326" y="25338"/>
                      <a:pt x="4287" y="25549"/>
                    </a:cubicBezTo>
                    <a:lnTo>
                      <a:pt x="4287" y="25549"/>
                    </a:lnTo>
                    <a:cubicBezTo>
                      <a:pt x="4295" y="25689"/>
                      <a:pt x="4295" y="25830"/>
                      <a:pt x="4287" y="25970"/>
                    </a:cubicBezTo>
                    <a:cubicBezTo>
                      <a:pt x="4287" y="25970"/>
                      <a:pt x="4287" y="25877"/>
                      <a:pt x="4287" y="25814"/>
                    </a:cubicBezTo>
                    <a:cubicBezTo>
                      <a:pt x="4279" y="25923"/>
                      <a:pt x="4279" y="26033"/>
                      <a:pt x="4287" y="26142"/>
                    </a:cubicBezTo>
                    <a:cubicBezTo>
                      <a:pt x="4296" y="26116"/>
                      <a:pt x="4296" y="26089"/>
                      <a:pt x="4287" y="26064"/>
                    </a:cubicBezTo>
                    <a:cubicBezTo>
                      <a:pt x="4262" y="26192"/>
                      <a:pt x="4262" y="26325"/>
                      <a:pt x="4287" y="26453"/>
                    </a:cubicBezTo>
                    <a:cubicBezTo>
                      <a:pt x="4287" y="26375"/>
                      <a:pt x="4489" y="27264"/>
                      <a:pt x="4474" y="26983"/>
                    </a:cubicBezTo>
                    <a:cubicBezTo>
                      <a:pt x="4661" y="27467"/>
                      <a:pt x="4692" y="26438"/>
                      <a:pt x="5113" y="27654"/>
                    </a:cubicBezTo>
                    <a:cubicBezTo>
                      <a:pt x="5113" y="27560"/>
                      <a:pt x="5113" y="26625"/>
                      <a:pt x="5409" y="26859"/>
                    </a:cubicBezTo>
                    <a:cubicBezTo>
                      <a:pt x="5409" y="27061"/>
                      <a:pt x="5409" y="26859"/>
                      <a:pt x="5409" y="26749"/>
                    </a:cubicBezTo>
                    <a:cubicBezTo>
                      <a:pt x="5409" y="26640"/>
                      <a:pt x="5674" y="26594"/>
                      <a:pt x="5768" y="26531"/>
                    </a:cubicBezTo>
                    <a:cubicBezTo>
                      <a:pt x="5877" y="26734"/>
                      <a:pt x="5768" y="27077"/>
                      <a:pt x="5768" y="27357"/>
                    </a:cubicBezTo>
                    <a:cubicBezTo>
                      <a:pt x="6017" y="28043"/>
                      <a:pt x="5768" y="26937"/>
                      <a:pt x="6048" y="26921"/>
                    </a:cubicBezTo>
                    <a:cubicBezTo>
                      <a:pt x="6329" y="26905"/>
                      <a:pt x="5923" y="26812"/>
                      <a:pt x="6048" y="26718"/>
                    </a:cubicBezTo>
                    <a:cubicBezTo>
                      <a:pt x="6173" y="26625"/>
                      <a:pt x="6048" y="26921"/>
                      <a:pt x="6157" y="26983"/>
                    </a:cubicBezTo>
                    <a:cubicBezTo>
                      <a:pt x="6292" y="26991"/>
                      <a:pt x="6399" y="27098"/>
                      <a:pt x="6407" y="27233"/>
                    </a:cubicBezTo>
                    <a:cubicBezTo>
                      <a:pt x="6298" y="27420"/>
                      <a:pt x="6672" y="27357"/>
                      <a:pt x="6781" y="27404"/>
                    </a:cubicBezTo>
                    <a:cubicBezTo>
                      <a:pt x="6859" y="27825"/>
                      <a:pt x="7342" y="27264"/>
                      <a:pt x="7498" y="27591"/>
                    </a:cubicBezTo>
                    <a:cubicBezTo>
                      <a:pt x="7264" y="27591"/>
                      <a:pt x="7326" y="27591"/>
                      <a:pt x="7498" y="27809"/>
                    </a:cubicBezTo>
                    <a:cubicBezTo>
                      <a:pt x="7498" y="27654"/>
                      <a:pt x="8043" y="28230"/>
                      <a:pt x="7654" y="28230"/>
                    </a:cubicBezTo>
                    <a:cubicBezTo>
                      <a:pt x="8064" y="28271"/>
                      <a:pt x="8367" y="28630"/>
                      <a:pt x="8340" y="29041"/>
                    </a:cubicBezTo>
                    <a:cubicBezTo>
                      <a:pt x="8340" y="28745"/>
                      <a:pt x="8667" y="29181"/>
                      <a:pt x="8667" y="29322"/>
                    </a:cubicBezTo>
                    <a:cubicBezTo>
                      <a:pt x="8589" y="29134"/>
                      <a:pt x="9493" y="29322"/>
                      <a:pt x="9275" y="29524"/>
                    </a:cubicBezTo>
                    <a:cubicBezTo>
                      <a:pt x="9478" y="29368"/>
                      <a:pt x="9961" y="29976"/>
                      <a:pt x="9852" y="30085"/>
                    </a:cubicBezTo>
                    <a:cubicBezTo>
                      <a:pt x="9992" y="29852"/>
                      <a:pt x="10101" y="30615"/>
                      <a:pt x="10257" y="30787"/>
                    </a:cubicBezTo>
                    <a:cubicBezTo>
                      <a:pt x="10413" y="30958"/>
                      <a:pt x="9961" y="31364"/>
                      <a:pt x="10023" y="31644"/>
                    </a:cubicBezTo>
                    <a:cubicBezTo>
                      <a:pt x="10023" y="31410"/>
                      <a:pt x="10195" y="31426"/>
                      <a:pt x="10117" y="31644"/>
                    </a:cubicBezTo>
                    <a:cubicBezTo>
                      <a:pt x="10117" y="31644"/>
                      <a:pt x="10226" y="31364"/>
                      <a:pt x="10288" y="31519"/>
                    </a:cubicBezTo>
                    <a:cubicBezTo>
                      <a:pt x="10350" y="31675"/>
                      <a:pt x="10288" y="31519"/>
                      <a:pt x="10288" y="31519"/>
                    </a:cubicBezTo>
                    <a:cubicBezTo>
                      <a:pt x="10288" y="31052"/>
                      <a:pt x="11255" y="31894"/>
                      <a:pt x="10288" y="31847"/>
                    </a:cubicBezTo>
                    <a:cubicBezTo>
                      <a:pt x="10662" y="31847"/>
                      <a:pt x="10475" y="32049"/>
                      <a:pt x="10600" y="32330"/>
                    </a:cubicBezTo>
                    <a:cubicBezTo>
                      <a:pt x="10475" y="31831"/>
                      <a:pt x="10958" y="31379"/>
                      <a:pt x="11270" y="31831"/>
                    </a:cubicBezTo>
                    <a:cubicBezTo>
                      <a:pt x="11270" y="31831"/>
                      <a:pt x="11442" y="31925"/>
                      <a:pt x="11473" y="32003"/>
                    </a:cubicBezTo>
                    <a:cubicBezTo>
                      <a:pt x="11504" y="32081"/>
                      <a:pt x="11785" y="32096"/>
                      <a:pt x="11691" y="32190"/>
                    </a:cubicBezTo>
                    <a:cubicBezTo>
                      <a:pt x="11598" y="32283"/>
                      <a:pt x="11691" y="32424"/>
                      <a:pt x="11769" y="32517"/>
                    </a:cubicBezTo>
                    <a:cubicBezTo>
                      <a:pt x="11847" y="32611"/>
                      <a:pt x="11769" y="32205"/>
                      <a:pt x="11769" y="32408"/>
                    </a:cubicBezTo>
                    <a:cubicBezTo>
                      <a:pt x="11769" y="32268"/>
                      <a:pt x="11894" y="32314"/>
                      <a:pt x="11769" y="32221"/>
                    </a:cubicBezTo>
                    <a:cubicBezTo>
                      <a:pt x="11644" y="32127"/>
                      <a:pt x="12128" y="32455"/>
                      <a:pt x="12128" y="32346"/>
                    </a:cubicBezTo>
                    <a:cubicBezTo>
                      <a:pt x="12128" y="32237"/>
                      <a:pt x="12128" y="32346"/>
                      <a:pt x="12221" y="32439"/>
                    </a:cubicBezTo>
                    <a:cubicBezTo>
                      <a:pt x="12315" y="32533"/>
                      <a:pt x="12221" y="32439"/>
                      <a:pt x="12221" y="32439"/>
                    </a:cubicBezTo>
                    <a:lnTo>
                      <a:pt x="12221" y="32439"/>
                    </a:lnTo>
                    <a:lnTo>
                      <a:pt x="12221" y="32439"/>
                    </a:lnTo>
                    <a:cubicBezTo>
                      <a:pt x="13468" y="32813"/>
                      <a:pt x="14918" y="33998"/>
                      <a:pt x="13546" y="35323"/>
                    </a:cubicBezTo>
                    <a:cubicBezTo>
                      <a:pt x="13546" y="35245"/>
                      <a:pt x="13546" y="35105"/>
                      <a:pt x="13546" y="35229"/>
                    </a:cubicBezTo>
                    <a:cubicBezTo>
                      <a:pt x="13546" y="35354"/>
                      <a:pt x="13453" y="35229"/>
                      <a:pt x="13437" y="35229"/>
                    </a:cubicBezTo>
                    <a:lnTo>
                      <a:pt x="13437" y="35229"/>
                    </a:lnTo>
                    <a:cubicBezTo>
                      <a:pt x="13733" y="35744"/>
                      <a:pt x="14263" y="37770"/>
                      <a:pt x="13437" y="37614"/>
                    </a:cubicBezTo>
                    <a:cubicBezTo>
                      <a:pt x="13437" y="37614"/>
                      <a:pt x="13172" y="37614"/>
                      <a:pt x="13437" y="37614"/>
                    </a:cubicBezTo>
                    <a:cubicBezTo>
                      <a:pt x="13702" y="37614"/>
                      <a:pt x="13297" y="37614"/>
                      <a:pt x="13250" y="37614"/>
                    </a:cubicBezTo>
                    <a:cubicBezTo>
                      <a:pt x="13203" y="37614"/>
                      <a:pt x="13250" y="37692"/>
                      <a:pt x="13250" y="37833"/>
                    </a:cubicBezTo>
                    <a:cubicBezTo>
                      <a:pt x="13032" y="37661"/>
                      <a:pt x="12938" y="38113"/>
                      <a:pt x="12845" y="38082"/>
                    </a:cubicBezTo>
                    <a:cubicBezTo>
                      <a:pt x="12751" y="38051"/>
                      <a:pt x="12845" y="38082"/>
                      <a:pt x="12845" y="38082"/>
                    </a:cubicBezTo>
                    <a:cubicBezTo>
                      <a:pt x="12845" y="38082"/>
                      <a:pt x="12969" y="38160"/>
                      <a:pt x="12845" y="38160"/>
                    </a:cubicBezTo>
                    <a:cubicBezTo>
                      <a:pt x="12720" y="38160"/>
                      <a:pt x="12845" y="38160"/>
                      <a:pt x="12845" y="38160"/>
                    </a:cubicBezTo>
                    <a:cubicBezTo>
                      <a:pt x="12845" y="38160"/>
                      <a:pt x="13110" y="38503"/>
                      <a:pt x="13078" y="38597"/>
                    </a:cubicBezTo>
                    <a:cubicBezTo>
                      <a:pt x="13047" y="38690"/>
                      <a:pt x="13078" y="39657"/>
                      <a:pt x="13078" y="39329"/>
                    </a:cubicBezTo>
                    <a:cubicBezTo>
                      <a:pt x="13078" y="39329"/>
                      <a:pt x="13078" y="39329"/>
                      <a:pt x="13078" y="39251"/>
                    </a:cubicBezTo>
                    <a:cubicBezTo>
                      <a:pt x="13078" y="39173"/>
                      <a:pt x="13078" y="39127"/>
                      <a:pt x="13078" y="39127"/>
                    </a:cubicBezTo>
                    <a:cubicBezTo>
                      <a:pt x="13012" y="39062"/>
                      <a:pt x="12939" y="39004"/>
                      <a:pt x="12860" y="38955"/>
                    </a:cubicBezTo>
                    <a:cubicBezTo>
                      <a:pt x="12915" y="39005"/>
                      <a:pt x="12962" y="39063"/>
                      <a:pt x="13000" y="39127"/>
                    </a:cubicBezTo>
                    <a:cubicBezTo>
                      <a:pt x="13000" y="39127"/>
                      <a:pt x="13110" y="39345"/>
                      <a:pt x="13000" y="39251"/>
                    </a:cubicBezTo>
                    <a:cubicBezTo>
                      <a:pt x="13484" y="39968"/>
                      <a:pt x="13000" y="40171"/>
                      <a:pt x="12564" y="39766"/>
                    </a:cubicBezTo>
                    <a:lnTo>
                      <a:pt x="13203" y="40311"/>
                    </a:lnTo>
                    <a:lnTo>
                      <a:pt x="13203" y="40311"/>
                    </a:lnTo>
                    <a:cubicBezTo>
                      <a:pt x="13283" y="40379"/>
                      <a:pt x="13347" y="40464"/>
                      <a:pt x="13390" y="40561"/>
                    </a:cubicBezTo>
                    <a:lnTo>
                      <a:pt x="13390" y="40561"/>
                    </a:lnTo>
                    <a:cubicBezTo>
                      <a:pt x="13390" y="40561"/>
                      <a:pt x="13562" y="40794"/>
                      <a:pt x="13390" y="40732"/>
                    </a:cubicBezTo>
                    <a:cubicBezTo>
                      <a:pt x="13219" y="40670"/>
                      <a:pt x="13063" y="40732"/>
                      <a:pt x="12969" y="40732"/>
                    </a:cubicBezTo>
                    <a:cubicBezTo>
                      <a:pt x="12876" y="40732"/>
                      <a:pt x="13141" y="40872"/>
                      <a:pt x="13219" y="40950"/>
                    </a:cubicBezTo>
                    <a:lnTo>
                      <a:pt x="13219" y="40950"/>
                    </a:lnTo>
                    <a:cubicBezTo>
                      <a:pt x="13530" y="41262"/>
                      <a:pt x="13608" y="41356"/>
                      <a:pt x="13125" y="41106"/>
                    </a:cubicBezTo>
                    <a:cubicBezTo>
                      <a:pt x="13269" y="41259"/>
                      <a:pt x="13438" y="41385"/>
                      <a:pt x="13624" y="41480"/>
                    </a:cubicBezTo>
                    <a:cubicBezTo>
                      <a:pt x="13624" y="41480"/>
                      <a:pt x="13624" y="41480"/>
                      <a:pt x="13624" y="41480"/>
                    </a:cubicBezTo>
                    <a:lnTo>
                      <a:pt x="13624" y="41480"/>
                    </a:lnTo>
                    <a:cubicBezTo>
                      <a:pt x="13889" y="41683"/>
                      <a:pt x="13733" y="41699"/>
                      <a:pt x="14263" y="42073"/>
                    </a:cubicBezTo>
                    <a:lnTo>
                      <a:pt x="14263" y="42073"/>
                    </a:lnTo>
                    <a:lnTo>
                      <a:pt x="14263" y="42073"/>
                    </a:lnTo>
                    <a:lnTo>
                      <a:pt x="14263" y="42073"/>
                    </a:lnTo>
                    <a:cubicBezTo>
                      <a:pt x="14513" y="42353"/>
                      <a:pt x="14918" y="42416"/>
                      <a:pt x="15183" y="42665"/>
                    </a:cubicBezTo>
                    <a:lnTo>
                      <a:pt x="15183" y="42665"/>
                    </a:lnTo>
                    <a:lnTo>
                      <a:pt x="15183" y="42665"/>
                    </a:lnTo>
                    <a:lnTo>
                      <a:pt x="15183" y="42665"/>
                    </a:lnTo>
                    <a:lnTo>
                      <a:pt x="15323" y="42774"/>
                    </a:lnTo>
                    <a:lnTo>
                      <a:pt x="15323" y="42774"/>
                    </a:lnTo>
                    <a:lnTo>
                      <a:pt x="15510" y="42899"/>
                    </a:lnTo>
                    <a:cubicBezTo>
                      <a:pt x="15510" y="42899"/>
                      <a:pt x="15510" y="42899"/>
                      <a:pt x="15417" y="42899"/>
                    </a:cubicBezTo>
                    <a:cubicBezTo>
                      <a:pt x="15680" y="43066"/>
                      <a:pt x="15956" y="43212"/>
                      <a:pt x="16243" y="43335"/>
                    </a:cubicBezTo>
                    <a:lnTo>
                      <a:pt x="16243" y="43335"/>
                    </a:lnTo>
                    <a:cubicBezTo>
                      <a:pt x="16149" y="43335"/>
                      <a:pt x="16243" y="43335"/>
                      <a:pt x="16243" y="43335"/>
                    </a:cubicBezTo>
                    <a:lnTo>
                      <a:pt x="16243" y="43335"/>
                    </a:lnTo>
                    <a:cubicBezTo>
                      <a:pt x="16389" y="43422"/>
                      <a:pt x="16539" y="43501"/>
                      <a:pt x="16695" y="43569"/>
                    </a:cubicBezTo>
                    <a:lnTo>
                      <a:pt x="16492" y="43569"/>
                    </a:lnTo>
                    <a:close/>
                    <a:moveTo>
                      <a:pt x="18659" y="9182"/>
                    </a:moveTo>
                    <a:cubicBezTo>
                      <a:pt x="18410" y="9446"/>
                      <a:pt x="18659" y="9088"/>
                      <a:pt x="18659" y="9057"/>
                    </a:cubicBezTo>
                    <a:cubicBezTo>
                      <a:pt x="18659" y="9026"/>
                      <a:pt x="18534" y="9197"/>
                      <a:pt x="18410" y="9369"/>
                    </a:cubicBezTo>
                    <a:cubicBezTo>
                      <a:pt x="17989" y="9150"/>
                      <a:pt x="17770" y="9961"/>
                      <a:pt x="17505" y="9899"/>
                    </a:cubicBezTo>
                    <a:cubicBezTo>
                      <a:pt x="17724" y="10132"/>
                      <a:pt x="17334" y="9899"/>
                      <a:pt x="17381" y="10132"/>
                    </a:cubicBezTo>
                    <a:cubicBezTo>
                      <a:pt x="17256" y="9945"/>
                      <a:pt x="17381" y="10132"/>
                      <a:pt x="17381" y="10132"/>
                    </a:cubicBezTo>
                    <a:cubicBezTo>
                      <a:pt x="17381" y="9899"/>
                      <a:pt x="17381" y="10397"/>
                      <a:pt x="17240" y="10132"/>
                    </a:cubicBezTo>
                    <a:cubicBezTo>
                      <a:pt x="16960" y="10132"/>
                      <a:pt x="17240" y="10507"/>
                      <a:pt x="16866" y="10507"/>
                    </a:cubicBezTo>
                    <a:cubicBezTo>
                      <a:pt x="16866" y="10507"/>
                      <a:pt x="16633" y="10912"/>
                      <a:pt x="16570" y="10803"/>
                    </a:cubicBezTo>
                    <a:cubicBezTo>
                      <a:pt x="16508" y="10694"/>
                      <a:pt x="16196" y="11302"/>
                      <a:pt x="16336" y="10990"/>
                    </a:cubicBezTo>
                    <a:cubicBezTo>
                      <a:pt x="15915" y="11255"/>
                      <a:pt x="16430" y="10834"/>
                      <a:pt x="16103" y="10896"/>
                    </a:cubicBezTo>
                    <a:cubicBezTo>
                      <a:pt x="16492" y="10600"/>
                      <a:pt x="16399" y="10662"/>
                      <a:pt x="15884" y="10694"/>
                    </a:cubicBezTo>
                    <a:cubicBezTo>
                      <a:pt x="15962" y="10267"/>
                      <a:pt x="16121" y="9860"/>
                      <a:pt x="16352" y="9493"/>
                    </a:cubicBezTo>
                    <a:cubicBezTo>
                      <a:pt x="16352" y="9275"/>
                      <a:pt x="16539" y="9493"/>
                      <a:pt x="16742" y="9197"/>
                    </a:cubicBezTo>
                    <a:cubicBezTo>
                      <a:pt x="16321" y="9353"/>
                      <a:pt x="16321" y="9197"/>
                      <a:pt x="16742" y="8839"/>
                    </a:cubicBezTo>
                    <a:cubicBezTo>
                      <a:pt x="16648" y="8839"/>
                      <a:pt x="16523" y="8839"/>
                      <a:pt x="16648" y="8839"/>
                    </a:cubicBezTo>
                    <a:cubicBezTo>
                      <a:pt x="16773" y="8839"/>
                      <a:pt x="16648" y="8745"/>
                      <a:pt x="17209" y="8480"/>
                    </a:cubicBezTo>
                    <a:cubicBezTo>
                      <a:pt x="16071" y="8901"/>
                      <a:pt x="17599" y="8137"/>
                      <a:pt x="17038" y="8262"/>
                    </a:cubicBezTo>
                    <a:cubicBezTo>
                      <a:pt x="17490" y="7856"/>
                      <a:pt x="17381" y="8433"/>
                      <a:pt x="17537" y="8262"/>
                    </a:cubicBezTo>
                    <a:cubicBezTo>
                      <a:pt x="17240" y="8262"/>
                      <a:pt x="17848" y="8044"/>
                      <a:pt x="17537" y="8137"/>
                    </a:cubicBezTo>
                    <a:cubicBezTo>
                      <a:pt x="17646" y="8028"/>
                      <a:pt x="17396" y="8137"/>
                      <a:pt x="17194" y="8137"/>
                    </a:cubicBezTo>
                    <a:cubicBezTo>
                      <a:pt x="17630" y="7747"/>
                      <a:pt x="17459" y="8246"/>
                      <a:pt x="17786" y="7872"/>
                    </a:cubicBezTo>
                    <a:cubicBezTo>
                      <a:pt x="17505" y="8028"/>
                      <a:pt x="17552" y="7763"/>
                      <a:pt x="17786" y="7872"/>
                    </a:cubicBezTo>
                    <a:cubicBezTo>
                      <a:pt x="17976" y="7744"/>
                      <a:pt x="18154" y="7598"/>
                      <a:pt x="18316" y="7436"/>
                    </a:cubicBezTo>
                    <a:cubicBezTo>
                      <a:pt x="18145" y="7436"/>
                      <a:pt x="18316" y="6594"/>
                      <a:pt x="18472" y="7217"/>
                    </a:cubicBezTo>
                    <a:cubicBezTo>
                      <a:pt x="18472" y="7217"/>
                      <a:pt x="18612" y="6999"/>
                      <a:pt x="18659" y="7046"/>
                    </a:cubicBezTo>
                    <a:cubicBezTo>
                      <a:pt x="18706" y="7093"/>
                      <a:pt x="19189" y="6344"/>
                      <a:pt x="18768" y="6703"/>
                    </a:cubicBezTo>
                    <a:cubicBezTo>
                      <a:pt x="18347" y="7061"/>
                      <a:pt x="19205" y="6282"/>
                      <a:pt x="19735" y="5752"/>
                    </a:cubicBezTo>
                    <a:cubicBezTo>
                      <a:pt x="21013" y="4770"/>
                      <a:pt x="19735" y="4988"/>
                      <a:pt x="20795" y="4521"/>
                    </a:cubicBezTo>
                    <a:cubicBezTo>
                      <a:pt x="20950" y="4521"/>
                      <a:pt x="21060" y="4599"/>
                      <a:pt x="21169" y="4396"/>
                    </a:cubicBezTo>
                    <a:cubicBezTo>
                      <a:pt x="23897" y="3227"/>
                      <a:pt x="23211" y="3866"/>
                      <a:pt x="24286" y="3351"/>
                    </a:cubicBezTo>
                    <a:cubicBezTo>
                      <a:pt x="23974" y="3523"/>
                      <a:pt x="24286" y="3351"/>
                      <a:pt x="24395" y="3351"/>
                    </a:cubicBezTo>
                    <a:cubicBezTo>
                      <a:pt x="24052" y="3585"/>
                      <a:pt x="24239" y="3351"/>
                      <a:pt x="24146" y="3585"/>
                    </a:cubicBezTo>
                    <a:cubicBezTo>
                      <a:pt x="24286" y="3757"/>
                      <a:pt x="23382" y="3850"/>
                      <a:pt x="23787" y="3819"/>
                    </a:cubicBezTo>
                    <a:cubicBezTo>
                      <a:pt x="24193" y="3788"/>
                      <a:pt x="23647" y="3944"/>
                      <a:pt x="23787" y="3928"/>
                    </a:cubicBezTo>
                    <a:cubicBezTo>
                      <a:pt x="24099" y="3679"/>
                      <a:pt x="23787" y="4069"/>
                      <a:pt x="23663" y="4084"/>
                    </a:cubicBezTo>
                    <a:cubicBezTo>
                      <a:pt x="22946" y="4645"/>
                      <a:pt x="24536" y="3398"/>
                      <a:pt x="23943" y="4193"/>
                    </a:cubicBezTo>
                    <a:cubicBezTo>
                      <a:pt x="23694" y="4396"/>
                      <a:pt x="23429" y="4411"/>
                      <a:pt x="23647" y="4489"/>
                    </a:cubicBezTo>
                    <a:cubicBezTo>
                      <a:pt x="23298" y="4794"/>
                      <a:pt x="23057" y="5205"/>
                      <a:pt x="22961" y="5659"/>
                    </a:cubicBezTo>
                    <a:cubicBezTo>
                      <a:pt x="22868" y="5331"/>
                      <a:pt x="22462" y="5830"/>
                      <a:pt x="22790" y="5783"/>
                    </a:cubicBezTo>
                    <a:cubicBezTo>
                      <a:pt x="22540" y="5986"/>
                      <a:pt x="22790" y="5783"/>
                      <a:pt x="22696" y="5986"/>
                    </a:cubicBezTo>
                    <a:cubicBezTo>
                      <a:pt x="22603" y="6189"/>
                      <a:pt x="22540" y="5986"/>
                      <a:pt x="22462" y="5986"/>
                    </a:cubicBezTo>
                    <a:cubicBezTo>
                      <a:pt x="22385" y="5986"/>
                      <a:pt x="22462" y="6313"/>
                      <a:pt x="22462" y="6142"/>
                    </a:cubicBezTo>
                    <a:cubicBezTo>
                      <a:pt x="22462" y="6235"/>
                      <a:pt x="22743" y="6469"/>
                      <a:pt x="22462" y="6516"/>
                    </a:cubicBezTo>
                    <a:cubicBezTo>
                      <a:pt x="22026" y="6126"/>
                      <a:pt x="22462" y="6874"/>
                      <a:pt x="22182" y="6796"/>
                    </a:cubicBezTo>
                    <a:cubicBezTo>
                      <a:pt x="21745" y="7015"/>
                      <a:pt x="22182" y="6407"/>
                      <a:pt x="21901" y="6796"/>
                    </a:cubicBezTo>
                    <a:cubicBezTo>
                      <a:pt x="21901" y="6609"/>
                      <a:pt x="21605" y="6906"/>
                      <a:pt x="21543" y="6921"/>
                    </a:cubicBezTo>
                    <a:cubicBezTo>
                      <a:pt x="21917" y="6921"/>
                      <a:pt x="21543" y="7046"/>
                      <a:pt x="21543" y="7061"/>
                    </a:cubicBezTo>
                    <a:cubicBezTo>
                      <a:pt x="21995" y="7061"/>
                      <a:pt x="21543" y="7186"/>
                      <a:pt x="21621" y="7249"/>
                    </a:cubicBezTo>
                    <a:cubicBezTo>
                      <a:pt x="22182" y="7342"/>
                      <a:pt x="21340" y="8807"/>
                      <a:pt x="21402" y="7498"/>
                    </a:cubicBezTo>
                    <a:cubicBezTo>
                      <a:pt x="20904" y="7171"/>
                      <a:pt x="21761" y="7856"/>
                      <a:pt x="20997" y="7732"/>
                    </a:cubicBezTo>
                    <a:cubicBezTo>
                      <a:pt x="21137" y="7841"/>
                      <a:pt x="20576" y="7966"/>
                      <a:pt x="20810" y="7919"/>
                    </a:cubicBezTo>
                    <a:cubicBezTo>
                      <a:pt x="21044" y="7872"/>
                      <a:pt x="21169" y="8090"/>
                      <a:pt x="20810" y="8028"/>
                    </a:cubicBezTo>
                    <a:cubicBezTo>
                      <a:pt x="20452" y="7966"/>
                      <a:pt x="21855" y="8028"/>
                      <a:pt x="21278" y="8277"/>
                    </a:cubicBezTo>
                    <a:cubicBezTo>
                      <a:pt x="21278" y="8277"/>
                      <a:pt x="21028" y="8464"/>
                      <a:pt x="20997" y="8418"/>
                    </a:cubicBezTo>
                    <a:cubicBezTo>
                      <a:pt x="20966" y="8371"/>
                      <a:pt x="19844" y="8948"/>
                      <a:pt x="19922" y="8527"/>
                    </a:cubicBezTo>
                    <a:cubicBezTo>
                      <a:pt x="20000" y="8106"/>
                      <a:pt x="19922" y="8745"/>
                      <a:pt x="19812" y="8761"/>
                    </a:cubicBezTo>
                    <a:cubicBezTo>
                      <a:pt x="19407" y="8792"/>
                      <a:pt x="18706" y="9556"/>
                      <a:pt x="18659" y="9182"/>
                    </a:cubicBezTo>
                    <a:close/>
                    <a:moveTo>
                      <a:pt x="21480" y="10382"/>
                    </a:moveTo>
                    <a:cubicBezTo>
                      <a:pt x="21480" y="10507"/>
                      <a:pt x="21293" y="10475"/>
                      <a:pt x="21247" y="10382"/>
                    </a:cubicBezTo>
                    <a:cubicBezTo>
                      <a:pt x="21200" y="10288"/>
                      <a:pt x="21075" y="10382"/>
                      <a:pt x="21122" y="10273"/>
                    </a:cubicBezTo>
                    <a:cubicBezTo>
                      <a:pt x="21169" y="10164"/>
                      <a:pt x="21044" y="10273"/>
                      <a:pt x="21122" y="10273"/>
                    </a:cubicBezTo>
                    <a:cubicBezTo>
                      <a:pt x="21030" y="10296"/>
                      <a:pt x="20933" y="10296"/>
                      <a:pt x="20841" y="10273"/>
                    </a:cubicBezTo>
                    <a:cubicBezTo>
                      <a:pt x="20841" y="10273"/>
                      <a:pt x="20841" y="10273"/>
                      <a:pt x="20841" y="10273"/>
                    </a:cubicBezTo>
                    <a:cubicBezTo>
                      <a:pt x="20841" y="10273"/>
                      <a:pt x="20841" y="10273"/>
                      <a:pt x="20841" y="10195"/>
                    </a:cubicBezTo>
                    <a:cubicBezTo>
                      <a:pt x="20841" y="10117"/>
                      <a:pt x="20841" y="10195"/>
                      <a:pt x="20841" y="10195"/>
                    </a:cubicBezTo>
                    <a:cubicBezTo>
                      <a:pt x="20841" y="10195"/>
                      <a:pt x="20982" y="10070"/>
                      <a:pt x="21060" y="10117"/>
                    </a:cubicBezTo>
                    <a:cubicBezTo>
                      <a:pt x="21137" y="10164"/>
                      <a:pt x="20826" y="10210"/>
                      <a:pt x="21060" y="10008"/>
                    </a:cubicBezTo>
                    <a:cubicBezTo>
                      <a:pt x="21060" y="10086"/>
                      <a:pt x="20919" y="10008"/>
                      <a:pt x="21060" y="9930"/>
                    </a:cubicBezTo>
                    <a:cubicBezTo>
                      <a:pt x="21200" y="9852"/>
                      <a:pt x="20826" y="9930"/>
                      <a:pt x="20826" y="9821"/>
                    </a:cubicBezTo>
                    <a:cubicBezTo>
                      <a:pt x="20826" y="9711"/>
                      <a:pt x="21060" y="9743"/>
                      <a:pt x="21075" y="9821"/>
                    </a:cubicBezTo>
                    <a:cubicBezTo>
                      <a:pt x="21091" y="9899"/>
                      <a:pt x="21231" y="9821"/>
                      <a:pt x="21247" y="9727"/>
                    </a:cubicBezTo>
                    <a:cubicBezTo>
                      <a:pt x="21262" y="9634"/>
                      <a:pt x="21137" y="9727"/>
                      <a:pt x="21247" y="9727"/>
                    </a:cubicBezTo>
                    <a:cubicBezTo>
                      <a:pt x="21356" y="9727"/>
                      <a:pt x="21137" y="9727"/>
                      <a:pt x="21247" y="9649"/>
                    </a:cubicBezTo>
                    <a:cubicBezTo>
                      <a:pt x="21356" y="9571"/>
                      <a:pt x="21247" y="9649"/>
                      <a:pt x="21247" y="9649"/>
                    </a:cubicBezTo>
                    <a:cubicBezTo>
                      <a:pt x="21247" y="9649"/>
                      <a:pt x="21247" y="9727"/>
                      <a:pt x="21247" y="9649"/>
                    </a:cubicBezTo>
                    <a:cubicBezTo>
                      <a:pt x="21247" y="9571"/>
                      <a:pt x="21247" y="9649"/>
                      <a:pt x="21247" y="9649"/>
                    </a:cubicBezTo>
                    <a:cubicBezTo>
                      <a:pt x="21075" y="9867"/>
                      <a:pt x="20982" y="9509"/>
                      <a:pt x="21137" y="9649"/>
                    </a:cubicBezTo>
                    <a:cubicBezTo>
                      <a:pt x="21293" y="9789"/>
                      <a:pt x="21137" y="9509"/>
                      <a:pt x="21137" y="9649"/>
                    </a:cubicBezTo>
                    <a:cubicBezTo>
                      <a:pt x="21137" y="9789"/>
                      <a:pt x="21137" y="9649"/>
                      <a:pt x="21137" y="9649"/>
                    </a:cubicBezTo>
                    <a:cubicBezTo>
                      <a:pt x="21137" y="9649"/>
                      <a:pt x="21137" y="9556"/>
                      <a:pt x="21137" y="9649"/>
                    </a:cubicBezTo>
                    <a:cubicBezTo>
                      <a:pt x="21137" y="9743"/>
                      <a:pt x="21137" y="9509"/>
                      <a:pt x="21137" y="9649"/>
                    </a:cubicBezTo>
                    <a:cubicBezTo>
                      <a:pt x="21137" y="9789"/>
                      <a:pt x="21247" y="9649"/>
                      <a:pt x="21137" y="9649"/>
                    </a:cubicBezTo>
                    <a:cubicBezTo>
                      <a:pt x="21028" y="9649"/>
                      <a:pt x="21231" y="9649"/>
                      <a:pt x="21137" y="9649"/>
                    </a:cubicBezTo>
                    <a:cubicBezTo>
                      <a:pt x="21044" y="9649"/>
                      <a:pt x="20982" y="9509"/>
                      <a:pt x="21137" y="9509"/>
                    </a:cubicBezTo>
                    <a:cubicBezTo>
                      <a:pt x="20872" y="9415"/>
                      <a:pt x="21231" y="9415"/>
                      <a:pt x="21137" y="9602"/>
                    </a:cubicBezTo>
                    <a:cubicBezTo>
                      <a:pt x="21137" y="9602"/>
                      <a:pt x="21137" y="9602"/>
                      <a:pt x="21137" y="9602"/>
                    </a:cubicBezTo>
                    <a:cubicBezTo>
                      <a:pt x="21137" y="9602"/>
                      <a:pt x="21137" y="9711"/>
                      <a:pt x="21137" y="9602"/>
                    </a:cubicBezTo>
                    <a:cubicBezTo>
                      <a:pt x="21147" y="9627"/>
                      <a:pt x="21147" y="9655"/>
                      <a:pt x="21137" y="9680"/>
                    </a:cubicBezTo>
                    <a:cubicBezTo>
                      <a:pt x="21137" y="9680"/>
                      <a:pt x="21137" y="9758"/>
                      <a:pt x="21137" y="9789"/>
                    </a:cubicBezTo>
                    <a:cubicBezTo>
                      <a:pt x="21137" y="9821"/>
                      <a:pt x="21137" y="9789"/>
                      <a:pt x="21137" y="9867"/>
                    </a:cubicBezTo>
                    <a:cubicBezTo>
                      <a:pt x="21156" y="9800"/>
                      <a:pt x="21201" y="9744"/>
                      <a:pt x="21262" y="9711"/>
                    </a:cubicBezTo>
                    <a:cubicBezTo>
                      <a:pt x="21262" y="9899"/>
                      <a:pt x="21262" y="9509"/>
                      <a:pt x="21418" y="9493"/>
                    </a:cubicBezTo>
                    <a:cubicBezTo>
                      <a:pt x="21574" y="9478"/>
                      <a:pt x="21418" y="9602"/>
                      <a:pt x="21418" y="9618"/>
                    </a:cubicBezTo>
                    <a:cubicBezTo>
                      <a:pt x="21418" y="9634"/>
                      <a:pt x="21496" y="9493"/>
                      <a:pt x="21590" y="9509"/>
                    </a:cubicBezTo>
                    <a:cubicBezTo>
                      <a:pt x="21628" y="9598"/>
                      <a:pt x="21628" y="9700"/>
                      <a:pt x="21590" y="9789"/>
                    </a:cubicBezTo>
                    <a:cubicBezTo>
                      <a:pt x="21683" y="9711"/>
                      <a:pt x="21590" y="9493"/>
                      <a:pt x="21745" y="9540"/>
                    </a:cubicBezTo>
                    <a:cubicBezTo>
                      <a:pt x="21901" y="9587"/>
                      <a:pt x="21886" y="9415"/>
                      <a:pt x="21870" y="9540"/>
                    </a:cubicBezTo>
                    <a:cubicBezTo>
                      <a:pt x="21855" y="9665"/>
                      <a:pt x="22104" y="9275"/>
                      <a:pt x="22073" y="9540"/>
                    </a:cubicBezTo>
                    <a:cubicBezTo>
                      <a:pt x="22042" y="9805"/>
                      <a:pt x="22182" y="9400"/>
                      <a:pt x="22260" y="9540"/>
                    </a:cubicBezTo>
                    <a:cubicBezTo>
                      <a:pt x="22338" y="9680"/>
                      <a:pt x="22104" y="9680"/>
                      <a:pt x="22260" y="9649"/>
                    </a:cubicBezTo>
                    <a:cubicBezTo>
                      <a:pt x="22416" y="9618"/>
                      <a:pt x="22166" y="9649"/>
                      <a:pt x="22260" y="9805"/>
                    </a:cubicBezTo>
                    <a:cubicBezTo>
                      <a:pt x="22353" y="9961"/>
                      <a:pt x="22260" y="9805"/>
                      <a:pt x="22260" y="9805"/>
                    </a:cubicBezTo>
                    <a:cubicBezTo>
                      <a:pt x="22462" y="9805"/>
                      <a:pt x="22338" y="9805"/>
                      <a:pt x="22260" y="9914"/>
                    </a:cubicBezTo>
                    <a:cubicBezTo>
                      <a:pt x="22182" y="10023"/>
                      <a:pt x="22260" y="10054"/>
                      <a:pt x="22260" y="10117"/>
                    </a:cubicBezTo>
                    <a:cubicBezTo>
                      <a:pt x="22120" y="9914"/>
                      <a:pt x="22260" y="10382"/>
                      <a:pt x="22042" y="10117"/>
                    </a:cubicBezTo>
                    <a:cubicBezTo>
                      <a:pt x="22042" y="10226"/>
                      <a:pt x="21839" y="10226"/>
                      <a:pt x="21761" y="10335"/>
                    </a:cubicBezTo>
                    <a:lnTo>
                      <a:pt x="21761" y="10335"/>
                    </a:lnTo>
                    <a:cubicBezTo>
                      <a:pt x="21761" y="10335"/>
                      <a:pt x="21636" y="10335"/>
                      <a:pt x="21590" y="10335"/>
                    </a:cubicBezTo>
                    <a:cubicBezTo>
                      <a:pt x="21543" y="10335"/>
                      <a:pt x="21590" y="10335"/>
                      <a:pt x="21590" y="10335"/>
                    </a:cubicBezTo>
                    <a:cubicBezTo>
                      <a:pt x="21590" y="10335"/>
                      <a:pt x="21543" y="10522"/>
                      <a:pt x="21480" y="10382"/>
                    </a:cubicBezTo>
                    <a:close/>
                    <a:moveTo>
                      <a:pt x="34652" y="37692"/>
                    </a:moveTo>
                    <a:cubicBezTo>
                      <a:pt x="34543" y="37412"/>
                      <a:pt x="35011" y="37100"/>
                      <a:pt x="35214" y="36882"/>
                    </a:cubicBezTo>
                    <a:cubicBezTo>
                      <a:pt x="35416" y="36664"/>
                      <a:pt x="35416" y="36056"/>
                      <a:pt x="35884" y="35869"/>
                    </a:cubicBezTo>
                    <a:lnTo>
                      <a:pt x="35884" y="35869"/>
                    </a:lnTo>
                    <a:cubicBezTo>
                      <a:pt x="35884" y="35869"/>
                      <a:pt x="35884" y="35869"/>
                      <a:pt x="35884" y="35869"/>
                    </a:cubicBezTo>
                    <a:cubicBezTo>
                      <a:pt x="35884" y="35869"/>
                      <a:pt x="35977" y="35869"/>
                      <a:pt x="36102" y="35744"/>
                    </a:cubicBezTo>
                    <a:cubicBezTo>
                      <a:pt x="35993" y="36009"/>
                      <a:pt x="36367" y="35463"/>
                      <a:pt x="36258" y="35744"/>
                    </a:cubicBezTo>
                    <a:cubicBezTo>
                      <a:pt x="36149" y="36024"/>
                      <a:pt x="36258" y="35744"/>
                      <a:pt x="36258" y="35744"/>
                    </a:cubicBezTo>
                    <a:cubicBezTo>
                      <a:pt x="36258" y="35744"/>
                      <a:pt x="36258" y="35744"/>
                      <a:pt x="36258" y="35619"/>
                    </a:cubicBezTo>
                    <a:cubicBezTo>
                      <a:pt x="36258" y="35494"/>
                      <a:pt x="36367" y="35619"/>
                      <a:pt x="36258" y="35619"/>
                    </a:cubicBezTo>
                    <a:lnTo>
                      <a:pt x="36258" y="35619"/>
                    </a:lnTo>
                    <a:cubicBezTo>
                      <a:pt x="36258" y="35619"/>
                      <a:pt x="36258" y="35619"/>
                      <a:pt x="36258" y="35728"/>
                    </a:cubicBezTo>
                    <a:cubicBezTo>
                      <a:pt x="36258" y="35837"/>
                      <a:pt x="36383" y="35572"/>
                      <a:pt x="36398" y="35635"/>
                    </a:cubicBezTo>
                    <a:cubicBezTo>
                      <a:pt x="36414" y="35697"/>
                      <a:pt x="36398" y="35635"/>
                      <a:pt x="36398" y="35526"/>
                    </a:cubicBezTo>
                    <a:cubicBezTo>
                      <a:pt x="36398" y="35417"/>
                      <a:pt x="36538" y="35526"/>
                      <a:pt x="36398" y="35432"/>
                    </a:cubicBezTo>
                    <a:cubicBezTo>
                      <a:pt x="36258" y="35339"/>
                      <a:pt x="36398" y="35526"/>
                      <a:pt x="36538" y="35339"/>
                    </a:cubicBezTo>
                    <a:cubicBezTo>
                      <a:pt x="36679" y="35152"/>
                      <a:pt x="36788" y="35152"/>
                      <a:pt x="36741" y="34996"/>
                    </a:cubicBezTo>
                    <a:cubicBezTo>
                      <a:pt x="36694" y="34840"/>
                      <a:pt x="36835" y="34996"/>
                      <a:pt x="36913" y="34887"/>
                    </a:cubicBezTo>
                    <a:cubicBezTo>
                      <a:pt x="36991" y="34777"/>
                      <a:pt x="36913" y="35089"/>
                      <a:pt x="36913" y="35089"/>
                    </a:cubicBezTo>
                    <a:cubicBezTo>
                      <a:pt x="37521" y="35323"/>
                      <a:pt x="34044" y="39532"/>
                      <a:pt x="34652" y="37692"/>
                    </a:cubicBezTo>
                    <a:close/>
                    <a:moveTo>
                      <a:pt x="44613" y="24131"/>
                    </a:moveTo>
                    <a:cubicBezTo>
                      <a:pt x="44613" y="24131"/>
                      <a:pt x="44613" y="24131"/>
                      <a:pt x="44613" y="24131"/>
                    </a:cubicBezTo>
                    <a:cubicBezTo>
                      <a:pt x="44296" y="25340"/>
                      <a:pt x="44062" y="26569"/>
                      <a:pt x="43912" y="27809"/>
                    </a:cubicBezTo>
                    <a:cubicBezTo>
                      <a:pt x="43912" y="27716"/>
                      <a:pt x="43756" y="27934"/>
                      <a:pt x="43756" y="27997"/>
                    </a:cubicBezTo>
                    <a:cubicBezTo>
                      <a:pt x="43584" y="28651"/>
                      <a:pt x="43179" y="24380"/>
                      <a:pt x="43210" y="24006"/>
                    </a:cubicBezTo>
                    <a:cubicBezTo>
                      <a:pt x="43070" y="24006"/>
                      <a:pt x="43210" y="23834"/>
                      <a:pt x="43210" y="23741"/>
                    </a:cubicBezTo>
                    <a:cubicBezTo>
                      <a:pt x="43210" y="23647"/>
                      <a:pt x="43132" y="23741"/>
                      <a:pt x="43132" y="23741"/>
                    </a:cubicBezTo>
                    <a:cubicBezTo>
                      <a:pt x="43132" y="24099"/>
                      <a:pt x="42992" y="24832"/>
                      <a:pt x="42743" y="24146"/>
                    </a:cubicBezTo>
                    <a:cubicBezTo>
                      <a:pt x="42743" y="24146"/>
                      <a:pt x="42571" y="23897"/>
                      <a:pt x="42649" y="23944"/>
                    </a:cubicBezTo>
                    <a:lnTo>
                      <a:pt x="42649" y="23944"/>
                    </a:lnTo>
                    <a:cubicBezTo>
                      <a:pt x="42649" y="24084"/>
                      <a:pt x="42649" y="23944"/>
                      <a:pt x="42649" y="23944"/>
                    </a:cubicBezTo>
                    <a:cubicBezTo>
                      <a:pt x="42649" y="23944"/>
                      <a:pt x="42836" y="23663"/>
                      <a:pt x="42727" y="23632"/>
                    </a:cubicBezTo>
                    <a:cubicBezTo>
                      <a:pt x="42727" y="23944"/>
                      <a:pt x="42275" y="23632"/>
                      <a:pt x="42478" y="23445"/>
                    </a:cubicBezTo>
                    <a:cubicBezTo>
                      <a:pt x="42478" y="23445"/>
                      <a:pt x="42478" y="23538"/>
                      <a:pt x="42368" y="23569"/>
                    </a:cubicBezTo>
                    <a:cubicBezTo>
                      <a:pt x="42259" y="23601"/>
                      <a:pt x="42368" y="23492"/>
                      <a:pt x="42244" y="23569"/>
                    </a:cubicBezTo>
                    <a:cubicBezTo>
                      <a:pt x="42119" y="23647"/>
                      <a:pt x="42244" y="23320"/>
                      <a:pt x="42135" y="23195"/>
                    </a:cubicBezTo>
                    <a:cubicBezTo>
                      <a:pt x="41963" y="23351"/>
                      <a:pt x="42135" y="22977"/>
                      <a:pt x="41854" y="23086"/>
                    </a:cubicBezTo>
                    <a:cubicBezTo>
                      <a:pt x="41854" y="23086"/>
                      <a:pt x="41714" y="23164"/>
                      <a:pt x="41667" y="23242"/>
                    </a:cubicBezTo>
                    <a:cubicBezTo>
                      <a:pt x="41620" y="23320"/>
                      <a:pt x="41573" y="23242"/>
                      <a:pt x="41511" y="23242"/>
                    </a:cubicBezTo>
                    <a:cubicBezTo>
                      <a:pt x="41449" y="23242"/>
                      <a:pt x="41386" y="23242"/>
                      <a:pt x="41340" y="23382"/>
                    </a:cubicBezTo>
                    <a:cubicBezTo>
                      <a:pt x="41293" y="23523"/>
                      <a:pt x="41340" y="23382"/>
                      <a:pt x="41231" y="23382"/>
                    </a:cubicBezTo>
                    <a:cubicBezTo>
                      <a:pt x="41121" y="23382"/>
                      <a:pt x="41075" y="23492"/>
                      <a:pt x="41028" y="23304"/>
                    </a:cubicBezTo>
                    <a:cubicBezTo>
                      <a:pt x="41028" y="23398"/>
                      <a:pt x="40669" y="23304"/>
                      <a:pt x="40591" y="23304"/>
                    </a:cubicBezTo>
                    <a:cubicBezTo>
                      <a:pt x="40513" y="23304"/>
                      <a:pt x="40451" y="23304"/>
                      <a:pt x="40342" y="23304"/>
                    </a:cubicBezTo>
                    <a:cubicBezTo>
                      <a:pt x="40093" y="22400"/>
                      <a:pt x="40061" y="23180"/>
                      <a:pt x="39625" y="23055"/>
                    </a:cubicBezTo>
                    <a:cubicBezTo>
                      <a:pt x="39531" y="23055"/>
                      <a:pt x="39251" y="22946"/>
                      <a:pt x="39282" y="22821"/>
                    </a:cubicBezTo>
                    <a:cubicBezTo>
                      <a:pt x="39313" y="22697"/>
                      <a:pt x="38877" y="22821"/>
                      <a:pt x="38846" y="22509"/>
                    </a:cubicBezTo>
                    <a:cubicBezTo>
                      <a:pt x="38846" y="22509"/>
                      <a:pt x="38736" y="22509"/>
                      <a:pt x="38846" y="22509"/>
                    </a:cubicBezTo>
                    <a:cubicBezTo>
                      <a:pt x="38690" y="22509"/>
                      <a:pt x="38627" y="21948"/>
                      <a:pt x="38456" y="22167"/>
                    </a:cubicBezTo>
                    <a:cubicBezTo>
                      <a:pt x="38456" y="22089"/>
                      <a:pt x="38316" y="22167"/>
                      <a:pt x="38362" y="22026"/>
                    </a:cubicBezTo>
                    <a:cubicBezTo>
                      <a:pt x="38409" y="21886"/>
                      <a:pt x="38362" y="22026"/>
                      <a:pt x="38362" y="22026"/>
                    </a:cubicBezTo>
                    <a:cubicBezTo>
                      <a:pt x="38362" y="22026"/>
                      <a:pt x="38362" y="22229"/>
                      <a:pt x="38362" y="22026"/>
                    </a:cubicBezTo>
                    <a:cubicBezTo>
                      <a:pt x="38362" y="21824"/>
                      <a:pt x="38362" y="22307"/>
                      <a:pt x="38206" y="22322"/>
                    </a:cubicBezTo>
                    <a:lnTo>
                      <a:pt x="38316" y="22322"/>
                    </a:lnTo>
                    <a:lnTo>
                      <a:pt x="38316" y="22322"/>
                    </a:lnTo>
                    <a:cubicBezTo>
                      <a:pt x="38316" y="22322"/>
                      <a:pt x="38316" y="22416"/>
                      <a:pt x="38316" y="22447"/>
                    </a:cubicBezTo>
                    <a:cubicBezTo>
                      <a:pt x="38316" y="22478"/>
                      <a:pt x="38316" y="22541"/>
                      <a:pt x="38316" y="22447"/>
                    </a:cubicBezTo>
                    <a:cubicBezTo>
                      <a:pt x="38351" y="22594"/>
                      <a:pt x="38447" y="22719"/>
                      <a:pt x="38581" y="22790"/>
                    </a:cubicBezTo>
                    <a:cubicBezTo>
                      <a:pt x="38581" y="22790"/>
                      <a:pt x="38861" y="23086"/>
                      <a:pt x="38814" y="23242"/>
                    </a:cubicBezTo>
                    <a:lnTo>
                      <a:pt x="38814" y="23242"/>
                    </a:lnTo>
                    <a:cubicBezTo>
                      <a:pt x="39017" y="23460"/>
                      <a:pt x="39048" y="23881"/>
                      <a:pt x="39064" y="23398"/>
                    </a:cubicBezTo>
                    <a:cubicBezTo>
                      <a:pt x="39064" y="23273"/>
                      <a:pt x="39064" y="23086"/>
                      <a:pt x="39173" y="23258"/>
                    </a:cubicBezTo>
                    <a:cubicBezTo>
                      <a:pt x="39144" y="23402"/>
                      <a:pt x="39144" y="23550"/>
                      <a:pt x="39173" y="23694"/>
                    </a:cubicBezTo>
                    <a:cubicBezTo>
                      <a:pt x="39173" y="23694"/>
                      <a:pt x="39173" y="23866"/>
                      <a:pt x="39173" y="23788"/>
                    </a:cubicBezTo>
                    <a:lnTo>
                      <a:pt x="39173" y="23928"/>
                    </a:lnTo>
                    <a:cubicBezTo>
                      <a:pt x="39360" y="23757"/>
                      <a:pt x="39609" y="23928"/>
                      <a:pt x="39718" y="23679"/>
                    </a:cubicBezTo>
                    <a:lnTo>
                      <a:pt x="39718" y="23679"/>
                    </a:lnTo>
                    <a:cubicBezTo>
                      <a:pt x="39718" y="23445"/>
                      <a:pt x="39952" y="23227"/>
                      <a:pt x="39983" y="22977"/>
                    </a:cubicBezTo>
                    <a:lnTo>
                      <a:pt x="39983" y="22977"/>
                    </a:lnTo>
                    <a:cubicBezTo>
                      <a:pt x="39983" y="22977"/>
                      <a:pt x="39983" y="22821"/>
                      <a:pt x="39983" y="22884"/>
                    </a:cubicBezTo>
                    <a:cubicBezTo>
                      <a:pt x="39983" y="22946"/>
                      <a:pt x="39983" y="23195"/>
                      <a:pt x="39983" y="23149"/>
                    </a:cubicBezTo>
                    <a:cubicBezTo>
                      <a:pt x="39983" y="23460"/>
                      <a:pt x="40155" y="23850"/>
                      <a:pt x="40513" y="23679"/>
                    </a:cubicBezTo>
                    <a:cubicBezTo>
                      <a:pt x="40790" y="23996"/>
                      <a:pt x="40790" y="24468"/>
                      <a:pt x="40513" y="24785"/>
                    </a:cubicBezTo>
                    <a:cubicBezTo>
                      <a:pt x="40513" y="24598"/>
                      <a:pt x="40373" y="25191"/>
                      <a:pt x="40513" y="25300"/>
                    </a:cubicBezTo>
                    <a:cubicBezTo>
                      <a:pt x="40139" y="25300"/>
                      <a:pt x="40389" y="25674"/>
                      <a:pt x="40030" y="25752"/>
                    </a:cubicBezTo>
                    <a:cubicBezTo>
                      <a:pt x="40030" y="25861"/>
                      <a:pt x="40030" y="25954"/>
                      <a:pt x="40030" y="26064"/>
                    </a:cubicBezTo>
                    <a:cubicBezTo>
                      <a:pt x="39792" y="26098"/>
                      <a:pt x="39579" y="26227"/>
                      <a:pt x="39438" y="26422"/>
                    </a:cubicBezTo>
                    <a:cubicBezTo>
                      <a:pt x="39438" y="26749"/>
                      <a:pt x="38955" y="26859"/>
                      <a:pt x="38736" y="27014"/>
                    </a:cubicBezTo>
                    <a:cubicBezTo>
                      <a:pt x="38518" y="27170"/>
                      <a:pt x="38565" y="27264"/>
                      <a:pt x="38440" y="27217"/>
                    </a:cubicBezTo>
                    <a:cubicBezTo>
                      <a:pt x="38341" y="27402"/>
                      <a:pt x="38130" y="27497"/>
                      <a:pt x="37926" y="27451"/>
                    </a:cubicBezTo>
                    <a:cubicBezTo>
                      <a:pt x="37797" y="27641"/>
                      <a:pt x="37592" y="27766"/>
                      <a:pt x="37365" y="27794"/>
                    </a:cubicBezTo>
                    <a:cubicBezTo>
                      <a:pt x="37240" y="27513"/>
                      <a:pt x="37365" y="27139"/>
                      <a:pt x="37115" y="26890"/>
                    </a:cubicBezTo>
                    <a:cubicBezTo>
                      <a:pt x="37349" y="26329"/>
                      <a:pt x="36538" y="25596"/>
                      <a:pt x="36164" y="25144"/>
                    </a:cubicBezTo>
                    <a:cubicBezTo>
                      <a:pt x="36164" y="24770"/>
                      <a:pt x="36071" y="24131"/>
                      <a:pt x="35650" y="24146"/>
                    </a:cubicBezTo>
                    <a:cubicBezTo>
                      <a:pt x="35494" y="23414"/>
                      <a:pt x="34637" y="23024"/>
                      <a:pt x="34793" y="22463"/>
                    </a:cubicBezTo>
                    <a:cubicBezTo>
                      <a:pt x="34684" y="22665"/>
                      <a:pt x="34793" y="22915"/>
                      <a:pt x="34668" y="23086"/>
                    </a:cubicBezTo>
                    <a:cubicBezTo>
                      <a:pt x="34438" y="22899"/>
                      <a:pt x="34238" y="22679"/>
                      <a:pt x="34076" y="22432"/>
                    </a:cubicBezTo>
                    <a:cubicBezTo>
                      <a:pt x="34341" y="23024"/>
                      <a:pt x="34761" y="23616"/>
                      <a:pt x="35104" y="24224"/>
                    </a:cubicBezTo>
                    <a:lnTo>
                      <a:pt x="35104" y="24224"/>
                    </a:lnTo>
                    <a:cubicBezTo>
                      <a:pt x="35138" y="24273"/>
                      <a:pt x="35180" y="24316"/>
                      <a:pt x="35229" y="24349"/>
                    </a:cubicBezTo>
                    <a:cubicBezTo>
                      <a:pt x="35229" y="24349"/>
                      <a:pt x="35136" y="24349"/>
                      <a:pt x="35120" y="24349"/>
                    </a:cubicBezTo>
                    <a:cubicBezTo>
                      <a:pt x="35120" y="24801"/>
                      <a:pt x="35603" y="24785"/>
                      <a:pt x="35681" y="25253"/>
                    </a:cubicBezTo>
                    <a:cubicBezTo>
                      <a:pt x="35556" y="25253"/>
                      <a:pt x="35775" y="25580"/>
                      <a:pt x="35681" y="25752"/>
                    </a:cubicBezTo>
                    <a:cubicBezTo>
                      <a:pt x="35588" y="25923"/>
                      <a:pt x="35977" y="26064"/>
                      <a:pt x="36040" y="26219"/>
                    </a:cubicBezTo>
                    <a:cubicBezTo>
                      <a:pt x="36102" y="26375"/>
                      <a:pt x="36196" y="26827"/>
                      <a:pt x="36320" y="26968"/>
                    </a:cubicBezTo>
                    <a:cubicBezTo>
                      <a:pt x="36445" y="27108"/>
                      <a:pt x="36429" y="27233"/>
                      <a:pt x="36320" y="27046"/>
                    </a:cubicBezTo>
                    <a:cubicBezTo>
                      <a:pt x="36211" y="26859"/>
                      <a:pt x="36320" y="27264"/>
                      <a:pt x="36476" y="27170"/>
                    </a:cubicBezTo>
                    <a:cubicBezTo>
                      <a:pt x="36819" y="27170"/>
                      <a:pt x="36944" y="27763"/>
                      <a:pt x="37146" y="27794"/>
                    </a:cubicBezTo>
                    <a:cubicBezTo>
                      <a:pt x="37349" y="27825"/>
                      <a:pt x="37146" y="27903"/>
                      <a:pt x="37240" y="27903"/>
                    </a:cubicBezTo>
                    <a:cubicBezTo>
                      <a:pt x="37242" y="28033"/>
                      <a:pt x="37150" y="28145"/>
                      <a:pt x="37022" y="28168"/>
                    </a:cubicBezTo>
                    <a:cubicBezTo>
                      <a:pt x="37240" y="28168"/>
                      <a:pt x="37287" y="28464"/>
                      <a:pt x="37505" y="28542"/>
                    </a:cubicBezTo>
                    <a:cubicBezTo>
                      <a:pt x="37918" y="28320"/>
                      <a:pt x="38358" y="28152"/>
                      <a:pt x="38814" y="28043"/>
                    </a:cubicBezTo>
                    <a:cubicBezTo>
                      <a:pt x="38894" y="27982"/>
                      <a:pt x="38962" y="27909"/>
                      <a:pt x="39017" y="27825"/>
                    </a:cubicBezTo>
                    <a:cubicBezTo>
                      <a:pt x="39173" y="27825"/>
                      <a:pt x="39017" y="28152"/>
                      <a:pt x="39017" y="28324"/>
                    </a:cubicBezTo>
                    <a:cubicBezTo>
                      <a:pt x="39017" y="28495"/>
                      <a:pt x="39017" y="28324"/>
                      <a:pt x="39017" y="28324"/>
                    </a:cubicBezTo>
                    <a:cubicBezTo>
                      <a:pt x="38736" y="30475"/>
                      <a:pt x="35541" y="31753"/>
                      <a:pt x="35323" y="33608"/>
                    </a:cubicBezTo>
                    <a:cubicBezTo>
                      <a:pt x="35323" y="33608"/>
                      <a:pt x="35136" y="33764"/>
                      <a:pt x="35214" y="33858"/>
                    </a:cubicBezTo>
                    <a:cubicBezTo>
                      <a:pt x="35291" y="33951"/>
                      <a:pt x="35026" y="34372"/>
                      <a:pt x="35214" y="34497"/>
                    </a:cubicBezTo>
                    <a:cubicBezTo>
                      <a:pt x="35058" y="34855"/>
                      <a:pt x="34933" y="35385"/>
                      <a:pt x="34808" y="35619"/>
                    </a:cubicBezTo>
                    <a:cubicBezTo>
                      <a:pt x="34684" y="35853"/>
                      <a:pt x="34621" y="35728"/>
                      <a:pt x="34808" y="35713"/>
                    </a:cubicBezTo>
                    <a:cubicBezTo>
                      <a:pt x="34543" y="36102"/>
                      <a:pt x="34044" y="36212"/>
                      <a:pt x="33686" y="36477"/>
                    </a:cubicBezTo>
                    <a:lnTo>
                      <a:pt x="33686" y="36477"/>
                    </a:lnTo>
                    <a:cubicBezTo>
                      <a:pt x="33489" y="36693"/>
                      <a:pt x="33235" y="36850"/>
                      <a:pt x="32953" y="36929"/>
                    </a:cubicBezTo>
                    <a:cubicBezTo>
                      <a:pt x="32979" y="36983"/>
                      <a:pt x="32979" y="37046"/>
                      <a:pt x="32953" y="37100"/>
                    </a:cubicBezTo>
                    <a:cubicBezTo>
                      <a:pt x="32953" y="37100"/>
                      <a:pt x="32953" y="37209"/>
                      <a:pt x="32953" y="37240"/>
                    </a:cubicBezTo>
                    <a:cubicBezTo>
                      <a:pt x="32953" y="37272"/>
                      <a:pt x="32953" y="37474"/>
                      <a:pt x="32953" y="37568"/>
                    </a:cubicBezTo>
                    <a:cubicBezTo>
                      <a:pt x="32953" y="37661"/>
                      <a:pt x="32953" y="37490"/>
                      <a:pt x="32953" y="37474"/>
                    </a:cubicBezTo>
                    <a:lnTo>
                      <a:pt x="32953" y="37474"/>
                    </a:lnTo>
                    <a:lnTo>
                      <a:pt x="32953" y="37474"/>
                    </a:lnTo>
                    <a:cubicBezTo>
                      <a:pt x="32953" y="37614"/>
                      <a:pt x="32782" y="37724"/>
                      <a:pt x="32719" y="37848"/>
                    </a:cubicBezTo>
                    <a:lnTo>
                      <a:pt x="32719" y="37848"/>
                    </a:lnTo>
                    <a:cubicBezTo>
                      <a:pt x="32548" y="38222"/>
                      <a:pt x="31878" y="38113"/>
                      <a:pt x="31769" y="38472"/>
                    </a:cubicBezTo>
                    <a:lnTo>
                      <a:pt x="31878" y="38472"/>
                    </a:lnTo>
                    <a:cubicBezTo>
                      <a:pt x="31839" y="38544"/>
                      <a:pt x="31786" y="38608"/>
                      <a:pt x="31722" y="38659"/>
                    </a:cubicBezTo>
                    <a:lnTo>
                      <a:pt x="31722" y="38659"/>
                    </a:lnTo>
                    <a:cubicBezTo>
                      <a:pt x="31003" y="39409"/>
                      <a:pt x="30091" y="39948"/>
                      <a:pt x="29087" y="40218"/>
                    </a:cubicBezTo>
                    <a:cubicBezTo>
                      <a:pt x="28667" y="40077"/>
                      <a:pt x="28246" y="40342"/>
                      <a:pt x="27825" y="40311"/>
                    </a:cubicBezTo>
                    <a:cubicBezTo>
                      <a:pt x="27825" y="40233"/>
                      <a:pt x="27825" y="40311"/>
                      <a:pt x="27825" y="40311"/>
                    </a:cubicBezTo>
                    <a:cubicBezTo>
                      <a:pt x="27825" y="40311"/>
                      <a:pt x="27731" y="40233"/>
                      <a:pt x="27825" y="40311"/>
                    </a:cubicBezTo>
                    <a:cubicBezTo>
                      <a:pt x="27918" y="40389"/>
                      <a:pt x="27949" y="40140"/>
                      <a:pt x="27825" y="40015"/>
                    </a:cubicBezTo>
                    <a:cubicBezTo>
                      <a:pt x="28121" y="39875"/>
                      <a:pt x="27825" y="39485"/>
                      <a:pt x="27825" y="39204"/>
                    </a:cubicBezTo>
                    <a:cubicBezTo>
                      <a:pt x="27342" y="38472"/>
                      <a:pt x="27622" y="37381"/>
                      <a:pt x="27077" y="36570"/>
                    </a:cubicBezTo>
                    <a:cubicBezTo>
                      <a:pt x="27077" y="35728"/>
                      <a:pt x="28324" y="35354"/>
                      <a:pt x="27762" y="34528"/>
                    </a:cubicBezTo>
                    <a:cubicBezTo>
                      <a:pt x="28012" y="34341"/>
                      <a:pt x="27762" y="33967"/>
                      <a:pt x="27653" y="33764"/>
                    </a:cubicBezTo>
                    <a:lnTo>
                      <a:pt x="27747" y="33764"/>
                    </a:lnTo>
                    <a:cubicBezTo>
                      <a:pt x="27747" y="33764"/>
                      <a:pt x="27529" y="33764"/>
                      <a:pt x="27638" y="33624"/>
                    </a:cubicBezTo>
                    <a:cubicBezTo>
                      <a:pt x="27451" y="33078"/>
                      <a:pt x="26827" y="32891"/>
                      <a:pt x="26702" y="32314"/>
                    </a:cubicBezTo>
                    <a:cubicBezTo>
                      <a:pt x="26843" y="32314"/>
                      <a:pt x="26874" y="32205"/>
                      <a:pt x="26889" y="32034"/>
                    </a:cubicBezTo>
                    <a:cubicBezTo>
                      <a:pt x="26905" y="31862"/>
                      <a:pt x="27014" y="32034"/>
                      <a:pt x="27061" y="32034"/>
                    </a:cubicBezTo>
                    <a:cubicBezTo>
                      <a:pt x="26990" y="32037"/>
                      <a:pt x="26926" y="31992"/>
                      <a:pt x="26905" y="31925"/>
                    </a:cubicBezTo>
                    <a:cubicBezTo>
                      <a:pt x="27014" y="31925"/>
                      <a:pt x="26999" y="31816"/>
                      <a:pt x="26905" y="31800"/>
                    </a:cubicBezTo>
                    <a:cubicBezTo>
                      <a:pt x="27132" y="31576"/>
                      <a:pt x="27200" y="31237"/>
                      <a:pt x="27077" y="30943"/>
                    </a:cubicBezTo>
                    <a:cubicBezTo>
                      <a:pt x="26936" y="31036"/>
                      <a:pt x="26874" y="30943"/>
                      <a:pt x="26874" y="30771"/>
                    </a:cubicBezTo>
                    <a:cubicBezTo>
                      <a:pt x="26826" y="30817"/>
                      <a:pt x="26751" y="30817"/>
                      <a:pt x="26702" y="30771"/>
                    </a:cubicBezTo>
                    <a:cubicBezTo>
                      <a:pt x="26562" y="30943"/>
                      <a:pt x="26110" y="30927"/>
                      <a:pt x="25861" y="30896"/>
                    </a:cubicBezTo>
                    <a:cubicBezTo>
                      <a:pt x="25518" y="29774"/>
                      <a:pt x="24302" y="30428"/>
                      <a:pt x="23538" y="30693"/>
                    </a:cubicBezTo>
                    <a:cubicBezTo>
                      <a:pt x="21979" y="30226"/>
                      <a:pt x="21745" y="31301"/>
                      <a:pt x="20420" y="29664"/>
                    </a:cubicBezTo>
                    <a:cubicBezTo>
                      <a:pt x="20265" y="29664"/>
                      <a:pt x="20296" y="29431"/>
                      <a:pt x="20171" y="29368"/>
                    </a:cubicBezTo>
                    <a:cubicBezTo>
                      <a:pt x="20046" y="29306"/>
                      <a:pt x="20171" y="29259"/>
                      <a:pt x="20171" y="29166"/>
                    </a:cubicBezTo>
                    <a:cubicBezTo>
                      <a:pt x="20171" y="29072"/>
                      <a:pt x="19859" y="28947"/>
                      <a:pt x="19953" y="28885"/>
                    </a:cubicBezTo>
                    <a:cubicBezTo>
                      <a:pt x="19610" y="28885"/>
                      <a:pt x="19797" y="28573"/>
                      <a:pt x="19594" y="28620"/>
                    </a:cubicBezTo>
                    <a:cubicBezTo>
                      <a:pt x="19392" y="28667"/>
                      <a:pt x="19594" y="28542"/>
                      <a:pt x="19454" y="28542"/>
                    </a:cubicBezTo>
                    <a:lnTo>
                      <a:pt x="19454" y="28542"/>
                    </a:lnTo>
                    <a:lnTo>
                      <a:pt x="19454" y="28542"/>
                    </a:lnTo>
                    <a:cubicBezTo>
                      <a:pt x="19454" y="28542"/>
                      <a:pt x="19454" y="28542"/>
                      <a:pt x="19454" y="28449"/>
                    </a:cubicBezTo>
                    <a:cubicBezTo>
                      <a:pt x="19454" y="28355"/>
                      <a:pt x="19625" y="28449"/>
                      <a:pt x="19641" y="28449"/>
                    </a:cubicBezTo>
                    <a:cubicBezTo>
                      <a:pt x="19657" y="28449"/>
                      <a:pt x="19127" y="28449"/>
                      <a:pt x="19282" y="28277"/>
                    </a:cubicBezTo>
                    <a:cubicBezTo>
                      <a:pt x="19158" y="28277"/>
                      <a:pt x="19127" y="28277"/>
                      <a:pt x="19095" y="28121"/>
                    </a:cubicBezTo>
                    <a:cubicBezTo>
                      <a:pt x="19064" y="27965"/>
                      <a:pt x="19205" y="28121"/>
                      <a:pt x="19251" y="28121"/>
                    </a:cubicBezTo>
                    <a:cubicBezTo>
                      <a:pt x="19298" y="28121"/>
                      <a:pt x="19127" y="28121"/>
                      <a:pt x="19080" y="28121"/>
                    </a:cubicBezTo>
                    <a:cubicBezTo>
                      <a:pt x="19033" y="28121"/>
                      <a:pt x="19080" y="27997"/>
                      <a:pt x="19080" y="27934"/>
                    </a:cubicBezTo>
                    <a:cubicBezTo>
                      <a:pt x="19080" y="27872"/>
                      <a:pt x="19220" y="28074"/>
                      <a:pt x="19329" y="27934"/>
                    </a:cubicBezTo>
                    <a:cubicBezTo>
                      <a:pt x="19438" y="27794"/>
                      <a:pt x="19080" y="27856"/>
                      <a:pt x="19189" y="27794"/>
                    </a:cubicBezTo>
                    <a:lnTo>
                      <a:pt x="19189" y="27794"/>
                    </a:lnTo>
                    <a:cubicBezTo>
                      <a:pt x="19189" y="27794"/>
                      <a:pt x="19049" y="27560"/>
                      <a:pt x="18986" y="27498"/>
                    </a:cubicBezTo>
                    <a:cubicBezTo>
                      <a:pt x="19389" y="27087"/>
                      <a:pt x="19533" y="26488"/>
                      <a:pt x="19360" y="25939"/>
                    </a:cubicBezTo>
                    <a:cubicBezTo>
                      <a:pt x="19485" y="25939"/>
                      <a:pt x="19360" y="25767"/>
                      <a:pt x="19454" y="25736"/>
                    </a:cubicBezTo>
                    <a:cubicBezTo>
                      <a:pt x="19547" y="25705"/>
                      <a:pt x="19298" y="25643"/>
                      <a:pt x="19282" y="25534"/>
                    </a:cubicBezTo>
                    <a:lnTo>
                      <a:pt x="19282" y="25612"/>
                    </a:lnTo>
                    <a:cubicBezTo>
                      <a:pt x="19265" y="25345"/>
                      <a:pt x="19382" y="25087"/>
                      <a:pt x="19594" y="24926"/>
                    </a:cubicBezTo>
                    <a:cubicBezTo>
                      <a:pt x="19922" y="23866"/>
                      <a:pt x="20966" y="23445"/>
                      <a:pt x="21714" y="22728"/>
                    </a:cubicBezTo>
                    <a:cubicBezTo>
                      <a:pt x="21722" y="22582"/>
                      <a:pt x="21722" y="22437"/>
                      <a:pt x="21714" y="22291"/>
                    </a:cubicBezTo>
                    <a:cubicBezTo>
                      <a:pt x="21714" y="22120"/>
                      <a:pt x="22042" y="22042"/>
                      <a:pt x="21901" y="21855"/>
                    </a:cubicBezTo>
                    <a:cubicBezTo>
                      <a:pt x="22394" y="21610"/>
                      <a:pt x="22814" y="21239"/>
                      <a:pt x="23117" y="20779"/>
                    </a:cubicBezTo>
                    <a:cubicBezTo>
                      <a:pt x="23117" y="21091"/>
                      <a:pt x="23600" y="21075"/>
                      <a:pt x="23772" y="20966"/>
                    </a:cubicBezTo>
                    <a:cubicBezTo>
                      <a:pt x="24068" y="21325"/>
                      <a:pt x="24707" y="20717"/>
                      <a:pt x="25034" y="20623"/>
                    </a:cubicBezTo>
                    <a:cubicBezTo>
                      <a:pt x="25362" y="20530"/>
                      <a:pt x="26110" y="20623"/>
                      <a:pt x="26375" y="20499"/>
                    </a:cubicBezTo>
                    <a:cubicBezTo>
                      <a:pt x="26640" y="20374"/>
                      <a:pt x="26578" y="20717"/>
                      <a:pt x="26656" y="20499"/>
                    </a:cubicBezTo>
                    <a:cubicBezTo>
                      <a:pt x="26905" y="20717"/>
                      <a:pt x="27170" y="20374"/>
                      <a:pt x="27373" y="20499"/>
                    </a:cubicBezTo>
                    <a:cubicBezTo>
                      <a:pt x="27373" y="20327"/>
                      <a:pt x="27497" y="20623"/>
                      <a:pt x="27575" y="20670"/>
                    </a:cubicBezTo>
                    <a:cubicBezTo>
                      <a:pt x="27903" y="20343"/>
                      <a:pt x="27669" y="20748"/>
                      <a:pt x="27575" y="20888"/>
                    </a:cubicBezTo>
                    <a:cubicBezTo>
                      <a:pt x="28152" y="21278"/>
                      <a:pt x="27186" y="21434"/>
                      <a:pt x="27575" y="21699"/>
                    </a:cubicBezTo>
                    <a:cubicBezTo>
                      <a:pt x="27575" y="21699"/>
                      <a:pt x="27575" y="21699"/>
                      <a:pt x="27684" y="21699"/>
                    </a:cubicBezTo>
                    <a:cubicBezTo>
                      <a:pt x="27794" y="21699"/>
                      <a:pt x="27684" y="21621"/>
                      <a:pt x="27684" y="21699"/>
                    </a:cubicBezTo>
                    <a:cubicBezTo>
                      <a:pt x="27840" y="22073"/>
                      <a:pt x="28417" y="21792"/>
                      <a:pt x="28698" y="21995"/>
                    </a:cubicBezTo>
                    <a:cubicBezTo>
                      <a:pt x="31628" y="24022"/>
                      <a:pt x="29352" y="21387"/>
                      <a:pt x="31285" y="21995"/>
                    </a:cubicBezTo>
                    <a:cubicBezTo>
                      <a:pt x="31613" y="22307"/>
                      <a:pt x="32345" y="22213"/>
                      <a:pt x="32844" y="22416"/>
                    </a:cubicBezTo>
                    <a:cubicBezTo>
                      <a:pt x="33343" y="22619"/>
                      <a:pt x="33327" y="22322"/>
                      <a:pt x="33655" y="22229"/>
                    </a:cubicBezTo>
                    <a:cubicBezTo>
                      <a:pt x="33436" y="22307"/>
                      <a:pt x="33655" y="22229"/>
                      <a:pt x="33748" y="22229"/>
                    </a:cubicBezTo>
                    <a:cubicBezTo>
                      <a:pt x="33842" y="22229"/>
                      <a:pt x="33748" y="22229"/>
                      <a:pt x="33748" y="22229"/>
                    </a:cubicBezTo>
                    <a:cubicBezTo>
                      <a:pt x="33748" y="22229"/>
                      <a:pt x="33951" y="22229"/>
                      <a:pt x="33998" y="22229"/>
                    </a:cubicBezTo>
                    <a:cubicBezTo>
                      <a:pt x="34044" y="22229"/>
                      <a:pt x="34091" y="22338"/>
                      <a:pt x="34091" y="22385"/>
                    </a:cubicBezTo>
                    <a:cubicBezTo>
                      <a:pt x="34091" y="22432"/>
                      <a:pt x="34091" y="22291"/>
                      <a:pt x="34091" y="22229"/>
                    </a:cubicBezTo>
                    <a:cubicBezTo>
                      <a:pt x="35151" y="22587"/>
                      <a:pt x="34793" y="20670"/>
                      <a:pt x="34855" y="20312"/>
                    </a:cubicBezTo>
                    <a:cubicBezTo>
                      <a:pt x="34684" y="20452"/>
                      <a:pt x="34387" y="20312"/>
                      <a:pt x="34341" y="20561"/>
                    </a:cubicBezTo>
                    <a:cubicBezTo>
                      <a:pt x="34029" y="20919"/>
                      <a:pt x="33374" y="20062"/>
                      <a:pt x="33374" y="20561"/>
                    </a:cubicBezTo>
                    <a:cubicBezTo>
                      <a:pt x="33234" y="20561"/>
                      <a:pt x="32875" y="20717"/>
                      <a:pt x="32922" y="20452"/>
                    </a:cubicBezTo>
                    <a:cubicBezTo>
                      <a:pt x="32922" y="20452"/>
                      <a:pt x="32922" y="20452"/>
                      <a:pt x="32797" y="20452"/>
                    </a:cubicBezTo>
                    <a:cubicBezTo>
                      <a:pt x="32673" y="20452"/>
                      <a:pt x="32626" y="20592"/>
                      <a:pt x="32610" y="20452"/>
                    </a:cubicBezTo>
                    <a:lnTo>
                      <a:pt x="32423" y="20452"/>
                    </a:lnTo>
                    <a:cubicBezTo>
                      <a:pt x="32423" y="20374"/>
                      <a:pt x="32626" y="20452"/>
                      <a:pt x="32626" y="20327"/>
                    </a:cubicBezTo>
                    <a:cubicBezTo>
                      <a:pt x="32626" y="20202"/>
                      <a:pt x="32267" y="20421"/>
                      <a:pt x="32454" y="20327"/>
                    </a:cubicBezTo>
                    <a:cubicBezTo>
                      <a:pt x="32236" y="20187"/>
                      <a:pt x="32454" y="20062"/>
                      <a:pt x="32127" y="19984"/>
                    </a:cubicBezTo>
                    <a:cubicBezTo>
                      <a:pt x="31800" y="19906"/>
                      <a:pt x="32127" y="19859"/>
                      <a:pt x="32127" y="19813"/>
                    </a:cubicBezTo>
                    <a:cubicBezTo>
                      <a:pt x="32127" y="19766"/>
                      <a:pt x="32127" y="19922"/>
                      <a:pt x="32283" y="19813"/>
                    </a:cubicBezTo>
                    <a:lnTo>
                      <a:pt x="32283" y="19813"/>
                    </a:lnTo>
                    <a:cubicBezTo>
                      <a:pt x="32283" y="19813"/>
                      <a:pt x="32408" y="19813"/>
                      <a:pt x="32376" y="19688"/>
                    </a:cubicBezTo>
                    <a:cubicBezTo>
                      <a:pt x="32345" y="19563"/>
                      <a:pt x="32221" y="19532"/>
                      <a:pt x="32376" y="19501"/>
                    </a:cubicBezTo>
                    <a:cubicBezTo>
                      <a:pt x="31940" y="19657"/>
                      <a:pt x="32158" y="19002"/>
                      <a:pt x="32470" y="19220"/>
                    </a:cubicBezTo>
                    <a:cubicBezTo>
                      <a:pt x="32470" y="19096"/>
                      <a:pt x="32735" y="19220"/>
                      <a:pt x="32875" y="19220"/>
                    </a:cubicBezTo>
                    <a:cubicBezTo>
                      <a:pt x="32595" y="19111"/>
                      <a:pt x="33000" y="19127"/>
                      <a:pt x="33031" y="19049"/>
                    </a:cubicBezTo>
                    <a:cubicBezTo>
                      <a:pt x="32376" y="18846"/>
                      <a:pt x="33374" y="18940"/>
                      <a:pt x="33421" y="18862"/>
                    </a:cubicBezTo>
                    <a:cubicBezTo>
                      <a:pt x="33546" y="18519"/>
                      <a:pt x="34013" y="18566"/>
                      <a:pt x="34294" y="18488"/>
                    </a:cubicBezTo>
                    <a:cubicBezTo>
                      <a:pt x="34294" y="18644"/>
                      <a:pt x="34450" y="18659"/>
                      <a:pt x="34543" y="18488"/>
                    </a:cubicBezTo>
                    <a:cubicBezTo>
                      <a:pt x="34637" y="18316"/>
                      <a:pt x="34668" y="18753"/>
                      <a:pt x="34746" y="18628"/>
                    </a:cubicBezTo>
                    <a:cubicBezTo>
                      <a:pt x="36991" y="19080"/>
                      <a:pt x="35385" y="17537"/>
                      <a:pt x="34356" y="17287"/>
                    </a:cubicBezTo>
                    <a:cubicBezTo>
                      <a:pt x="34356" y="17287"/>
                      <a:pt x="34356" y="17287"/>
                      <a:pt x="34356" y="17163"/>
                    </a:cubicBezTo>
                    <a:cubicBezTo>
                      <a:pt x="34356" y="17038"/>
                      <a:pt x="34543" y="17163"/>
                      <a:pt x="34465" y="17054"/>
                    </a:cubicBezTo>
                    <a:cubicBezTo>
                      <a:pt x="34387" y="16944"/>
                      <a:pt x="34668" y="16913"/>
                      <a:pt x="34465" y="16835"/>
                    </a:cubicBezTo>
                    <a:cubicBezTo>
                      <a:pt x="34263" y="16757"/>
                      <a:pt x="34372" y="16835"/>
                      <a:pt x="34356" y="16742"/>
                    </a:cubicBezTo>
                    <a:cubicBezTo>
                      <a:pt x="34341" y="16648"/>
                      <a:pt x="34512" y="16742"/>
                      <a:pt x="34512" y="16742"/>
                    </a:cubicBezTo>
                    <a:cubicBezTo>
                      <a:pt x="34512" y="16742"/>
                      <a:pt x="34637" y="16617"/>
                      <a:pt x="34606" y="16539"/>
                    </a:cubicBezTo>
                    <a:cubicBezTo>
                      <a:pt x="34574" y="16461"/>
                      <a:pt x="34169" y="16539"/>
                      <a:pt x="34076" y="16789"/>
                    </a:cubicBezTo>
                    <a:cubicBezTo>
                      <a:pt x="34076" y="16789"/>
                      <a:pt x="33982" y="16867"/>
                      <a:pt x="33904" y="16789"/>
                    </a:cubicBezTo>
                    <a:cubicBezTo>
                      <a:pt x="33826" y="16711"/>
                      <a:pt x="33811" y="16789"/>
                      <a:pt x="33764" y="16789"/>
                    </a:cubicBezTo>
                    <a:cubicBezTo>
                      <a:pt x="33717" y="16789"/>
                      <a:pt x="33764" y="17038"/>
                      <a:pt x="33764" y="16976"/>
                    </a:cubicBezTo>
                    <a:cubicBezTo>
                      <a:pt x="33764" y="16913"/>
                      <a:pt x="33764" y="16867"/>
                      <a:pt x="33764" y="16851"/>
                    </a:cubicBezTo>
                    <a:cubicBezTo>
                      <a:pt x="33764" y="16835"/>
                      <a:pt x="33546" y="16991"/>
                      <a:pt x="33468" y="17054"/>
                    </a:cubicBezTo>
                    <a:cubicBezTo>
                      <a:pt x="33390" y="17116"/>
                      <a:pt x="33733" y="17054"/>
                      <a:pt x="33701" y="17194"/>
                    </a:cubicBezTo>
                    <a:cubicBezTo>
                      <a:pt x="33670" y="17334"/>
                      <a:pt x="33701" y="17194"/>
                      <a:pt x="33701" y="17194"/>
                    </a:cubicBezTo>
                    <a:cubicBezTo>
                      <a:pt x="33701" y="17194"/>
                      <a:pt x="33701" y="17303"/>
                      <a:pt x="33873" y="17287"/>
                    </a:cubicBezTo>
                    <a:cubicBezTo>
                      <a:pt x="34044" y="17272"/>
                      <a:pt x="33592" y="17085"/>
                      <a:pt x="33655" y="16976"/>
                    </a:cubicBezTo>
                    <a:cubicBezTo>
                      <a:pt x="33717" y="16867"/>
                      <a:pt x="33826" y="17225"/>
                      <a:pt x="33935" y="17256"/>
                    </a:cubicBezTo>
                    <a:cubicBezTo>
                      <a:pt x="34044" y="17287"/>
                      <a:pt x="33935" y="17256"/>
                      <a:pt x="34044" y="17256"/>
                    </a:cubicBezTo>
                    <a:cubicBezTo>
                      <a:pt x="34154" y="17256"/>
                      <a:pt x="34138" y="17178"/>
                      <a:pt x="34200" y="17178"/>
                    </a:cubicBezTo>
                    <a:cubicBezTo>
                      <a:pt x="34263" y="17178"/>
                      <a:pt x="34200" y="17381"/>
                      <a:pt x="33998" y="17334"/>
                    </a:cubicBezTo>
                    <a:cubicBezTo>
                      <a:pt x="33795" y="17287"/>
                      <a:pt x="33452" y="17833"/>
                      <a:pt x="33499" y="17334"/>
                    </a:cubicBezTo>
                    <a:cubicBezTo>
                      <a:pt x="33374" y="17225"/>
                      <a:pt x="33094" y="17334"/>
                      <a:pt x="33359" y="17116"/>
                    </a:cubicBezTo>
                    <a:cubicBezTo>
                      <a:pt x="33624" y="16898"/>
                      <a:pt x="33234" y="16882"/>
                      <a:pt x="33125" y="17007"/>
                    </a:cubicBezTo>
                    <a:cubicBezTo>
                      <a:pt x="33016" y="17132"/>
                      <a:pt x="32953" y="17007"/>
                      <a:pt x="33016" y="16898"/>
                    </a:cubicBezTo>
                    <a:cubicBezTo>
                      <a:pt x="33078" y="16789"/>
                      <a:pt x="32844" y="16898"/>
                      <a:pt x="32813" y="16898"/>
                    </a:cubicBezTo>
                    <a:cubicBezTo>
                      <a:pt x="32782" y="16898"/>
                      <a:pt x="33016" y="16898"/>
                      <a:pt x="33078" y="16898"/>
                    </a:cubicBezTo>
                    <a:cubicBezTo>
                      <a:pt x="33030" y="16943"/>
                      <a:pt x="32955" y="16943"/>
                      <a:pt x="32906" y="16898"/>
                    </a:cubicBezTo>
                    <a:cubicBezTo>
                      <a:pt x="32906" y="17054"/>
                      <a:pt x="32782" y="16898"/>
                      <a:pt x="32751" y="17007"/>
                    </a:cubicBezTo>
                    <a:cubicBezTo>
                      <a:pt x="32719" y="17116"/>
                      <a:pt x="32751" y="17178"/>
                      <a:pt x="32595" y="17194"/>
                    </a:cubicBezTo>
                    <a:cubicBezTo>
                      <a:pt x="32439" y="17209"/>
                      <a:pt x="32595" y="17443"/>
                      <a:pt x="32486" y="17319"/>
                    </a:cubicBezTo>
                    <a:cubicBezTo>
                      <a:pt x="32595" y="17599"/>
                      <a:pt x="32486" y="17615"/>
                      <a:pt x="32314" y="17786"/>
                    </a:cubicBezTo>
                    <a:cubicBezTo>
                      <a:pt x="32143" y="17958"/>
                      <a:pt x="32314" y="18020"/>
                      <a:pt x="32314" y="18145"/>
                    </a:cubicBezTo>
                    <a:cubicBezTo>
                      <a:pt x="32314" y="18269"/>
                      <a:pt x="32127" y="18238"/>
                      <a:pt x="32189" y="18379"/>
                    </a:cubicBezTo>
                    <a:cubicBezTo>
                      <a:pt x="32252" y="18519"/>
                      <a:pt x="32314" y="18550"/>
                      <a:pt x="32314" y="18784"/>
                    </a:cubicBezTo>
                    <a:cubicBezTo>
                      <a:pt x="32314" y="19018"/>
                      <a:pt x="32719" y="18909"/>
                      <a:pt x="32579" y="19049"/>
                    </a:cubicBezTo>
                    <a:cubicBezTo>
                      <a:pt x="32439" y="19189"/>
                      <a:pt x="32158" y="19189"/>
                      <a:pt x="31956" y="19361"/>
                    </a:cubicBezTo>
                    <a:cubicBezTo>
                      <a:pt x="31956" y="19267"/>
                      <a:pt x="31956" y="19220"/>
                      <a:pt x="32049" y="19189"/>
                    </a:cubicBezTo>
                    <a:cubicBezTo>
                      <a:pt x="31862" y="19189"/>
                      <a:pt x="31628" y="18955"/>
                      <a:pt x="31519" y="19189"/>
                    </a:cubicBezTo>
                    <a:cubicBezTo>
                      <a:pt x="31363" y="19189"/>
                      <a:pt x="31410" y="19189"/>
                      <a:pt x="31301" y="19267"/>
                    </a:cubicBezTo>
                    <a:cubicBezTo>
                      <a:pt x="31192" y="19345"/>
                      <a:pt x="31301" y="19361"/>
                      <a:pt x="31410" y="19407"/>
                    </a:cubicBezTo>
                    <a:cubicBezTo>
                      <a:pt x="31519" y="19454"/>
                      <a:pt x="31239" y="19329"/>
                      <a:pt x="31254" y="19407"/>
                    </a:cubicBezTo>
                    <a:cubicBezTo>
                      <a:pt x="31270" y="19485"/>
                      <a:pt x="31363" y="19407"/>
                      <a:pt x="31254" y="19485"/>
                    </a:cubicBezTo>
                    <a:cubicBezTo>
                      <a:pt x="31145" y="19563"/>
                      <a:pt x="31005" y="19376"/>
                      <a:pt x="31254" y="19485"/>
                    </a:cubicBezTo>
                    <a:cubicBezTo>
                      <a:pt x="31129" y="19485"/>
                      <a:pt x="31083" y="19361"/>
                      <a:pt x="31005" y="19314"/>
                    </a:cubicBezTo>
                    <a:cubicBezTo>
                      <a:pt x="30927" y="19267"/>
                      <a:pt x="30786" y="19423"/>
                      <a:pt x="31005" y="19532"/>
                    </a:cubicBezTo>
                    <a:cubicBezTo>
                      <a:pt x="31223" y="19641"/>
                      <a:pt x="31348" y="19953"/>
                      <a:pt x="31005" y="19719"/>
                    </a:cubicBezTo>
                    <a:cubicBezTo>
                      <a:pt x="31005" y="19719"/>
                      <a:pt x="31005" y="19719"/>
                      <a:pt x="31005" y="19719"/>
                    </a:cubicBezTo>
                    <a:cubicBezTo>
                      <a:pt x="31005" y="19719"/>
                      <a:pt x="31005" y="19828"/>
                      <a:pt x="31005" y="19813"/>
                    </a:cubicBezTo>
                    <a:cubicBezTo>
                      <a:pt x="31176" y="19937"/>
                      <a:pt x="31472" y="19984"/>
                      <a:pt x="31457" y="20234"/>
                    </a:cubicBezTo>
                    <a:cubicBezTo>
                      <a:pt x="31348" y="20234"/>
                      <a:pt x="31285" y="20124"/>
                      <a:pt x="31161" y="20234"/>
                    </a:cubicBezTo>
                    <a:cubicBezTo>
                      <a:pt x="31036" y="20343"/>
                      <a:pt x="31441" y="20452"/>
                      <a:pt x="31270" y="20389"/>
                    </a:cubicBezTo>
                    <a:cubicBezTo>
                      <a:pt x="31098" y="20327"/>
                      <a:pt x="31270" y="20389"/>
                      <a:pt x="31270" y="20389"/>
                    </a:cubicBezTo>
                    <a:cubicBezTo>
                      <a:pt x="31270" y="20389"/>
                      <a:pt x="31270" y="20608"/>
                      <a:pt x="31270" y="20670"/>
                    </a:cubicBezTo>
                    <a:cubicBezTo>
                      <a:pt x="31270" y="20732"/>
                      <a:pt x="31051" y="20499"/>
                      <a:pt x="31083" y="20670"/>
                    </a:cubicBezTo>
                    <a:cubicBezTo>
                      <a:pt x="31083" y="20530"/>
                      <a:pt x="30989" y="20545"/>
                      <a:pt x="30927" y="20436"/>
                    </a:cubicBezTo>
                    <a:cubicBezTo>
                      <a:pt x="30864" y="20327"/>
                      <a:pt x="30927" y="20514"/>
                      <a:pt x="30927" y="20561"/>
                    </a:cubicBezTo>
                    <a:cubicBezTo>
                      <a:pt x="30845" y="20514"/>
                      <a:pt x="30806" y="20417"/>
                      <a:pt x="30833" y="20327"/>
                    </a:cubicBezTo>
                    <a:cubicBezTo>
                      <a:pt x="30724" y="20234"/>
                      <a:pt x="30553" y="20171"/>
                      <a:pt x="30724" y="20047"/>
                    </a:cubicBezTo>
                    <a:cubicBezTo>
                      <a:pt x="30896" y="19922"/>
                      <a:pt x="31036" y="20202"/>
                      <a:pt x="31176" y="20047"/>
                    </a:cubicBezTo>
                    <a:cubicBezTo>
                      <a:pt x="31051" y="20047"/>
                      <a:pt x="30911" y="19891"/>
                      <a:pt x="30818" y="20047"/>
                    </a:cubicBezTo>
                    <a:cubicBezTo>
                      <a:pt x="30724" y="20202"/>
                      <a:pt x="30709" y="19937"/>
                      <a:pt x="30662" y="20047"/>
                    </a:cubicBezTo>
                    <a:cubicBezTo>
                      <a:pt x="30444" y="19828"/>
                      <a:pt x="30288" y="19485"/>
                      <a:pt x="30007" y="19345"/>
                    </a:cubicBezTo>
                    <a:cubicBezTo>
                      <a:pt x="30007" y="19174"/>
                      <a:pt x="30007" y="18987"/>
                      <a:pt x="30007" y="18815"/>
                    </a:cubicBezTo>
                    <a:cubicBezTo>
                      <a:pt x="29820" y="18815"/>
                      <a:pt x="29711" y="18566"/>
                      <a:pt x="29571" y="18441"/>
                    </a:cubicBezTo>
                    <a:cubicBezTo>
                      <a:pt x="29430" y="18316"/>
                      <a:pt x="29337" y="18441"/>
                      <a:pt x="29290" y="18441"/>
                    </a:cubicBezTo>
                    <a:cubicBezTo>
                      <a:pt x="29243" y="18441"/>
                      <a:pt x="29290" y="18441"/>
                      <a:pt x="29399" y="18441"/>
                    </a:cubicBezTo>
                    <a:cubicBezTo>
                      <a:pt x="29508" y="18441"/>
                      <a:pt x="29134" y="18207"/>
                      <a:pt x="28978" y="18269"/>
                    </a:cubicBezTo>
                    <a:cubicBezTo>
                      <a:pt x="28822" y="18332"/>
                      <a:pt x="28511" y="18004"/>
                      <a:pt x="28807" y="18020"/>
                    </a:cubicBezTo>
                    <a:cubicBezTo>
                      <a:pt x="28448" y="17802"/>
                      <a:pt x="28620" y="17365"/>
                      <a:pt x="28292" y="17817"/>
                    </a:cubicBezTo>
                    <a:cubicBezTo>
                      <a:pt x="28292" y="17724"/>
                      <a:pt x="28168" y="17615"/>
                      <a:pt x="28292" y="17521"/>
                    </a:cubicBezTo>
                    <a:cubicBezTo>
                      <a:pt x="28417" y="17428"/>
                      <a:pt x="27981" y="17521"/>
                      <a:pt x="27903" y="17630"/>
                    </a:cubicBezTo>
                    <a:cubicBezTo>
                      <a:pt x="27903" y="18098"/>
                      <a:pt x="28448" y="18394"/>
                      <a:pt x="28729" y="18768"/>
                    </a:cubicBezTo>
                    <a:cubicBezTo>
                      <a:pt x="28869" y="18768"/>
                      <a:pt x="29243" y="18768"/>
                      <a:pt x="29025" y="18955"/>
                    </a:cubicBezTo>
                    <a:cubicBezTo>
                      <a:pt x="29243" y="19080"/>
                      <a:pt x="29929" y="19205"/>
                      <a:pt x="29773" y="19548"/>
                    </a:cubicBezTo>
                    <a:cubicBezTo>
                      <a:pt x="29633" y="19548"/>
                      <a:pt x="29773" y="19314"/>
                      <a:pt x="29524" y="19361"/>
                    </a:cubicBezTo>
                    <a:cubicBezTo>
                      <a:pt x="29274" y="19407"/>
                      <a:pt x="29274" y="19548"/>
                      <a:pt x="29321" y="19626"/>
                    </a:cubicBezTo>
                    <a:cubicBezTo>
                      <a:pt x="29649" y="19719"/>
                      <a:pt x="29321" y="19906"/>
                      <a:pt x="29321" y="20093"/>
                    </a:cubicBezTo>
                    <a:cubicBezTo>
                      <a:pt x="29321" y="20280"/>
                      <a:pt x="28900" y="20343"/>
                      <a:pt x="29119" y="20093"/>
                    </a:cubicBezTo>
                    <a:cubicBezTo>
                      <a:pt x="29219" y="19835"/>
                      <a:pt x="29104" y="19543"/>
                      <a:pt x="28854" y="19423"/>
                    </a:cubicBezTo>
                    <a:cubicBezTo>
                      <a:pt x="28713" y="19423"/>
                      <a:pt x="28854" y="19314"/>
                      <a:pt x="28729" y="19267"/>
                    </a:cubicBezTo>
                    <a:cubicBezTo>
                      <a:pt x="28603" y="19264"/>
                      <a:pt x="28490" y="19192"/>
                      <a:pt x="28433" y="19080"/>
                    </a:cubicBezTo>
                    <a:cubicBezTo>
                      <a:pt x="27513" y="19080"/>
                      <a:pt x="27357" y="17225"/>
                      <a:pt x="26391" y="18347"/>
                    </a:cubicBezTo>
                    <a:cubicBezTo>
                      <a:pt x="26391" y="18534"/>
                      <a:pt x="26079" y="18347"/>
                      <a:pt x="25985" y="18254"/>
                    </a:cubicBezTo>
                    <a:cubicBezTo>
                      <a:pt x="25019" y="18145"/>
                      <a:pt x="25985" y="18987"/>
                      <a:pt x="24910" y="19142"/>
                    </a:cubicBezTo>
                    <a:cubicBezTo>
                      <a:pt x="24988" y="19142"/>
                      <a:pt x="24910" y="19298"/>
                      <a:pt x="24910" y="19252"/>
                    </a:cubicBezTo>
                    <a:cubicBezTo>
                      <a:pt x="24271" y="19750"/>
                      <a:pt x="24910" y="19719"/>
                      <a:pt x="24676" y="19969"/>
                    </a:cubicBezTo>
                    <a:cubicBezTo>
                      <a:pt x="24458" y="19969"/>
                      <a:pt x="24567" y="20374"/>
                      <a:pt x="24364" y="20327"/>
                    </a:cubicBezTo>
                    <a:cubicBezTo>
                      <a:pt x="23974" y="20748"/>
                      <a:pt x="23522" y="20327"/>
                      <a:pt x="23070" y="20779"/>
                    </a:cubicBezTo>
                    <a:cubicBezTo>
                      <a:pt x="22774" y="20779"/>
                      <a:pt x="22821" y="20140"/>
                      <a:pt x="22416" y="20421"/>
                    </a:cubicBezTo>
                    <a:cubicBezTo>
                      <a:pt x="22416" y="20421"/>
                      <a:pt x="22229" y="20296"/>
                      <a:pt x="22151" y="20421"/>
                    </a:cubicBezTo>
                    <a:cubicBezTo>
                      <a:pt x="22167" y="20247"/>
                      <a:pt x="22198" y="20075"/>
                      <a:pt x="22244" y="19906"/>
                    </a:cubicBezTo>
                    <a:cubicBezTo>
                      <a:pt x="21948" y="19906"/>
                      <a:pt x="22244" y="19906"/>
                      <a:pt x="22244" y="19750"/>
                    </a:cubicBezTo>
                    <a:cubicBezTo>
                      <a:pt x="21870" y="19984"/>
                      <a:pt x="22338" y="19329"/>
                      <a:pt x="22353" y="19189"/>
                    </a:cubicBezTo>
                    <a:cubicBezTo>
                      <a:pt x="22369" y="19049"/>
                      <a:pt x="22353" y="18690"/>
                      <a:pt x="22447" y="18566"/>
                    </a:cubicBezTo>
                    <a:lnTo>
                      <a:pt x="22447" y="18566"/>
                    </a:lnTo>
                    <a:cubicBezTo>
                      <a:pt x="22447" y="18566"/>
                      <a:pt x="22447" y="18566"/>
                      <a:pt x="22447" y="18457"/>
                    </a:cubicBezTo>
                    <a:cubicBezTo>
                      <a:pt x="22447" y="18347"/>
                      <a:pt x="22447" y="18457"/>
                      <a:pt x="22447" y="18363"/>
                    </a:cubicBezTo>
                    <a:cubicBezTo>
                      <a:pt x="22447" y="18269"/>
                      <a:pt x="22634" y="18238"/>
                      <a:pt x="22712" y="18192"/>
                    </a:cubicBezTo>
                    <a:cubicBezTo>
                      <a:pt x="22790" y="18145"/>
                      <a:pt x="23055" y="18192"/>
                      <a:pt x="23133" y="18192"/>
                    </a:cubicBezTo>
                    <a:cubicBezTo>
                      <a:pt x="23460" y="18192"/>
                      <a:pt x="23819" y="18347"/>
                      <a:pt x="24146" y="18269"/>
                    </a:cubicBezTo>
                    <a:cubicBezTo>
                      <a:pt x="24723" y="18722"/>
                      <a:pt x="24364" y="17163"/>
                      <a:pt x="24754" y="17755"/>
                    </a:cubicBezTo>
                    <a:cubicBezTo>
                      <a:pt x="24754" y="17662"/>
                      <a:pt x="24660" y="17521"/>
                      <a:pt x="24551" y="17506"/>
                    </a:cubicBezTo>
                    <a:cubicBezTo>
                      <a:pt x="24707" y="17303"/>
                      <a:pt x="24411" y="17256"/>
                      <a:pt x="24333" y="17116"/>
                    </a:cubicBezTo>
                    <a:cubicBezTo>
                      <a:pt x="24255" y="16976"/>
                      <a:pt x="24333" y="16898"/>
                      <a:pt x="24458" y="16991"/>
                    </a:cubicBezTo>
                    <a:cubicBezTo>
                      <a:pt x="24364" y="16851"/>
                      <a:pt x="24255" y="17085"/>
                      <a:pt x="24255" y="16835"/>
                    </a:cubicBezTo>
                    <a:cubicBezTo>
                      <a:pt x="24146" y="16835"/>
                      <a:pt x="23959" y="16648"/>
                      <a:pt x="23803" y="16757"/>
                    </a:cubicBezTo>
                    <a:cubicBezTo>
                      <a:pt x="23647" y="16867"/>
                      <a:pt x="23803" y="16757"/>
                      <a:pt x="23803" y="16648"/>
                    </a:cubicBezTo>
                    <a:cubicBezTo>
                      <a:pt x="23803" y="16539"/>
                      <a:pt x="23897" y="16508"/>
                      <a:pt x="23803" y="16648"/>
                    </a:cubicBezTo>
                    <a:cubicBezTo>
                      <a:pt x="23709" y="16789"/>
                      <a:pt x="23803" y="16648"/>
                      <a:pt x="23803" y="16648"/>
                    </a:cubicBezTo>
                    <a:cubicBezTo>
                      <a:pt x="23460" y="16539"/>
                      <a:pt x="23990" y="16524"/>
                      <a:pt x="24099" y="16446"/>
                    </a:cubicBezTo>
                    <a:cubicBezTo>
                      <a:pt x="24224" y="16602"/>
                      <a:pt x="24317" y="16446"/>
                      <a:pt x="24520" y="16555"/>
                    </a:cubicBezTo>
                    <a:cubicBezTo>
                      <a:pt x="24493" y="16422"/>
                      <a:pt x="24457" y="16292"/>
                      <a:pt x="24411" y="16165"/>
                    </a:cubicBezTo>
                    <a:cubicBezTo>
                      <a:pt x="24411" y="16165"/>
                      <a:pt x="24551" y="16165"/>
                      <a:pt x="24598" y="16165"/>
                    </a:cubicBezTo>
                    <a:cubicBezTo>
                      <a:pt x="24645" y="16165"/>
                      <a:pt x="24863" y="16337"/>
                      <a:pt x="24957" y="16165"/>
                    </a:cubicBezTo>
                    <a:cubicBezTo>
                      <a:pt x="24738" y="15994"/>
                      <a:pt x="25206" y="16072"/>
                      <a:pt x="25206" y="15978"/>
                    </a:cubicBezTo>
                    <a:cubicBezTo>
                      <a:pt x="25206" y="15884"/>
                      <a:pt x="25284" y="15775"/>
                      <a:pt x="25315" y="15682"/>
                    </a:cubicBezTo>
                    <a:cubicBezTo>
                      <a:pt x="25346" y="15588"/>
                      <a:pt x="25596" y="15417"/>
                      <a:pt x="25814" y="15542"/>
                    </a:cubicBezTo>
                    <a:cubicBezTo>
                      <a:pt x="25658" y="15542"/>
                      <a:pt x="25611" y="15354"/>
                      <a:pt x="25814" y="15542"/>
                    </a:cubicBezTo>
                    <a:cubicBezTo>
                      <a:pt x="26017" y="15729"/>
                      <a:pt x="25705" y="15432"/>
                      <a:pt x="25907" y="15448"/>
                    </a:cubicBezTo>
                    <a:cubicBezTo>
                      <a:pt x="25580" y="15214"/>
                      <a:pt x="26250" y="14622"/>
                      <a:pt x="26578" y="14918"/>
                    </a:cubicBezTo>
                    <a:cubicBezTo>
                      <a:pt x="26344" y="14747"/>
                      <a:pt x="26671" y="14622"/>
                      <a:pt x="26734" y="14918"/>
                    </a:cubicBezTo>
                    <a:cubicBezTo>
                      <a:pt x="26734" y="14700"/>
                      <a:pt x="26734" y="14918"/>
                      <a:pt x="26858" y="14918"/>
                    </a:cubicBezTo>
                    <a:cubicBezTo>
                      <a:pt x="26718" y="14544"/>
                      <a:pt x="26999" y="14731"/>
                      <a:pt x="27186" y="14793"/>
                    </a:cubicBezTo>
                    <a:cubicBezTo>
                      <a:pt x="26671" y="14559"/>
                      <a:pt x="26812" y="14061"/>
                      <a:pt x="26671" y="13718"/>
                    </a:cubicBezTo>
                    <a:cubicBezTo>
                      <a:pt x="26889" y="13718"/>
                      <a:pt x="26796" y="13577"/>
                      <a:pt x="26921" y="13718"/>
                    </a:cubicBezTo>
                    <a:cubicBezTo>
                      <a:pt x="26921" y="13281"/>
                      <a:pt x="27077" y="13718"/>
                      <a:pt x="27248" y="13718"/>
                    </a:cubicBezTo>
                    <a:cubicBezTo>
                      <a:pt x="27248" y="13952"/>
                      <a:pt x="26796" y="14092"/>
                      <a:pt x="27154" y="14528"/>
                    </a:cubicBezTo>
                    <a:cubicBezTo>
                      <a:pt x="27154" y="14419"/>
                      <a:pt x="27529" y="14528"/>
                      <a:pt x="27279" y="14606"/>
                    </a:cubicBezTo>
                    <a:cubicBezTo>
                      <a:pt x="27762" y="14606"/>
                      <a:pt x="27575" y="14310"/>
                      <a:pt x="28027" y="14606"/>
                    </a:cubicBezTo>
                    <a:cubicBezTo>
                      <a:pt x="28246" y="14949"/>
                      <a:pt x="28729" y="13936"/>
                      <a:pt x="29134" y="14310"/>
                    </a:cubicBezTo>
                    <a:cubicBezTo>
                      <a:pt x="28885" y="14310"/>
                      <a:pt x="29134" y="14559"/>
                      <a:pt x="29337" y="14310"/>
                    </a:cubicBezTo>
                    <a:cubicBezTo>
                      <a:pt x="29312" y="14365"/>
                      <a:pt x="29267" y="14410"/>
                      <a:pt x="29212" y="14435"/>
                    </a:cubicBezTo>
                    <a:cubicBezTo>
                      <a:pt x="30927" y="14357"/>
                      <a:pt x="28729" y="13858"/>
                      <a:pt x="29680" y="13157"/>
                    </a:cubicBezTo>
                    <a:cubicBezTo>
                      <a:pt x="30023" y="13687"/>
                      <a:pt x="30132" y="13328"/>
                      <a:pt x="29976" y="12907"/>
                    </a:cubicBezTo>
                    <a:cubicBezTo>
                      <a:pt x="29976" y="13094"/>
                      <a:pt x="29711" y="12907"/>
                      <a:pt x="29804" y="12767"/>
                    </a:cubicBezTo>
                    <a:cubicBezTo>
                      <a:pt x="29524" y="12767"/>
                      <a:pt x="29804" y="12486"/>
                      <a:pt x="29804" y="12424"/>
                    </a:cubicBezTo>
                    <a:cubicBezTo>
                      <a:pt x="29804" y="12362"/>
                      <a:pt x="30023" y="12424"/>
                      <a:pt x="29929" y="12424"/>
                    </a:cubicBezTo>
                    <a:lnTo>
                      <a:pt x="30506" y="12517"/>
                    </a:lnTo>
                    <a:cubicBezTo>
                      <a:pt x="30334" y="12252"/>
                      <a:pt x="30506" y="12424"/>
                      <a:pt x="30631" y="12221"/>
                    </a:cubicBezTo>
                    <a:cubicBezTo>
                      <a:pt x="30755" y="12019"/>
                      <a:pt x="30225" y="12128"/>
                      <a:pt x="30444" y="11972"/>
                    </a:cubicBezTo>
                    <a:cubicBezTo>
                      <a:pt x="30444" y="11972"/>
                      <a:pt x="30334" y="12065"/>
                      <a:pt x="30319" y="11972"/>
                    </a:cubicBezTo>
                    <a:cubicBezTo>
                      <a:pt x="30319" y="12112"/>
                      <a:pt x="30038" y="12128"/>
                      <a:pt x="29976" y="12081"/>
                    </a:cubicBezTo>
                    <a:cubicBezTo>
                      <a:pt x="29914" y="12034"/>
                      <a:pt x="29976" y="12081"/>
                      <a:pt x="29976" y="12081"/>
                    </a:cubicBezTo>
                    <a:cubicBezTo>
                      <a:pt x="29976" y="12081"/>
                      <a:pt x="29976" y="12299"/>
                      <a:pt x="29976" y="12081"/>
                    </a:cubicBezTo>
                    <a:cubicBezTo>
                      <a:pt x="29976" y="12206"/>
                      <a:pt x="29586" y="12221"/>
                      <a:pt x="29555" y="12362"/>
                    </a:cubicBezTo>
                    <a:cubicBezTo>
                      <a:pt x="29555" y="12081"/>
                      <a:pt x="29415" y="12174"/>
                      <a:pt x="29197" y="12034"/>
                    </a:cubicBezTo>
                    <a:cubicBezTo>
                      <a:pt x="28978" y="11894"/>
                      <a:pt x="28760" y="11021"/>
                      <a:pt x="28963" y="10943"/>
                    </a:cubicBezTo>
                    <a:cubicBezTo>
                      <a:pt x="29165" y="10865"/>
                      <a:pt x="28963" y="10865"/>
                      <a:pt x="29056" y="10943"/>
                    </a:cubicBezTo>
                    <a:cubicBezTo>
                      <a:pt x="29150" y="11021"/>
                      <a:pt x="29056" y="10818"/>
                      <a:pt x="29056" y="10725"/>
                    </a:cubicBezTo>
                    <a:cubicBezTo>
                      <a:pt x="29056" y="10631"/>
                      <a:pt x="29259" y="10304"/>
                      <a:pt x="29321" y="10397"/>
                    </a:cubicBezTo>
                    <a:cubicBezTo>
                      <a:pt x="29134" y="9992"/>
                      <a:pt x="28776" y="10117"/>
                      <a:pt x="28589" y="10148"/>
                    </a:cubicBezTo>
                    <a:cubicBezTo>
                      <a:pt x="28698" y="10304"/>
                      <a:pt x="28589" y="10507"/>
                      <a:pt x="28729" y="10631"/>
                    </a:cubicBezTo>
                    <a:cubicBezTo>
                      <a:pt x="28616" y="10941"/>
                      <a:pt x="28422" y="11216"/>
                      <a:pt x="28168" y="11426"/>
                    </a:cubicBezTo>
                    <a:cubicBezTo>
                      <a:pt x="28277" y="11504"/>
                      <a:pt x="28168" y="11660"/>
                      <a:pt x="28292" y="11769"/>
                    </a:cubicBezTo>
                    <a:cubicBezTo>
                      <a:pt x="28027" y="11909"/>
                      <a:pt x="29212" y="12704"/>
                      <a:pt x="28479" y="12517"/>
                    </a:cubicBezTo>
                    <a:cubicBezTo>
                      <a:pt x="28479" y="12517"/>
                      <a:pt x="28043" y="12517"/>
                      <a:pt x="28324" y="12627"/>
                    </a:cubicBezTo>
                    <a:cubicBezTo>
                      <a:pt x="28604" y="12736"/>
                      <a:pt x="28869" y="12814"/>
                      <a:pt x="28573" y="12751"/>
                    </a:cubicBezTo>
                    <a:cubicBezTo>
                      <a:pt x="28573" y="12751"/>
                      <a:pt x="28573" y="12938"/>
                      <a:pt x="28464" y="12876"/>
                    </a:cubicBezTo>
                    <a:cubicBezTo>
                      <a:pt x="28355" y="12814"/>
                      <a:pt x="28557" y="13001"/>
                      <a:pt x="28464" y="13016"/>
                    </a:cubicBezTo>
                    <a:cubicBezTo>
                      <a:pt x="28573" y="13016"/>
                      <a:pt x="28604" y="13250"/>
                      <a:pt x="28464" y="13172"/>
                    </a:cubicBezTo>
                    <a:cubicBezTo>
                      <a:pt x="28589" y="13422"/>
                      <a:pt x="28604" y="14076"/>
                      <a:pt x="28214" y="13827"/>
                    </a:cubicBezTo>
                    <a:cubicBezTo>
                      <a:pt x="27965" y="14793"/>
                      <a:pt x="27279" y="12845"/>
                      <a:pt x="27373" y="12751"/>
                    </a:cubicBezTo>
                    <a:cubicBezTo>
                      <a:pt x="27217" y="12658"/>
                      <a:pt x="27170" y="12564"/>
                      <a:pt x="27170" y="12533"/>
                    </a:cubicBezTo>
                    <a:cubicBezTo>
                      <a:pt x="27188" y="12620"/>
                      <a:pt x="27188" y="12711"/>
                      <a:pt x="27170" y="12798"/>
                    </a:cubicBezTo>
                    <a:cubicBezTo>
                      <a:pt x="27170" y="12798"/>
                      <a:pt x="27170" y="12798"/>
                      <a:pt x="26983" y="12673"/>
                    </a:cubicBezTo>
                    <a:cubicBezTo>
                      <a:pt x="26983" y="12814"/>
                      <a:pt x="26983" y="13032"/>
                      <a:pt x="26858" y="12969"/>
                    </a:cubicBezTo>
                    <a:cubicBezTo>
                      <a:pt x="26983" y="13125"/>
                      <a:pt x="26578" y="13234"/>
                      <a:pt x="26484" y="13094"/>
                    </a:cubicBezTo>
                    <a:cubicBezTo>
                      <a:pt x="26391" y="13203"/>
                      <a:pt x="26001" y="12751"/>
                      <a:pt x="26484" y="12798"/>
                    </a:cubicBezTo>
                    <a:cubicBezTo>
                      <a:pt x="26282" y="12798"/>
                      <a:pt x="26484" y="12704"/>
                      <a:pt x="26328" y="12595"/>
                    </a:cubicBezTo>
                    <a:cubicBezTo>
                      <a:pt x="26328" y="12876"/>
                      <a:pt x="26110" y="12424"/>
                      <a:pt x="26328" y="12595"/>
                    </a:cubicBezTo>
                    <a:cubicBezTo>
                      <a:pt x="26547" y="12767"/>
                      <a:pt x="26328" y="12595"/>
                      <a:pt x="26469" y="12502"/>
                    </a:cubicBezTo>
                    <a:cubicBezTo>
                      <a:pt x="26282" y="12502"/>
                      <a:pt x="26469" y="12206"/>
                      <a:pt x="26469" y="12393"/>
                    </a:cubicBezTo>
                    <a:cubicBezTo>
                      <a:pt x="26426" y="12350"/>
                      <a:pt x="26425" y="12281"/>
                      <a:pt x="26467" y="12238"/>
                    </a:cubicBezTo>
                    <a:cubicBezTo>
                      <a:pt x="26467" y="12238"/>
                      <a:pt x="26468" y="12237"/>
                      <a:pt x="26469" y="12237"/>
                    </a:cubicBezTo>
                    <a:cubicBezTo>
                      <a:pt x="26266" y="12315"/>
                      <a:pt x="26157" y="12455"/>
                      <a:pt x="26266" y="12237"/>
                    </a:cubicBezTo>
                    <a:cubicBezTo>
                      <a:pt x="26126" y="12237"/>
                      <a:pt x="26079" y="12315"/>
                      <a:pt x="26266" y="12143"/>
                    </a:cubicBezTo>
                    <a:cubicBezTo>
                      <a:pt x="25954" y="12019"/>
                      <a:pt x="26812" y="12237"/>
                      <a:pt x="26640" y="11941"/>
                    </a:cubicBezTo>
                    <a:cubicBezTo>
                      <a:pt x="26640" y="12097"/>
                      <a:pt x="25939" y="12065"/>
                      <a:pt x="26313" y="11941"/>
                    </a:cubicBezTo>
                    <a:cubicBezTo>
                      <a:pt x="26001" y="11941"/>
                      <a:pt x="26313" y="11832"/>
                      <a:pt x="26484" y="11816"/>
                    </a:cubicBezTo>
                    <a:cubicBezTo>
                      <a:pt x="26157" y="11816"/>
                      <a:pt x="26094" y="11644"/>
                      <a:pt x="26359" y="11722"/>
                    </a:cubicBezTo>
                    <a:cubicBezTo>
                      <a:pt x="26282" y="11722"/>
                      <a:pt x="26359" y="11598"/>
                      <a:pt x="26484" y="11722"/>
                    </a:cubicBezTo>
                    <a:lnTo>
                      <a:pt x="26484" y="11613"/>
                    </a:lnTo>
                    <a:cubicBezTo>
                      <a:pt x="26484" y="11613"/>
                      <a:pt x="26484" y="11613"/>
                      <a:pt x="26718" y="11613"/>
                    </a:cubicBezTo>
                    <a:cubicBezTo>
                      <a:pt x="26422" y="11613"/>
                      <a:pt x="26593" y="11426"/>
                      <a:pt x="26843" y="11613"/>
                    </a:cubicBezTo>
                    <a:cubicBezTo>
                      <a:pt x="26515" y="11348"/>
                      <a:pt x="26843" y="11613"/>
                      <a:pt x="26843" y="11504"/>
                    </a:cubicBezTo>
                    <a:cubicBezTo>
                      <a:pt x="26843" y="11395"/>
                      <a:pt x="27154" y="11083"/>
                      <a:pt x="27014" y="11504"/>
                    </a:cubicBezTo>
                    <a:cubicBezTo>
                      <a:pt x="27232" y="11379"/>
                      <a:pt x="27201" y="11379"/>
                      <a:pt x="27279" y="11161"/>
                    </a:cubicBezTo>
                    <a:cubicBezTo>
                      <a:pt x="27357" y="10943"/>
                      <a:pt x="27030" y="11629"/>
                      <a:pt x="27045" y="11270"/>
                    </a:cubicBezTo>
                    <a:cubicBezTo>
                      <a:pt x="26921" y="11364"/>
                      <a:pt x="27045" y="11037"/>
                      <a:pt x="27045" y="11068"/>
                    </a:cubicBezTo>
                    <a:cubicBezTo>
                      <a:pt x="27045" y="11099"/>
                      <a:pt x="27217" y="10896"/>
                      <a:pt x="27357" y="10678"/>
                    </a:cubicBezTo>
                    <a:cubicBezTo>
                      <a:pt x="27217" y="10787"/>
                      <a:pt x="27279" y="10460"/>
                      <a:pt x="27357" y="10538"/>
                    </a:cubicBezTo>
                    <a:cubicBezTo>
                      <a:pt x="27435" y="10616"/>
                      <a:pt x="27357" y="10382"/>
                      <a:pt x="27357" y="10460"/>
                    </a:cubicBezTo>
                    <a:cubicBezTo>
                      <a:pt x="27264" y="10273"/>
                      <a:pt x="27357" y="10382"/>
                      <a:pt x="27357" y="10288"/>
                    </a:cubicBezTo>
                    <a:cubicBezTo>
                      <a:pt x="27170" y="10288"/>
                      <a:pt x="27357" y="10195"/>
                      <a:pt x="27248" y="10117"/>
                    </a:cubicBezTo>
                    <a:cubicBezTo>
                      <a:pt x="27139" y="10039"/>
                      <a:pt x="27248" y="9821"/>
                      <a:pt x="27529" y="9961"/>
                    </a:cubicBezTo>
                    <a:cubicBezTo>
                      <a:pt x="27388" y="9883"/>
                      <a:pt x="27326" y="9743"/>
                      <a:pt x="27529" y="9836"/>
                    </a:cubicBezTo>
                    <a:cubicBezTo>
                      <a:pt x="27731" y="9930"/>
                      <a:pt x="27373" y="9711"/>
                      <a:pt x="27529" y="9696"/>
                    </a:cubicBezTo>
                    <a:cubicBezTo>
                      <a:pt x="27264" y="9696"/>
                      <a:pt x="27529" y="9696"/>
                      <a:pt x="27529" y="9509"/>
                    </a:cubicBezTo>
                    <a:cubicBezTo>
                      <a:pt x="27700" y="9509"/>
                      <a:pt x="27669" y="9509"/>
                      <a:pt x="27684" y="9509"/>
                    </a:cubicBezTo>
                    <a:cubicBezTo>
                      <a:pt x="28059" y="9587"/>
                      <a:pt x="27419" y="9369"/>
                      <a:pt x="27684" y="9369"/>
                    </a:cubicBezTo>
                    <a:cubicBezTo>
                      <a:pt x="27684" y="9369"/>
                      <a:pt x="27684" y="9275"/>
                      <a:pt x="27684" y="9275"/>
                    </a:cubicBezTo>
                    <a:cubicBezTo>
                      <a:pt x="27684" y="9275"/>
                      <a:pt x="27684" y="8994"/>
                      <a:pt x="27778" y="9182"/>
                    </a:cubicBezTo>
                    <a:cubicBezTo>
                      <a:pt x="27872" y="9369"/>
                      <a:pt x="27778" y="9182"/>
                      <a:pt x="27778" y="9182"/>
                    </a:cubicBezTo>
                    <a:cubicBezTo>
                      <a:pt x="27575" y="9057"/>
                      <a:pt x="27778" y="9088"/>
                      <a:pt x="27778" y="9182"/>
                    </a:cubicBezTo>
                    <a:cubicBezTo>
                      <a:pt x="27778" y="9275"/>
                      <a:pt x="27778" y="8870"/>
                      <a:pt x="27778" y="9182"/>
                    </a:cubicBezTo>
                    <a:cubicBezTo>
                      <a:pt x="27778" y="8776"/>
                      <a:pt x="27778" y="9291"/>
                      <a:pt x="27949" y="9182"/>
                    </a:cubicBezTo>
                    <a:cubicBezTo>
                      <a:pt x="27778" y="8870"/>
                      <a:pt x="28152" y="9182"/>
                      <a:pt x="27949" y="8839"/>
                    </a:cubicBezTo>
                    <a:cubicBezTo>
                      <a:pt x="28043" y="8839"/>
                      <a:pt x="28168" y="8994"/>
                      <a:pt x="28246" y="8979"/>
                    </a:cubicBezTo>
                    <a:cubicBezTo>
                      <a:pt x="28324" y="8963"/>
                      <a:pt x="28246" y="8714"/>
                      <a:pt x="28246" y="8729"/>
                    </a:cubicBezTo>
                    <a:cubicBezTo>
                      <a:pt x="28246" y="8745"/>
                      <a:pt x="28105" y="8589"/>
                      <a:pt x="28246" y="8729"/>
                    </a:cubicBezTo>
                    <a:cubicBezTo>
                      <a:pt x="28386" y="8870"/>
                      <a:pt x="28246" y="8620"/>
                      <a:pt x="28246" y="8729"/>
                    </a:cubicBezTo>
                    <a:cubicBezTo>
                      <a:pt x="28355" y="8574"/>
                      <a:pt x="28386" y="9462"/>
                      <a:pt x="28370" y="8729"/>
                    </a:cubicBezTo>
                    <a:cubicBezTo>
                      <a:pt x="28620" y="9197"/>
                      <a:pt x="28370" y="8636"/>
                      <a:pt x="28542" y="8620"/>
                    </a:cubicBezTo>
                    <a:cubicBezTo>
                      <a:pt x="28713" y="8605"/>
                      <a:pt x="28542" y="8761"/>
                      <a:pt x="28635" y="8932"/>
                    </a:cubicBezTo>
                    <a:cubicBezTo>
                      <a:pt x="28729" y="9104"/>
                      <a:pt x="28713" y="8932"/>
                      <a:pt x="28744" y="8932"/>
                    </a:cubicBezTo>
                    <a:cubicBezTo>
                      <a:pt x="28589" y="8620"/>
                      <a:pt x="28916" y="8792"/>
                      <a:pt x="28900" y="8932"/>
                    </a:cubicBezTo>
                    <a:cubicBezTo>
                      <a:pt x="29197" y="8932"/>
                      <a:pt x="29087" y="9197"/>
                      <a:pt x="28807" y="9104"/>
                    </a:cubicBezTo>
                    <a:cubicBezTo>
                      <a:pt x="28900" y="9104"/>
                      <a:pt x="28994" y="9104"/>
                      <a:pt x="29041" y="9275"/>
                    </a:cubicBezTo>
                    <a:cubicBezTo>
                      <a:pt x="29087" y="9446"/>
                      <a:pt x="29150" y="9150"/>
                      <a:pt x="29290" y="9275"/>
                    </a:cubicBezTo>
                    <a:cubicBezTo>
                      <a:pt x="29290" y="9166"/>
                      <a:pt x="29290" y="9182"/>
                      <a:pt x="29290" y="9119"/>
                    </a:cubicBezTo>
                    <a:cubicBezTo>
                      <a:pt x="29290" y="9057"/>
                      <a:pt x="29633" y="9353"/>
                      <a:pt x="29384" y="9119"/>
                    </a:cubicBezTo>
                    <a:cubicBezTo>
                      <a:pt x="29384" y="9291"/>
                      <a:pt x="29555" y="9119"/>
                      <a:pt x="29571" y="9275"/>
                    </a:cubicBezTo>
                    <a:cubicBezTo>
                      <a:pt x="29586" y="9431"/>
                      <a:pt x="30147" y="9275"/>
                      <a:pt x="30568" y="9556"/>
                    </a:cubicBezTo>
                    <a:cubicBezTo>
                      <a:pt x="30459" y="9431"/>
                      <a:pt x="30896" y="9743"/>
                      <a:pt x="30677" y="9556"/>
                    </a:cubicBezTo>
                    <a:cubicBezTo>
                      <a:pt x="31488" y="9836"/>
                      <a:pt x="31410" y="10756"/>
                      <a:pt x="30490" y="10304"/>
                    </a:cubicBezTo>
                    <a:cubicBezTo>
                      <a:pt x="30381" y="10304"/>
                      <a:pt x="30381" y="10304"/>
                      <a:pt x="30334" y="10304"/>
                    </a:cubicBezTo>
                    <a:cubicBezTo>
                      <a:pt x="30288" y="10304"/>
                      <a:pt x="29867" y="10070"/>
                      <a:pt x="30007" y="10304"/>
                    </a:cubicBezTo>
                    <a:cubicBezTo>
                      <a:pt x="30147" y="10538"/>
                      <a:pt x="30366" y="10429"/>
                      <a:pt x="30272" y="10584"/>
                    </a:cubicBezTo>
                    <a:cubicBezTo>
                      <a:pt x="30521" y="10584"/>
                      <a:pt x="31613" y="12050"/>
                      <a:pt x="31379" y="11192"/>
                    </a:cubicBezTo>
                    <a:cubicBezTo>
                      <a:pt x="31207" y="11348"/>
                      <a:pt x="30958" y="10943"/>
                      <a:pt x="31083" y="10896"/>
                    </a:cubicBezTo>
                    <a:cubicBezTo>
                      <a:pt x="32392" y="11722"/>
                      <a:pt x="30833" y="10117"/>
                      <a:pt x="31737" y="10413"/>
                    </a:cubicBezTo>
                    <a:cubicBezTo>
                      <a:pt x="31737" y="10288"/>
                      <a:pt x="31846" y="10413"/>
                      <a:pt x="31893" y="10413"/>
                    </a:cubicBezTo>
                    <a:cubicBezTo>
                      <a:pt x="31668" y="10019"/>
                      <a:pt x="31372" y="9671"/>
                      <a:pt x="31020" y="9384"/>
                    </a:cubicBezTo>
                    <a:cubicBezTo>
                      <a:pt x="31301" y="9384"/>
                      <a:pt x="31737" y="9478"/>
                      <a:pt x="31581" y="9758"/>
                    </a:cubicBezTo>
                    <a:cubicBezTo>
                      <a:pt x="31940" y="10304"/>
                      <a:pt x="32080" y="9758"/>
                      <a:pt x="31893" y="9556"/>
                    </a:cubicBezTo>
                    <a:cubicBezTo>
                      <a:pt x="32049" y="9556"/>
                      <a:pt x="31893" y="9026"/>
                      <a:pt x="32127" y="9337"/>
                    </a:cubicBezTo>
                    <a:cubicBezTo>
                      <a:pt x="32127" y="9244"/>
                      <a:pt x="31924" y="9057"/>
                      <a:pt x="32127" y="9213"/>
                    </a:cubicBezTo>
                    <a:cubicBezTo>
                      <a:pt x="31971" y="8807"/>
                      <a:pt x="32236" y="9213"/>
                      <a:pt x="32423" y="9353"/>
                    </a:cubicBezTo>
                    <a:cubicBezTo>
                      <a:pt x="32423" y="9259"/>
                      <a:pt x="32423" y="9228"/>
                      <a:pt x="32423" y="9353"/>
                    </a:cubicBezTo>
                    <a:cubicBezTo>
                      <a:pt x="32221" y="9119"/>
                      <a:pt x="32564" y="9197"/>
                      <a:pt x="32517" y="8932"/>
                    </a:cubicBezTo>
                    <a:cubicBezTo>
                      <a:pt x="32626" y="9072"/>
                      <a:pt x="32953" y="9322"/>
                      <a:pt x="32688" y="9026"/>
                    </a:cubicBezTo>
                    <a:cubicBezTo>
                      <a:pt x="32844" y="9026"/>
                      <a:pt x="32595" y="8885"/>
                      <a:pt x="32782" y="9026"/>
                    </a:cubicBezTo>
                    <a:cubicBezTo>
                      <a:pt x="32702" y="8968"/>
                      <a:pt x="32619" y="8916"/>
                      <a:pt x="32532" y="8870"/>
                    </a:cubicBezTo>
                    <a:lnTo>
                      <a:pt x="32532" y="8870"/>
                    </a:lnTo>
                    <a:cubicBezTo>
                      <a:pt x="31815" y="8309"/>
                      <a:pt x="33203" y="8729"/>
                      <a:pt x="33561" y="8979"/>
                    </a:cubicBezTo>
                    <a:cubicBezTo>
                      <a:pt x="33390" y="8729"/>
                      <a:pt x="33140" y="8683"/>
                      <a:pt x="32906" y="8496"/>
                    </a:cubicBezTo>
                    <a:lnTo>
                      <a:pt x="32906" y="8496"/>
                    </a:lnTo>
                    <a:cubicBezTo>
                      <a:pt x="32906" y="8496"/>
                      <a:pt x="32906" y="8496"/>
                      <a:pt x="32797" y="8496"/>
                    </a:cubicBezTo>
                    <a:lnTo>
                      <a:pt x="32797" y="8496"/>
                    </a:lnTo>
                    <a:lnTo>
                      <a:pt x="32564" y="8309"/>
                    </a:lnTo>
                    <a:cubicBezTo>
                      <a:pt x="32688" y="8309"/>
                      <a:pt x="32330" y="8153"/>
                      <a:pt x="32423" y="8153"/>
                    </a:cubicBezTo>
                    <a:cubicBezTo>
                      <a:pt x="32221" y="8059"/>
                      <a:pt x="31176" y="7186"/>
                      <a:pt x="31394" y="7155"/>
                    </a:cubicBezTo>
                    <a:cubicBezTo>
                      <a:pt x="32158" y="7436"/>
                      <a:pt x="32953" y="8246"/>
                      <a:pt x="33701" y="8714"/>
                    </a:cubicBezTo>
                    <a:lnTo>
                      <a:pt x="33701" y="8714"/>
                    </a:lnTo>
                    <a:cubicBezTo>
                      <a:pt x="33931" y="8894"/>
                      <a:pt x="34135" y="9103"/>
                      <a:pt x="34309" y="9337"/>
                    </a:cubicBezTo>
                    <a:lnTo>
                      <a:pt x="34309" y="9337"/>
                    </a:lnTo>
                    <a:cubicBezTo>
                      <a:pt x="34481" y="9446"/>
                      <a:pt x="34465" y="9602"/>
                      <a:pt x="34309" y="9337"/>
                    </a:cubicBezTo>
                    <a:cubicBezTo>
                      <a:pt x="34309" y="9337"/>
                      <a:pt x="34013" y="9337"/>
                      <a:pt x="34216" y="9462"/>
                    </a:cubicBezTo>
                    <a:cubicBezTo>
                      <a:pt x="35338" y="9711"/>
                      <a:pt x="33811" y="8729"/>
                      <a:pt x="33670" y="8418"/>
                    </a:cubicBezTo>
                    <a:cubicBezTo>
                      <a:pt x="33670" y="8418"/>
                      <a:pt x="33670" y="8418"/>
                      <a:pt x="33670" y="8418"/>
                    </a:cubicBezTo>
                    <a:cubicBezTo>
                      <a:pt x="32928" y="8092"/>
                      <a:pt x="32240" y="7655"/>
                      <a:pt x="31628" y="7124"/>
                    </a:cubicBezTo>
                    <a:cubicBezTo>
                      <a:pt x="31971" y="7280"/>
                      <a:pt x="32283" y="7623"/>
                      <a:pt x="32610" y="7669"/>
                    </a:cubicBezTo>
                    <a:cubicBezTo>
                      <a:pt x="32486" y="7498"/>
                      <a:pt x="32860" y="7779"/>
                      <a:pt x="32766" y="7669"/>
                    </a:cubicBezTo>
                    <a:cubicBezTo>
                      <a:pt x="32514" y="7656"/>
                      <a:pt x="32275" y="7551"/>
                      <a:pt x="32096" y="7373"/>
                    </a:cubicBezTo>
                    <a:cubicBezTo>
                      <a:pt x="32423" y="7514"/>
                      <a:pt x="32096" y="7373"/>
                      <a:pt x="32096" y="7295"/>
                    </a:cubicBezTo>
                    <a:lnTo>
                      <a:pt x="32096" y="7295"/>
                    </a:lnTo>
                    <a:cubicBezTo>
                      <a:pt x="31659" y="6765"/>
                      <a:pt x="33655" y="8059"/>
                      <a:pt x="33000" y="7560"/>
                    </a:cubicBezTo>
                    <a:cubicBezTo>
                      <a:pt x="33249" y="7742"/>
                      <a:pt x="33522" y="7889"/>
                      <a:pt x="33811" y="7997"/>
                    </a:cubicBezTo>
                    <a:cubicBezTo>
                      <a:pt x="33530" y="7810"/>
                      <a:pt x="33811" y="7888"/>
                      <a:pt x="33966" y="7997"/>
                    </a:cubicBezTo>
                    <a:cubicBezTo>
                      <a:pt x="33873" y="7903"/>
                      <a:pt x="33608" y="7794"/>
                      <a:pt x="33670" y="7903"/>
                    </a:cubicBezTo>
                    <a:cubicBezTo>
                      <a:pt x="33187" y="7685"/>
                      <a:pt x="32688" y="7311"/>
                      <a:pt x="32111" y="7077"/>
                    </a:cubicBezTo>
                    <a:cubicBezTo>
                      <a:pt x="31956" y="7077"/>
                      <a:pt x="31223" y="6719"/>
                      <a:pt x="31332" y="6563"/>
                    </a:cubicBezTo>
                    <a:cubicBezTo>
                      <a:pt x="31114" y="6282"/>
                      <a:pt x="31488" y="6656"/>
                      <a:pt x="31628" y="6641"/>
                    </a:cubicBezTo>
                    <a:cubicBezTo>
                      <a:pt x="31426" y="6641"/>
                      <a:pt x="31301" y="6391"/>
                      <a:pt x="31098" y="6360"/>
                    </a:cubicBezTo>
                    <a:cubicBezTo>
                      <a:pt x="30896" y="6329"/>
                      <a:pt x="30911" y="6360"/>
                      <a:pt x="30880" y="6282"/>
                    </a:cubicBezTo>
                    <a:cubicBezTo>
                      <a:pt x="30849" y="6204"/>
                      <a:pt x="30974" y="6282"/>
                      <a:pt x="30880" y="6282"/>
                    </a:cubicBezTo>
                    <a:cubicBezTo>
                      <a:pt x="30786" y="6282"/>
                      <a:pt x="30709" y="6204"/>
                      <a:pt x="30740" y="6282"/>
                    </a:cubicBezTo>
                    <a:cubicBezTo>
                      <a:pt x="30771" y="6360"/>
                      <a:pt x="30568" y="6173"/>
                      <a:pt x="30740" y="6282"/>
                    </a:cubicBezTo>
                    <a:lnTo>
                      <a:pt x="30506" y="6142"/>
                    </a:lnTo>
                    <a:cubicBezTo>
                      <a:pt x="30506" y="6142"/>
                      <a:pt x="30506" y="6142"/>
                      <a:pt x="30506" y="6142"/>
                    </a:cubicBezTo>
                    <a:lnTo>
                      <a:pt x="30101" y="5861"/>
                    </a:lnTo>
                    <a:lnTo>
                      <a:pt x="30101" y="5861"/>
                    </a:lnTo>
                    <a:cubicBezTo>
                      <a:pt x="30026" y="5804"/>
                      <a:pt x="29948" y="5752"/>
                      <a:pt x="29867" y="5705"/>
                    </a:cubicBezTo>
                    <a:lnTo>
                      <a:pt x="29867" y="5705"/>
                    </a:lnTo>
                    <a:lnTo>
                      <a:pt x="29867" y="5705"/>
                    </a:lnTo>
                    <a:lnTo>
                      <a:pt x="29867" y="5705"/>
                    </a:lnTo>
                    <a:lnTo>
                      <a:pt x="29664" y="5612"/>
                    </a:lnTo>
                    <a:lnTo>
                      <a:pt x="29664" y="5612"/>
                    </a:lnTo>
                    <a:cubicBezTo>
                      <a:pt x="29664" y="5612"/>
                      <a:pt x="29508" y="5612"/>
                      <a:pt x="29664" y="5612"/>
                    </a:cubicBezTo>
                    <a:lnTo>
                      <a:pt x="29664" y="5612"/>
                    </a:lnTo>
                    <a:lnTo>
                      <a:pt x="29664" y="5612"/>
                    </a:lnTo>
                    <a:lnTo>
                      <a:pt x="29914" y="5705"/>
                    </a:lnTo>
                    <a:lnTo>
                      <a:pt x="29711" y="5612"/>
                    </a:lnTo>
                    <a:lnTo>
                      <a:pt x="29851" y="5612"/>
                    </a:lnTo>
                    <a:lnTo>
                      <a:pt x="29773" y="5612"/>
                    </a:lnTo>
                    <a:cubicBezTo>
                      <a:pt x="29732" y="5603"/>
                      <a:pt x="29690" y="5603"/>
                      <a:pt x="29649" y="5612"/>
                    </a:cubicBezTo>
                    <a:lnTo>
                      <a:pt x="29649" y="5612"/>
                    </a:lnTo>
                    <a:cubicBezTo>
                      <a:pt x="29607" y="5620"/>
                      <a:pt x="29565" y="5620"/>
                      <a:pt x="29524" y="5612"/>
                    </a:cubicBezTo>
                    <a:lnTo>
                      <a:pt x="29836" y="5721"/>
                    </a:lnTo>
                    <a:cubicBezTo>
                      <a:pt x="29722" y="5665"/>
                      <a:pt x="29601" y="5623"/>
                      <a:pt x="29477" y="5596"/>
                    </a:cubicBezTo>
                    <a:lnTo>
                      <a:pt x="29477" y="5596"/>
                    </a:lnTo>
                    <a:cubicBezTo>
                      <a:pt x="29477" y="5596"/>
                      <a:pt x="29306" y="5596"/>
                      <a:pt x="29352" y="5596"/>
                    </a:cubicBezTo>
                    <a:cubicBezTo>
                      <a:pt x="29399" y="5596"/>
                      <a:pt x="29352" y="5596"/>
                      <a:pt x="29352" y="5596"/>
                    </a:cubicBezTo>
                    <a:lnTo>
                      <a:pt x="29352" y="5596"/>
                    </a:lnTo>
                    <a:lnTo>
                      <a:pt x="29228" y="5596"/>
                    </a:lnTo>
                    <a:lnTo>
                      <a:pt x="29228" y="5596"/>
                    </a:lnTo>
                    <a:lnTo>
                      <a:pt x="28807" y="5471"/>
                    </a:lnTo>
                    <a:lnTo>
                      <a:pt x="28807" y="5471"/>
                    </a:lnTo>
                    <a:cubicBezTo>
                      <a:pt x="28651" y="5471"/>
                      <a:pt x="27918" y="5191"/>
                      <a:pt x="28090" y="5222"/>
                    </a:cubicBezTo>
                    <a:lnTo>
                      <a:pt x="28090" y="5222"/>
                    </a:lnTo>
                    <a:lnTo>
                      <a:pt x="28183" y="5222"/>
                    </a:lnTo>
                    <a:lnTo>
                      <a:pt x="28183" y="5222"/>
                    </a:lnTo>
                    <a:cubicBezTo>
                      <a:pt x="28355" y="5222"/>
                      <a:pt x="28511" y="5316"/>
                      <a:pt x="28682" y="5362"/>
                    </a:cubicBezTo>
                    <a:lnTo>
                      <a:pt x="28511" y="5362"/>
                    </a:lnTo>
                    <a:lnTo>
                      <a:pt x="28667" y="5362"/>
                    </a:lnTo>
                    <a:lnTo>
                      <a:pt x="28573" y="5362"/>
                    </a:lnTo>
                    <a:cubicBezTo>
                      <a:pt x="28667" y="5362"/>
                      <a:pt x="28464" y="5362"/>
                      <a:pt x="28573" y="5362"/>
                    </a:cubicBezTo>
                    <a:lnTo>
                      <a:pt x="28573" y="5362"/>
                    </a:lnTo>
                    <a:cubicBezTo>
                      <a:pt x="28854" y="5440"/>
                      <a:pt x="29477" y="5627"/>
                      <a:pt x="28869" y="5362"/>
                    </a:cubicBezTo>
                    <a:lnTo>
                      <a:pt x="28869" y="5362"/>
                    </a:lnTo>
                    <a:lnTo>
                      <a:pt x="28776" y="5362"/>
                    </a:lnTo>
                    <a:lnTo>
                      <a:pt x="28776" y="5362"/>
                    </a:lnTo>
                    <a:lnTo>
                      <a:pt x="28776" y="5362"/>
                    </a:lnTo>
                    <a:lnTo>
                      <a:pt x="28776" y="5362"/>
                    </a:lnTo>
                    <a:lnTo>
                      <a:pt x="28776" y="5362"/>
                    </a:lnTo>
                    <a:lnTo>
                      <a:pt x="29306" y="5487"/>
                    </a:lnTo>
                    <a:lnTo>
                      <a:pt x="29087" y="5487"/>
                    </a:lnTo>
                    <a:lnTo>
                      <a:pt x="29384" y="5487"/>
                    </a:lnTo>
                    <a:lnTo>
                      <a:pt x="29617" y="5487"/>
                    </a:lnTo>
                    <a:lnTo>
                      <a:pt x="29617" y="5487"/>
                    </a:lnTo>
                    <a:cubicBezTo>
                      <a:pt x="29415" y="5487"/>
                      <a:pt x="29617" y="5487"/>
                      <a:pt x="29742" y="5487"/>
                    </a:cubicBezTo>
                    <a:lnTo>
                      <a:pt x="29742" y="5487"/>
                    </a:lnTo>
                    <a:lnTo>
                      <a:pt x="29742" y="5487"/>
                    </a:lnTo>
                    <a:cubicBezTo>
                      <a:pt x="30128" y="5587"/>
                      <a:pt x="30504" y="5722"/>
                      <a:pt x="30864" y="5892"/>
                    </a:cubicBezTo>
                    <a:cubicBezTo>
                      <a:pt x="30864" y="5892"/>
                      <a:pt x="30864" y="5892"/>
                      <a:pt x="30864" y="5892"/>
                    </a:cubicBezTo>
                    <a:cubicBezTo>
                      <a:pt x="30864" y="5892"/>
                      <a:pt x="31270" y="6048"/>
                      <a:pt x="31441" y="6142"/>
                    </a:cubicBezTo>
                    <a:lnTo>
                      <a:pt x="31441" y="6142"/>
                    </a:lnTo>
                    <a:lnTo>
                      <a:pt x="32189" y="6500"/>
                    </a:lnTo>
                    <a:cubicBezTo>
                      <a:pt x="31956" y="6376"/>
                      <a:pt x="31722" y="6235"/>
                      <a:pt x="31457" y="6111"/>
                    </a:cubicBezTo>
                    <a:lnTo>
                      <a:pt x="31457" y="6111"/>
                    </a:lnTo>
                    <a:lnTo>
                      <a:pt x="31176" y="5986"/>
                    </a:lnTo>
                    <a:lnTo>
                      <a:pt x="31301" y="5986"/>
                    </a:lnTo>
                    <a:cubicBezTo>
                      <a:pt x="31301" y="5986"/>
                      <a:pt x="30896" y="5846"/>
                      <a:pt x="31083" y="5892"/>
                    </a:cubicBezTo>
                    <a:lnTo>
                      <a:pt x="30958" y="5892"/>
                    </a:lnTo>
                    <a:lnTo>
                      <a:pt x="31239" y="5986"/>
                    </a:lnTo>
                    <a:cubicBezTo>
                      <a:pt x="31152" y="5934"/>
                      <a:pt x="31057" y="5897"/>
                      <a:pt x="30958" y="5877"/>
                    </a:cubicBezTo>
                    <a:cubicBezTo>
                      <a:pt x="31116" y="5914"/>
                      <a:pt x="31273" y="5961"/>
                      <a:pt x="31426" y="6017"/>
                    </a:cubicBezTo>
                    <a:lnTo>
                      <a:pt x="31285" y="6017"/>
                    </a:lnTo>
                    <a:lnTo>
                      <a:pt x="31285" y="6017"/>
                    </a:lnTo>
                    <a:lnTo>
                      <a:pt x="30584" y="4380"/>
                    </a:lnTo>
                    <a:cubicBezTo>
                      <a:pt x="38732" y="7070"/>
                      <a:pt x="44371" y="14514"/>
                      <a:pt x="44753" y="23086"/>
                    </a:cubicBezTo>
                    <a:cubicBezTo>
                      <a:pt x="44742" y="23396"/>
                      <a:pt x="44700" y="23704"/>
                      <a:pt x="44629" y="24006"/>
                    </a:cubicBezTo>
                    <a:cubicBezTo>
                      <a:pt x="44691" y="23912"/>
                      <a:pt x="44613" y="24084"/>
                      <a:pt x="44613" y="24131"/>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5" name="Google Shape;315;p28"/>
              <p:cNvSpPr/>
              <p:nvPr/>
            </p:nvSpPr>
            <p:spPr>
              <a:xfrm rot="-5400000">
                <a:off x="10654635" y="7242900"/>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6" name="Google Shape;316;p28"/>
              <p:cNvSpPr/>
              <p:nvPr/>
            </p:nvSpPr>
            <p:spPr>
              <a:xfrm rot="-5400000">
                <a:off x="10647776" y="7212394"/>
                <a:ext cx="41027" cy="46516"/>
              </a:xfrm>
              <a:custGeom>
                <a:avLst/>
                <a:gdLst/>
                <a:ahLst/>
                <a:cxnLst/>
                <a:rect l="l" t="t" r="r" b="b"/>
                <a:pathLst>
                  <a:path w="41027" h="46516" extrusionOk="0">
                    <a:moveTo>
                      <a:pt x="36554" y="3664"/>
                    </a:moveTo>
                    <a:cubicBezTo>
                      <a:pt x="39537" y="6127"/>
                      <a:pt x="41028" y="10206"/>
                      <a:pt x="41028" y="15901"/>
                    </a:cubicBezTo>
                    <a:lnTo>
                      <a:pt x="41028" y="46517"/>
                    </a:lnTo>
                    <a:lnTo>
                      <a:pt x="28854" y="46517"/>
                    </a:lnTo>
                    <a:lnTo>
                      <a:pt x="28854" y="18863"/>
                    </a:lnTo>
                    <a:cubicBezTo>
                      <a:pt x="28943" y="16981"/>
                      <a:pt x="28618" y="15103"/>
                      <a:pt x="27903" y="13360"/>
                    </a:cubicBezTo>
                    <a:cubicBezTo>
                      <a:pt x="26734" y="11038"/>
                      <a:pt x="24536" y="9869"/>
                      <a:pt x="21278" y="9869"/>
                    </a:cubicBezTo>
                    <a:cubicBezTo>
                      <a:pt x="17705" y="9597"/>
                      <a:pt x="14368" y="11672"/>
                      <a:pt x="13032" y="14997"/>
                    </a:cubicBezTo>
                    <a:cubicBezTo>
                      <a:pt x="12195" y="17206"/>
                      <a:pt x="11803" y="19558"/>
                      <a:pt x="11878" y="21918"/>
                    </a:cubicBezTo>
                    <a:lnTo>
                      <a:pt x="11878" y="46517"/>
                    </a:lnTo>
                    <a:lnTo>
                      <a:pt x="0" y="46517"/>
                    </a:lnTo>
                    <a:lnTo>
                      <a:pt x="0" y="1155"/>
                    </a:lnTo>
                    <a:lnTo>
                      <a:pt x="11504" y="1155"/>
                    </a:lnTo>
                    <a:lnTo>
                      <a:pt x="11504" y="7811"/>
                    </a:lnTo>
                    <a:cubicBezTo>
                      <a:pt x="12650" y="5897"/>
                      <a:pt x="14110" y="4190"/>
                      <a:pt x="15822" y="2760"/>
                    </a:cubicBezTo>
                    <a:cubicBezTo>
                      <a:pt x="18522" y="851"/>
                      <a:pt x="21777" y="-114"/>
                      <a:pt x="25081" y="17"/>
                    </a:cubicBezTo>
                    <a:cubicBezTo>
                      <a:pt x="29217" y="-165"/>
                      <a:pt x="33283" y="1128"/>
                      <a:pt x="36554" y="366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7" name="Google Shape;317;p28"/>
              <p:cNvSpPr/>
              <p:nvPr/>
            </p:nvSpPr>
            <p:spPr>
              <a:xfrm rot="-5400000">
                <a:off x="10647372" y="7164586"/>
                <a:ext cx="26265" cy="62088"/>
              </a:xfrm>
              <a:custGeom>
                <a:avLst/>
                <a:gdLst/>
                <a:ahLst/>
                <a:cxnLst/>
                <a:rect l="l" t="t" r="r" b="b"/>
                <a:pathLst>
                  <a:path w="26265" h="62088" extrusionOk="0">
                    <a:moveTo>
                      <a:pt x="23476" y="0"/>
                    </a:moveTo>
                    <a:lnTo>
                      <a:pt x="25970" y="187"/>
                    </a:lnTo>
                    <a:lnTo>
                      <a:pt x="25970" y="9930"/>
                    </a:lnTo>
                    <a:cubicBezTo>
                      <a:pt x="24857" y="9809"/>
                      <a:pt x="23738" y="9746"/>
                      <a:pt x="22618" y="9743"/>
                    </a:cubicBezTo>
                    <a:cubicBezTo>
                      <a:pt x="21432" y="9564"/>
                      <a:pt x="20229" y="9943"/>
                      <a:pt x="19360" y="10771"/>
                    </a:cubicBezTo>
                    <a:cubicBezTo>
                      <a:pt x="18789" y="11459"/>
                      <a:pt x="18475" y="12325"/>
                      <a:pt x="18472" y="13219"/>
                    </a:cubicBezTo>
                    <a:lnTo>
                      <a:pt x="18472" y="17054"/>
                    </a:lnTo>
                    <a:lnTo>
                      <a:pt x="26266" y="17054"/>
                    </a:lnTo>
                    <a:lnTo>
                      <a:pt x="26266" y="25440"/>
                    </a:lnTo>
                    <a:lnTo>
                      <a:pt x="18472" y="25440"/>
                    </a:lnTo>
                    <a:lnTo>
                      <a:pt x="18472" y="62088"/>
                    </a:lnTo>
                    <a:lnTo>
                      <a:pt x="6672" y="62088"/>
                    </a:lnTo>
                    <a:lnTo>
                      <a:pt x="6672" y="25440"/>
                    </a:lnTo>
                    <a:lnTo>
                      <a:pt x="0" y="25440"/>
                    </a:lnTo>
                    <a:lnTo>
                      <a:pt x="0" y="17054"/>
                    </a:lnTo>
                    <a:lnTo>
                      <a:pt x="6500" y="17054"/>
                    </a:lnTo>
                    <a:lnTo>
                      <a:pt x="6500" y="14139"/>
                    </a:lnTo>
                    <a:cubicBezTo>
                      <a:pt x="6500" y="9275"/>
                      <a:pt x="7321" y="5924"/>
                      <a:pt x="8963" y="4084"/>
                    </a:cubicBezTo>
                    <a:cubicBezTo>
                      <a:pt x="10693" y="1356"/>
                      <a:pt x="14840" y="0"/>
                      <a:pt x="21434" y="0"/>
                    </a:cubicBezTo>
                    <a:cubicBezTo>
                      <a:pt x="22182" y="0"/>
                      <a:pt x="22868" y="0"/>
                      <a:pt x="23476" y="0"/>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8" name="Google Shape;318;p28"/>
              <p:cNvSpPr/>
              <p:nvPr/>
            </p:nvSpPr>
            <p:spPr>
              <a:xfrm rot="-5400000">
                <a:off x="10646133" y="6877843"/>
                <a:ext cx="44501" cy="46328"/>
              </a:xfrm>
              <a:custGeom>
                <a:avLst/>
                <a:gdLst/>
                <a:ahLst/>
                <a:cxnLst/>
                <a:rect l="l" t="t" r="r" b="b"/>
                <a:pathLst>
                  <a:path w="44501" h="46328" extrusionOk="0">
                    <a:moveTo>
                      <a:pt x="38977" y="39516"/>
                    </a:moveTo>
                    <a:cubicBezTo>
                      <a:pt x="35309" y="44047"/>
                      <a:pt x="29733" y="46318"/>
                      <a:pt x="22251" y="46328"/>
                    </a:cubicBezTo>
                    <a:cubicBezTo>
                      <a:pt x="14769" y="46339"/>
                      <a:pt x="9188" y="44068"/>
                      <a:pt x="5510" y="39516"/>
                    </a:cubicBezTo>
                    <a:cubicBezTo>
                      <a:pt x="1815" y="34897"/>
                      <a:pt x="-132" y="29124"/>
                      <a:pt x="7" y="23211"/>
                    </a:cubicBezTo>
                    <a:cubicBezTo>
                      <a:pt x="-118" y="17296"/>
                      <a:pt x="1829" y="11523"/>
                      <a:pt x="5510" y="6890"/>
                    </a:cubicBezTo>
                    <a:cubicBezTo>
                      <a:pt x="9188" y="2286"/>
                      <a:pt x="14769" y="-10"/>
                      <a:pt x="22251" y="0"/>
                    </a:cubicBezTo>
                    <a:cubicBezTo>
                      <a:pt x="29733" y="10"/>
                      <a:pt x="35309" y="2307"/>
                      <a:pt x="38977" y="6890"/>
                    </a:cubicBezTo>
                    <a:cubicBezTo>
                      <a:pt x="42662" y="11521"/>
                      <a:pt x="44614" y="17294"/>
                      <a:pt x="44495" y="23211"/>
                    </a:cubicBezTo>
                    <a:cubicBezTo>
                      <a:pt x="44629" y="29126"/>
                      <a:pt x="42675" y="34898"/>
                      <a:pt x="38977" y="39516"/>
                    </a:cubicBezTo>
                    <a:close/>
                    <a:moveTo>
                      <a:pt x="29874" y="33281"/>
                    </a:moveTo>
                    <a:cubicBezTo>
                      <a:pt x="31833" y="30303"/>
                      <a:pt x="32775" y="26769"/>
                      <a:pt x="32555" y="23211"/>
                    </a:cubicBezTo>
                    <a:cubicBezTo>
                      <a:pt x="32782" y="19652"/>
                      <a:pt x="31841" y="16116"/>
                      <a:pt x="29874" y="13141"/>
                    </a:cubicBezTo>
                    <a:cubicBezTo>
                      <a:pt x="26221" y="8901"/>
                      <a:pt x="19824" y="8424"/>
                      <a:pt x="15584" y="12076"/>
                    </a:cubicBezTo>
                    <a:cubicBezTo>
                      <a:pt x="15204" y="12404"/>
                      <a:pt x="14847" y="12760"/>
                      <a:pt x="14519" y="13141"/>
                    </a:cubicBezTo>
                    <a:cubicBezTo>
                      <a:pt x="12548" y="16114"/>
                      <a:pt x="11600" y="19650"/>
                      <a:pt x="11823" y="23211"/>
                    </a:cubicBezTo>
                    <a:cubicBezTo>
                      <a:pt x="11600" y="26782"/>
                      <a:pt x="12546" y="30328"/>
                      <a:pt x="14519" y="33312"/>
                    </a:cubicBezTo>
                    <a:cubicBezTo>
                      <a:pt x="18145" y="37552"/>
                      <a:pt x="24521" y="38050"/>
                      <a:pt x="28761" y="34425"/>
                    </a:cubicBezTo>
                    <a:cubicBezTo>
                      <a:pt x="29160" y="34083"/>
                      <a:pt x="29532" y="33711"/>
                      <a:pt x="29874" y="333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9" name="Google Shape;319;p28"/>
              <p:cNvSpPr/>
              <p:nvPr/>
            </p:nvSpPr>
            <p:spPr>
              <a:xfrm rot="-5400000">
                <a:off x="10635737" y="7067825"/>
                <a:ext cx="65151" cy="46470"/>
              </a:xfrm>
              <a:custGeom>
                <a:avLst/>
                <a:gdLst/>
                <a:ahLst/>
                <a:cxnLst/>
                <a:rect l="l" t="t" r="r" b="b"/>
                <a:pathLst>
                  <a:path w="65151" h="46470" extrusionOk="0">
                    <a:moveTo>
                      <a:pt x="56850" y="1186"/>
                    </a:moveTo>
                    <a:cubicBezTo>
                      <a:pt x="58932" y="2071"/>
                      <a:pt x="60753" y="3478"/>
                      <a:pt x="62134" y="5271"/>
                    </a:cubicBezTo>
                    <a:cubicBezTo>
                      <a:pt x="63468" y="6974"/>
                      <a:pt x="64359" y="8983"/>
                      <a:pt x="64722" y="11116"/>
                    </a:cubicBezTo>
                    <a:cubicBezTo>
                      <a:pt x="65051" y="13335"/>
                      <a:pt x="65191" y="15577"/>
                      <a:pt x="65143" y="17819"/>
                    </a:cubicBezTo>
                    <a:lnTo>
                      <a:pt x="65143" y="46470"/>
                    </a:lnTo>
                    <a:lnTo>
                      <a:pt x="52953" y="46470"/>
                    </a:lnTo>
                    <a:lnTo>
                      <a:pt x="52953" y="17523"/>
                    </a:lnTo>
                    <a:cubicBezTo>
                      <a:pt x="53012" y="16064"/>
                      <a:pt x="52728" y="14612"/>
                      <a:pt x="52127" y="13283"/>
                    </a:cubicBezTo>
                    <a:cubicBezTo>
                      <a:pt x="50992" y="11152"/>
                      <a:pt x="48682" y="9920"/>
                      <a:pt x="46281" y="10165"/>
                    </a:cubicBezTo>
                    <a:cubicBezTo>
                      <a:pt x="43382" y="9944"/>
                      <a:pt x="40660" y="11583"/>
                      <a:pt x="39500" y="14249"/>
                    </a:cubicBezTo>
                    <a:cubicBezTo>
                      <a:pt x="38811" y="15902"/>
                      <a:pt x="38482" y="17682"/>
                      <a:pt x="38534" y="19471"/>
                    </a:cubicBezTo>
                    <a:lnTo>
                      <a:pt x="38534" y="46470"/>
                    </a:lnTo>
                    <a:lnTo>
                      <a:pt x="26562" y="46470"/>
                    </a:lnTo>
                    <a:lnTo>
                      <a:pt x="26562" y="19409"/>
                    </a:lnTo>
                    <a:cubicBezTo>
                      <a:pt x="26671" y="17415"/>
                      <a:pt x="26391" y="15419"/>
                      <a:pt x="25736" y="13532"/>
                    </a:cubicBezTo>
                    <a:cubicBezTo>
                      <a:pt x="24678" y="11295"/>
                      <a:pt x="22321" y="9970"/>
                      <a:pt x="19859" y="10228"/>
                    </a:cubicBezTo>
                    <a:cubicBezTo>
                      <a:pt x="16461" y="10228"/>
                      <a:pt x="14180" y="11329"/>
                      <a:pt x="13016" y="13532"/>
                    </a:cubicBezTo>
                    <a:cubicBezTo>
                      <a:pt x="12276" y="15295"/>
                      <a:pt x="11945" y="17204"/>
                      <a:pt x="12050" y="19113"/>
                    </a:cubicBezTo>
                    <a:lnTo>
                      <a:pt x="12050" y="46470"/>
                    </a:lnTo>
                    <a:lnTo>
                      <a:pt x="0" y="46470"/>
                    </a:lnTo>
                    <a:lnTo>
                      <a:pt x="0" y="1108"/>
                    </a:lnTo>
                    <a:lnTo>
                      <a:pt x="11551" y="1108"/>
                    </a:lnTo>
                    <a:lnTo>
                      <a:pt x="11551" y="7765"/>
                    </a:lnTo>
                    <a:cubicBezTo>
                      <a:pt x="12642" y="5853"/>
                      <a:pt x="14056" y="4144"/>
                      <a:pt x="15728" y="2714"/>
                    </a:cubicBezTo>
                    <a:cubicBezTo>
                      <a:pt x="20982" y="-698"/>
                      <a:pt x="27714" y="-843"/>
                      <a:pt x="33109" y="2340"/>
                    </a:cubicBezTo>
                    <a:cubicBezTo>
                      <a:pt x="34832" y="3792"/>
                      <a:pt x="36157" y="5659"/>
                      <a:pt x="36959" y="7765"/>
                    </a:cubicBezTo>
                    <a:cubicBezTo>
                      <a:pt x="38303" y="5303"/>
                      <a:pt x="40306" y="3263"/>
                      <a:pt x="42743" y="1872"/>
                    </a:cubicBezTo>
                    <a:cubicBezTo>
                      <a:pt x="45282" y="604"/>
                      <a:pt x="48088" y="-38"/>
                      <a:pt x="50926" y="2"/>
                    </a:cubicBezTo>
                    <a:cubicBezTo>
                      <a:pt x="52959" y="13"/>
                      <a:pt x="54970" y="415"/>
                      <a:pt x="56850" y="11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28"/>
              <p:cNvSpPr/>
              <p:nvPr/>
            </p:nvSpPr>
            <p:spPr>
              <a:xfrm rot="-5400000">
                <a:off x="10654635" y="7010498"/>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1" name="Google Shape;321;p28"/>
              <p:cNvSpPr/>
              <p:nvPr/>
            </p:nvSpPr>
            <p:spPr>
              <a:xfrm rot="-5400000">
                <a:off x="10647776" y="6979991"/>
                <a:ext cx="41027" cy="46516"/>
              </a:xfrm>
              <a:custGeom>
                <a:avLst/>
                <a:gdLst/>
                <a:ahLst/>
                <a:cxnLst/>
                <a:rect l="l" t="t" r="r" b="b"/>
                <a:pathLst>
                  <a:path w="41027" h="46516" extrusionOk="0">
                    <a:moveTo>
                      <a:pt x="36570" y="3664"/>
                    </a:moveTo>
                    <a:cubicBezTo>
                      <a:pt x="39531" y="6127"/>
                      <a:pt x="41028" y="10211"/>
                      <a:pt x="41028" y="15901"/>
                    </a:cubicBezTo>
                    <a:lnTo>
                      <a:pt x="41028" y="46517"/>
                    </a:lnTo>
                    <a:lnTo>
                      <a:pt x="28854" y="46517"/>
                    </a:lnTo>
                    <a:lnTo>
                      <a:pt x="28854" y="18863"/>
                    </a:lnTo>
                    <a:cubicBezTo>
                      <a:pt x="28950" y="16981"/>
                      <a:pt x="28626" y="15101"/>
                      <a:pt x="27903" y="13360"/>
                    </a:cubicBezTo>
                    <a:cubicBezTo>
                      <a:pt x="26734" y="11038"/>
                      <a:pt x="24536" y="9869"/>
                      <a:pt x="21278" y="9869"/>
                    </a:cubicBezTo>
                    <a:cubicBezTo>
                      <a:pt x="17707" y="9588"/>
                      <a:pt x="14369" y="11668"/>
                      <a:pt x="13047" y="14997"/>
                    </a:cubicBezTo>
                    <a:cubicBezTo>
                      <a:pt x="12196" y="17202"/>
                      <a:pt x="11799" y="19556"/>
                      <a:pt x="11878" y="21918"/>
                    </a:cubicBezTo>
                    <a:lnTo>
                      <a:pt x="11878" y="46517"/>
                    </a:lnTo>
                    <a:lnTo>
                      <a:pt x="0" y="46517"/>
                    </a:lnTo>
                    <a:lnTo>
                      <a:pt x="0" y="1155"/>
                    </a:lnTo>
                    <a:lnTo>
                      <a:pt x="11504" y="1155"/>
                    </a:lnTo>
                    <a:lnTo>
                      <a:pt x="11504" y="7811"/>
                    </a:lnTo>
                    <a:cubicBezTo>
                      <a:pt x="12656" y="5901"/>
                      <a:pt x="14115" y="4195"/>
                      <a:pt x="15822" y="2760"/>
                    </a:cubicBezTo>
                    <a:cubicBezTo>
                      <a:pt x="18522" y="851"/>
                      <a:pt x="21777" y="-114"/>
                      <a:pt x="25081" y="17"/>
                    </a:cubicBezTo>
                    <a:cubicBezTo>
                      <a:pt x="29221" y="-164"/>
                      <a:pt x="33292" y="1128"/>
                      <a:pt x="36570"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2" name="Google Shape;322;p28"/>
              <p:cNvSpPr/>
              <p:nvPr/>
            </p:nvSpPr>
            <p:spPr>
              <a:xfrm rot="-5400000">
                <a:off x="10646435" y="6930030"/>
                <a:ext cx="43636" cy="46747"/>
              </a:xfrm>
              <a:custGeom>
                <a:avLst/>
                <a:gdLst/>
                <a:ahLst/>
                <a:cxnLst/>
                <a:rect l="l" t="t" r="r" b="b"/>
                <a:pathLst>
                  <a:path w="43636" h="46747" extrusionOk="0">
                    <a:moveTo>
                      <a:pt x="32111" y="2070"/>
                    </a:moveTo>
                    <a:cubicBezTo>
                      <a:pt x="35215" y="3467"/>
                      <a:pt x="37854" y="5723"/>
                      <a:pt x="39718" y="8570"/>
                    </a:cubicBezTo>
                    <a:cubicBezTo>
                      <a:pt x="41567" y="11297"/>
                      <a:pt x="42768" y="14411"/>
                      <a:pt x="43226" y="17674"/>
                    </a:cubicBezTo>
                    <a:cubicBezTo>
                      <a:pt x="43580" y="20569"/>
                      <a:pt x="43706" y="23488"/>
                      <a:pt x="43600" y="26403"/>
                    </a:cubicBezTo>
                    <a:lnTo>
                      <a:pt x="11535" y="26403"/>
                    </a:lnTo>
                    <a:cubicBezTo>
                      <a:pt x="11707" y="30815"/>
                      <a:pt x="13250" y="33917"/>
                      <a:pt x="16134" y="35756"/>
                    </a:cubicBezTo>
                    <a:cubicBezTo>
                      <a:pt x="18045" y="36908"/>
                      <a:pt x="20247" y="37487"/>
                      <a:pt x="22478" y="37424"/>
                    </a:cubicBezTo>
                    <a:cubicBezTo>
                      <a:pt x="24782" y="37530"/>
                      <a:pt x="27047" y="36812"/>
                      <a:pt x="28869" y="35398"/>
                    </a:cubicBezTo>
                    <a:cubicBezTo>
                      <a:pt x="29850" y="34559"/>
                      <a:pt x="30651" y="33530"/>
                      <a:pt x="31223" y="32374"/>
                    </a:cubicBezTo>
                    <a:lnTo>
                      <a:pt x="43023" y="32374"/>
                    </a:lnTo>
                    <a:cubicBezTo>
                      <a:pt x="42488" y="35413"/>
                      <a:pt x="40992" y="38200"/>
                      <a:pt x="38752" y="40324"/>
                    </a:cubicBezTo>
                    <a:cubicBezTo>
                      <a:pt x="34808" y="44611"/>
                      <a:pt x="29306" y="46746"/>
                      <a:pt x="22197" y="46746"/>
                    </a:cubicBezTo>
                    <a:cubicBezTo>
                      <a:pt x="16558" y="46814"/>
                      <a:pt x="11074" y="44900"/>
                      <a:pt x="6703" y="41337"/>
                    </a:cubicBezTo>
                    <a:cubicBezTo>
                      <a:pt x="2234" y="37721"/>
                      <a:pt x="0" y="31849"/>
                      <a:pt x="0" y="23722"/>
                    </a:cubicBezTo>
                    <a:cubicBezTo>
                      <a:pt x="0" y="16105"/>
                      <a:pt x="2022" y="10259"/>
                      <a:pt x="6064" y="6185"/>
                    </a:cubicBezTo>
                    <a:cubicBezTo>
                      <a:pt x="10212" y="2046"/>
                      <a:pt x="15889" y="-189"/>
                      <a:pt x="21745" y="13"/>
                    </a:cubicBezTo>
                    <a:cubicBezTo>
                      <a:pt x="25307" y="-48"/>
                      <a:pt x="28843" y="654"/>
                      <a:pt x="32111" y="2070"/>
                    </a:cubicBezTo>
                    <a:close/>
                    <a:moveTo>
                      <a:pt x="14965" y="12000"/>
                    </a:moveTo>
                    <a:cubicBezTo>
                      <a:pt x="13208" y="13893"/>
                      <a:pt x="12115" y="16306"/>
                      <a:pt x="11847" y="18874"/>
                    </a:cubicBezTo>
                    <a:lnTo>
                      <a:pt x="31659" y="18874"/>
                    </a:lnTo>
                    <a:cubicBezTo>
                      <a:pt x="31622" y="16226"/>
                      <a:pt x="30493" y="13711"/>
                      <a:pt x="28542" y="11922"/>
                    </a:cubicBezTo>
                    <a:cubicBezTo>
                      <a:pt x="26648" y="10316"/>
                      <a:pt x="24229" y="9462"/>
                      <a:pt x="21745" y="9521"/>
                    </a:cubicBezTo>
                    <a:cubicBezTo>
                      <a:pt x="19240" y="9381"/>
                      <a:pt x="16788" y="10278"/>
                      <a:pt x="14965" y="120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23" name="Google Shape;323;p28"/>
            <p:cNvSpPr txBox="1"/>
            <p:nvPr/>
          </p:nvSpPr>
          <p:spPr>
            <a:xfrm rot="-5400000">
              <a:off x="9874832" y="6107266"/>
              <a:ext cx="1384995" cy="97271"/>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IN" sz="702" b="0" i="0" u="none" strike="noStrike" cap="none">
                  <a:solidFill>
                    <a:srgbClr val="B4B4B4"/>
                  </a:solidFill>
                  <a:latin typeface="Calibri"/>
                  <a:ea typeface="Calibri"/>
                  <a:cs typeface="Calibri"/>
                  <a:sym typeface="Calibri"/>
                </a:rPr>
                <a:t>Copyright © 2022. All rights reserved.</a:t>
              </a:r>
              <a:endParaRPr/>
            </a:p>
          </p:txBody>
        </p:sp>
        <p:pic>
          <p:nvPicPr>
            <p:cNvPr id="324" name="Google Shape;324;p28"/>
            <p:cNvPicPr preferRelativeResize="0"/>
            <p:nvPr/>
          </p:nvPicPr>
          <p:blipFill rotWithShape="1">
            <a:blip r:embed="rId2">
              <a:alphaModFix/>
            </a:blip>
            <a:srcRect/>
            <a:stretch/>
          </p:blipFill>
          <p:spPr>
            <a:xfrm rot="-5400000">
              <a:off x="10361309" y="7048329"/>
              <a:ext cx="400614" cy="62353"/>
            </a:xfrm>
            <a:prstGeom prst="rect">
              <a:avLst/>
            </a:prstGeom>
            <a:noFill/>
            <a:ln>
              <a:noFill/>
            </a:ln>
          </p:spPr>
        </p:pic>
      </p:gr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1_Title only (with background)">
  <p:cSld name="1_Title only (with background)">
    <p:bg>
      <p:bgPr>
        <a:solidFill>
          <a:schemeClr val="lt2"/>
        </a:solidFill>
        <a:effectLst/>
      </p:bgPr>
    </p:bg>
    <p:spTree>
      <p:nvGrpSpPr>
        <p:cNvPr id="1" name="Shape 619"/>
        <p:cNvGrpSpPr/>
        <p:nvPr/>
      </p:nvGrpSpPr>
      <p:grpSpPr>
        <a:xfrm>
          <a:off x="0" y="0"/>
          <a:ext cx="0" cy="0"/>
          <a:chOff x="0" y="0"/>
          <a:chExt cx="0" cy="0"/>
        </a:xfrm>
      </p:grpSpPr>
      <p:sp>
        <p:nvSpPr>
          <p:cNvPr id="620" name="Google Shape;620;p54"/>
          <p:cNvSpPr txBox="1">
            <a:spLocks noGrp="1"/>
          </p:cNvSpPr>
          <p:nvPr>
            <p:ph type="ftr" idx="11"/>
          </p:nvPr>
        </p:nvSpPr>
        <p:spPr>
          <a:xfrm>
            <a:off x="483081" y="7144839"/>
            <a:ext cx="428756" cy="134973"/>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877"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1" name="Google Shape;621;p54"/>
          <p:cNvSpPr txBox="1">
            <a:spLocks noGrp="1"/>
          </p:cNvSpPr>
          <p:nvPr>
            <p:ph type="sldNum" idx="12"/>
          </p:nvPr>
        </p:nvSpPr>
        <p:spPr>
          <a:xfrm>
            <a:off x="10076326" y="7158304"/>
            <a:ext cx="132141"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grpSp>
        <p:nvGrpSpPr>
          <p:cNvPr id="622" name="Google Shape;622;p54"/>
          <p:cNvGrpSpPr/>
          <p:nvPr/>
        </p:nvGrpSpPr>
        <p:grpSpPr>
          <a:xfrm>
            <a:off x="10505395" y="4999543"/>
            <a:ext cx="97271" cy="2250871"/>
            <a:chOff x="11979381" y="4535494"/>
            <a:chExt cx="110919" cy="2041949"/>
          </a:xfrm>
        </p:grpSpPr>
        <p:grpSp>
          <p:nvGrpSpPr>
            <p:cNvPr id="623" name="Google Shape;623;p54"/>
            <p:cNvGrpSpPr/>
            <p:nvPr/>
          </p:nvGrpSpPr>
          <p:grpSpPr>
            <a:xfrm>
              <a:off x="11998460" y="6135518"/>
              <a:ext cx="68500" cy="441925"/>
              <a:chOff x="11998459" y="6162188"/>
              <a:chExt cx="68500" cy="441925"/>
            </a:xfrm>
          </p:grpSpPr>
          <p:sp>
            <p:nvSpPr>
              <p:cNvPr id="624" name="Google Shape;624;p54"/>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25" name="Google Shape;625;p54"/>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26" name="Google Shape;626;p54"/>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27" name="Google Shape;627;p54"/>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28" name="Google Shape;628;p54"/>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29" name="Google Shape;629;p54"/>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0" name="Google Shape;630;p54"/>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1" name="Google Shape;631;p54"/>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2" name="Google Shape;632;p54"/>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3" name="Google Shape;633;p54"/>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4" name="Google Shape;634;p54"/>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5" name="Google Shape;635;p54"/>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6" name="Google Shape;636;p54"/>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grpSp>
        <p:pic>
          <p:nvPicPr>
            <p:cNvPr id="637" name="Google Shape;637;p54"/>
            <p:cNvPicPr preferRelativeResize="0"/>
            <p:nvPr/>
          </p:nvPicPr>
          <p:blipFill rotWithShape="1">
            <a:blip r:embed="rId2">
              <a:alphaModFix/>
            </a:blip>
            <a:srcRect/>
            <a:stretch/>
          </p:blipFill>
          <p:spPr>
            <a:xfrm rot="-5400000">
              <a:off x="11811888" y="6322371"/>
              <a:ext cx="441438" cy="68706"/>
            </a:xfrm>
            <a:prstGeom prst="rect">
              <a:avLst/>
            </a:prstGeom>
            <a:noFill/>
            <a:ln>
              <a:noFill/>
            </a:ln>
          </p:spPr>
        </p:pic>
        <p:sp>
          <p:nvSpPr>
            <p:cNvPr id="638" name="Google Shape;638;p54"/>
            <p:cNvSpPr txBox="1"/>
            <p:nvPr/>
          </p:nvSpPr>
          <p:spPr>
            <a:xfrm rot="16200000">
              <a:off x="11250972" y="5263903"/>
              <a:ext cx="1567737" cy="110919"/>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702" b="0" i="0" u="none" strike="noStrike" cap="none">
                  <a:solidFill>
                    <a:srgbClr val="B4B4B4"/>
                  </a:solidFill>
                  <a:latin typeface="Calibri"/>
                  <a:ea typeface="Calibri"/>
                  <a:cs typeface="Calibri"/>
                  <a:sym typeface="Calibri"/>
                </a:rPr>
                <a:t>Copyright © 2020. All rights reserved.</a:t>
              </a:r>
              <a:endParaRPr sz="1228" b="0" i="0" u="none" strike="noStrike" cap="none">
                <a:solidFill>
                  <a:srgbClr val="000000"/>
                </a:solidFill>
                <a:latin typeface="Arial"/>
                <a:ea typeface="Arial"/>
                <a:cs typeface="Arial"/>
                <a:sym typeface="Arial"/>
              </a:endParaRPr>
            </a:p>
          </p:txBody>
        </p:sp>
      </p:grpSp>
      <p:sp>
        <p:nvSpPr>
          <p:cNvPr id="639" name="Google Shape;639;p54"/>
          <p:cNvSpPr txBox="1"/>
          <p:nvPr/>
        </p:nvSpPr>
        <p:spPr>
          <a:xfrm>
            <a:off x="10076326" y="7158304"/>
            <a:ext cx="132141" cy="121508"/>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Clr>
                <a:srgbClr val="000000"/>
              </a:buClr>
              <a:buSzPts val="1000"/>
              <a:buFont typeface="Arial"/>
              <a:buNone/>
            </a:pPr>
            <a:fld id="{00000000-1234-1234-1234-123412341234}" type="slidenum">
              <a:rPr lang="en-US" sz="877" b="0" i="0" u="none" strike="noStrike" cap="none">
                <a:solidFill>
                  <a:srgbClr val="7F7F7F"/>
                </a:solidFill>
                <a:latin typeface="Calibri"/>
                <a:ea typeface="Calibri"/>
                <a:cs typeface="Calibri"/>
                <a:sym typeface="Calibri"/>
              </a:rPr>
              <a:pPr marL="0" marR="0" lvl="0" indent="0" algn="r" rtl="0">
                <a:lnSpc>
                  <a:spcPct val="90000"/>
                </a:lnSpc>
                <a:spcBef>
                  <a:spcPts val="0"/>
                </a:spcBef>
                <a:spcAft>
                  <a:spcPts val="0"/>
                </a:spcAft>
                <a:buClr>
                  <a:srgbClr val="000000"/>
                </a:buClr>
                <a:buSzPts val="1000"/>
                <a:buFont typeface="Arial"/>
                <a:buNone/>
              </a:pPr>
              <a:t>‹#›</a:t>
            </a:fld>
            <a:endParaRPr sz="877" b="0" i="0" u="none" strike="noStrike" cap="none">
              <a:solidFill>
                <a:srgbClr val="7F7F7F"/>
              </a:solidFill>
              <a:latin typeface="Calibri"/>
              <a:ea typeface="Calibri"/>
              <a:cs typeface="Calibri"/>
              <a:sym typeface="Calibri"/>
            </a:endParaRPr>
          </a:p>
        </p:txBody>
      </p:sp>
    </p:spTree>
    <p:extLst>
      <p:ext uri="{BB962C8B-B14F-4D97-AF65-F5344CB8AC3E}">
        <p14:creationId xmlns:p14="http://schemas.microsoft.com/office/powerpoint/2010/main" val="24783211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Five-column page with arrows">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1C7F9F8C-FE20-4F23-B2ED-62B51723EDC7}"/>
              </a:ext>
            </a:extLst>
          </p:cNvPr>
          <p:cNvSpPr>
            <a:spLocks noGrp="1"/>
          </p:cNvSpPr>
          <p:nvPr>
            <p:ph idx="1"/>
          </p:nvPr>
        </p:nvSpPr>
        <p:spPr>
          <a:xfrm>
            <a:off x="525410" y="2157008"/>
            <a:ext cx="1803359" cy="746871"/>
          </a:xfrm>
          <a:prstGeom prst="rect">
            <a:avLst/>
          </a:prstGeom>
          <a:ln>
            <a:noFill/>
          </a:ln>
        </p:spPr>
        <p:txBody>
          <a:bodyPr lIns="0" rIns="0"/>
          <a:lstStyle>
            <a:lvl1pPr algn="l">
              <a:defRPr sz="1323">
                <a:latin typeface="+mj-lt"/>
              </a:defRPr>
            </a:lvl1pPr>
            <a:lvl2pPr marL="104994" indent="0" algn="l">
              <a:buNone/>
              <a:defRPr sz="1323">
                <a:latin typeface="+mj-lt"/>
              </a:defRPr>
            </a:lvl2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CFDA195D-6A61-48A2-B7D9-D830A2C888ED}"/>
              </a:ext>
            </a:extLst>
          </p:cNvPr>
          <p:cNvSpPr>
            <a:spLocks noGrp="1"/>
          </p:cNvSpPr>
          <p:nvPr>
            <p:ph idx="10"/>
          </p:nvPr>
        </p:nvSpPr>
        <p:spPr>
          <a:xfrm>
            <a:off x="4501487" y="2157008"/>
            <a:ext cx="1825731" cy="940257"/>
          </a:xfrm>
          <a:prstGeom prst="rect">
            <a:avLst/>
          </a:prstGeom>
          <a:ln>
            <a:noFill/>
          </a:ln>
        </p:spPr>
        <p:txBody>
          <a:bodyPr lIns="0" rIns="0"/>
          <a:lstStyle>
            <a:lvl1pPr algn="l">
              <a:defRPr sz="1323">
                <a:latin typeface="+mj-lt"/>
              </a:defRPr>
            </a:lvl1pPr>
            <a:lvl2pPr algn="l">
              <a:defRPr sz="1323">
                <a:latin typeface="+mj-lt"/>
              </a:defRPr>
            </a:lvl2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BE03C7AA-000A-483D-8BCB-F19FB02EB4FD}"/>
              </a:ext>
            </a:extLst>
          </p:cNvPr>
          <p:cNvSpPr>
            <a:spLocks noGrp="1"/>
          </p:cNvSpPr>
          <p:nvPr>
            <p:ph idx="11"/>
          </p:nvPr>
        </p:nvSpPr>
        <p:spPr>
          <a:xfrm>
            <a:off x="2507293" y="2157008"/>
            <a:ext cx="1826605" cy="940257"/>
          </a:xfrm>
          <a:prstGeom prst="rect">
            <a:avLst/>
          </a:prstGeom>
          <a:ln>
            <a:noFill/>
          </a:ln>
        </p:spPr>
        <p:txBody>
          <a:bodyPr lIns="0" rIns="0"/>
          <a:lstStyle>
            <a:lvl1pPr algn="l">
              <a:defRPr sz="1323">
                <a:latin typeface="+mj-lt"/>
              </a:defRPr>
            </a:lvl1pPr>
            <a:lvl2pPr algn="l">
              <a:defRPr sz="1323">
                <a:latin typeface="+mj-lt"/>
              </a:defRPr>
            </a:lvl2pPr>
          </a:lstStyle>
          <a:p>
            <a:pPr lvl="0"/>
            <a:r>
              <a:rPr lang="en-US"/>
              <a:t>Edit Master text styles</a:t>
            </a:r>
          </a:p>
          <a:p>
            <a:pPr lvl="1"/>
            <a:r>
              <a:rPr lang="en-US"/>
              <a:t>Second level</a:t>
            </a:r>
          </a:p>
        </p:txBody>
      </p:sp>
      <p:sp>
        <p:nvSpPr>
          <p:cNvPr id="25" name="Content Placeholder 2">
            <a:extLst>
              <a:ext uri="{FF2B5EF4-FFF2-40B4-BE49-F238E27FC236}">
                <a16:creationId xmlns:a16="http://schemas.microsoft.com/office/drawing/2014/main" id="{B31E3BEA-16EC-4E3E-AD26-E759153BCB63}"/>
              </a:ext>
            </a:extLst>
          </p:cNvPr>
          <p:cNvSpPr>
            <a:spLocks noGrp="1"/>
          </p:cNvSpPr>
          <p:nvPr>
            <p:ph idx="19"/>
          </p:nvPr>
        </p:nvSpPr>
        <p:spPr>
          <a:xfrm>
            <a:off x="6494307" y="2157007"/>
            <a:ext cx="1803359" cy="746871"/>
          </a:xfrm>
          <a:prstGeom prst="rect">
            <a:avLst/>
          </a:prstGeom>
          <a:ln>
            <a:noFill/>
          </a:ln>
        </p:spPr>
        <p:txBody>
          <a:bodyPr lIns="0" rIns="0"/>
          <a:lstStyle>
            <a:lvl1pPr algn="l">
              <a:defRPr sz="1323">
                <a:latin typeface="+mj-lt"/>
              </a:defRPr>
            </a:lvl1pPr>
            <a:lvl2pPr marL="104994" indent="0" algn="l">
              <a:buNone/>
              <a:defRPr sz="1323">
                <a:latin typeface="+mj-lt"/>
              </a:defRPr>
            </a:lvl2pPr>
          </a:lstStyle>
          <a:p>
            <a:pPr lvl="0"/>
            <a:r>
              <a:rPr lang="en-US"/>
              <a:t>Edit Master text styles</a:t>
            </a:r>
          </a:p>
          <a:p>
            <a:pPr lvl="1"/>
            <a:r>
              <a:rPr lang="en-US"/>
              <a:t>Second level</a:t>
            </a:r>
          </a:p>
        </p:txBody>
      </p:sp>
      <p:sp>
        <p:nvSpPr>
          <p:cNvPr id="27" name="Content Placeholder 2">
            <a:extLst>
              <a:ext uri="{FF2B5EF4-FFF2-40B4-BE49-F238E27FC236}">
                <a16:creationId xmlns:a16="http://schemas.microsoft.com/office/drawing/2014/main" id="{59A2B233-4275-4BDC-9335-3673EC3A846C}"/>
              </a:ext>
            </a:extLst>
          </p:cNvPr>
          <p:cNvSpPr>
            <a:spLocks noGrp="1"/>
          </p:cNvSpPr>
          <p:nvPr>
            <p:ph idx="21"/>
          </p:nvPr>
        </p:nvSpPr>
        <p:spPr>
          <a:xfrm>
            <a:off x="8456022" y="2157008"/>
            <a:ext cx="1826605" cy="940257"/>
          </a:xfrm>
          <a:prstGeom prst="rect">
            <a:avLst/>
          </a:prstGeom>
          <a:ln>
            <a:noFill/>
          </a:ln>
        </p:spPr>
        <p:txBody>
          <a:bodyPr lIns="0" rIns="0"/>
          <a:lstStyle>
            <a:lvl1pPr algn="l">
              <a:defRPr sz="1323">
                <a:latin typeface="+mj-lt"/>
              </a:defRPr>
            </a:lvl1pPr>
            <a:lvl2pPr algn="l">
              <a:defRPr sz="1323">
                <a:latin typeface="+mj-lt"/>
              </a:defRPr>
            </a:lvl2pPr>
          </a:lstStyle>
          <a:p>
            <a:pPr lvl="0"/>
            <a:r>
              <a:rPr lang="en-US"/>
              <a:t>Edit Master text styles</a:t>
            </a:r>
          </a:p>
          <a:p>
            <a:pPr lvl="1"/>
            <a:r>
              <a:rPr lang="en-US"/>
              <a:t>Second level</a:t>
            </a:r>
          </a:p>
        </p:txBody>
      </p:sp>
      <p:sp>
        <p:nvSpPr>
          <p:cNvPr id="2" name="Arrow: Pentagon 1">
            <a:extLst>
              <a:ext uri="{FF2B5EF4-FFF2-40B4-BE49-F238E27FC236}">
                <a16:creationId xmlns:a16="http://schemas.microsoft.com/office/drawing/2014/main" id="{668FEA71-23BF-4BB6-A7D8-5FA604E84AB3}"/>
              </a:ext>
            </a:extLst>
          </p:cNvPr>
          <p:cNvSpPr/>
          <p:nvPr userDrawn="1"/>
        </p:nvSpPr>
        <p:spPr>
          <a:xfrm>
            <a:off x="525410" y="1550797"/>
            <a:ext cx="1886033" cy="459558"/>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7" b="1" dirty="0" err="1">
              <a:solidFill>
                <a:schemeClr val="tx1"/>
              </a:solidFill>
              <a:latin typeface="+mj-lt"/>
            </a:endParaRPr>
          </a:p>
        </p:txBody>
      </p:sp>
      <p:sp>
        <p:nvSpPr>
          <p:cNvPr id="31" name="Arrow: Pentagon 30">
            <a:extLst>
              <a:ext uri="{FF2B5EF4-FFF2-40B4-BE49-F238E27FC236}">
                <a16:creationId xmlns:a16="http://schemas.microsoft.com/office/drawing/2014/main" id="{41E8BA80-B00B-4C37-8A28-405DD40A5EC2}"/>
              </a:ext>
            </a:extLst>
          </p:cNvPr>
          <p:cNvSpPr/>
          <p:nvPr userDrawn="1"/>
        </p:nvSpPr>
        <p:spPr>
          <a:xfrm>
            <a:off x="2507294" y="1550797"/>
            <a:ext cx="1909187" cy="459558"/>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7" b="1" dirty="0" err="1">
              <a:solidFill>
                <a:schemeClr val="tx1"/>
              </a:solidFill>
              <a:latin typeface="+mj-lt"/>
            </a:endParaRPr>
          </a:p>
        </p:txBody>
      </p:sp>
      <p:sp>
        <p:nvSpPr>
          <p:cNvPr id="32" name="Arrow: Pentagon 31">
            <a:extLst>
              <a:ext uri="{FF2B5EF4-FFF2-40B4-BE49-F238E27FC236}">
                <a16:creationId xmlns:a16="http://schemas.microsoft.com/office/drawing/2014/main" id="{8DB6AB74-CA27-4D6C-B433-E904ACB53B73}"/>
              </a:ext>
            </a:extLst>
          </p:cNvPr>
          <p:cNvSpPr/>
          <p:nvPr userDrawn="1"/>
        </p:nvSpPr>
        <p:spPr>
          <a:xfrm>
            <a:off x="4493993" y="1550797"/>
            <a:ext cx="1908110" cy="459558"/>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7" b="1" dirty="0" err="1">
              <a:solidFill>
                <a:schemeClr val="tx1"/>
              </a:solidFill>
              <a:latin typeface="+mj-lt"/>
            </a:endParaRPr>
          </a:p>
        </p:txBody>
      </p:sp>
      <p:sp>
        <p:nvSpPr>
          <p:cNvPr id="33" name="Arrow: Pentagon 32">
            <a:extLst>
              <a:ext uri="{FF2B5EF4-FFF2-40B4-BE49-F238E27FC236}">
                <a16:creationId xmlns:a16="http://schemas.microsoft.com/office/drawing/2014/main" id="{8C717893-7431-4908-90EF-ED9973B7363F}"/>
              </a:ext>
            </a:extLst>
          </p:cNvPr>
          <p:cNvSpPr/>
          <p:nvPr userDrawn="1"/>
        </p:nvSpPr>
        <p:spPr>
          <a:xfrm>
            <a:off x="6499032" y="1550796"/>
            <a:ext cx="1877812" cy="459558"/>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7" b="1" dirty="0" err="1">
              <a:solidFill>
                <a:schemeClr val="tx1"/>
              </a:solidFill>
              <a:latin typeface="+mj-lt"/>
            </a:endParaRPr>
          </a:p>
        </p:txBody>
      </p:sp>
      <p:sp>
        <p:nvSpPr>
          <p:cNvPr id="34" name="Arrow: Pentagon 33">
            <a:extLst>
              <a:ext uri="{FF2B5EF4-FFF2-40B4-BE49-F238E27FC236}">
                <a16:creationId xmlns:a16="http://schemas.microsoft.com/office/drawing/2014/main" id="{1E74B89C-CBFD-439C-9CBE-DD94AF9E2465}"/>
              </a:ext>
            </a:extLst>
          </p:cNvPr>
          <p:cNvSpPr/>
          <p:nvPr userDrawn="1"/>
        </p:nvSpPr>
        <p:spPr>
          <a:xfrm>
            <a:off x="8456022" y="1550795"/>
            <a:ext cx="1893320" cy="459558"/>
          </a:xfrm>
          <a:prstGeom prst="homePlate">
            <a:avLst/>
          </a:prstGeom>
          <a:solidFill>
            <a:schemeClr val="accent4">
              <a:lumMod val="50000"/>
            </a:schemeClr>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7" b="1" dirty="0" err="1">
              <a:solidFill>
                <a:schemeClr val="tx1"/>
              </a:solidFill>
              <a:latin typeface="+mj-lt"/>
            </a:endParaRPr>
          </a:p>
        </p:txBody>
      </p:sp>
      <p:sp>
        <p:nvSpPr>
          <p:cNvPr id="21" name="Text Placeholder 2">
            <a:extLst>
              <a:ext uri="{FF2B5EF4-FFF2-40B4-BE49-F238E27FC236}">
                <a16:creationId xmlns:a16="http://schemas.microsoft.com/office/drawing/2014/main" id="{FAC24A40-68BF-4BF6-9F54-594BFB889689}"/>
              </a:ext>
            </a:extLst>
          </p:cNvPr>
          <p:cNvSpPr>
            <a:spLocks noGrp="1"/>
          </p:cNvSpPr>
          <p:nvPr>
            <p:ph type="body" sz="quarter" idx="17" hasCustomPrompt="1"/>
          </p:nvPr>
        </p:nvSpPr>
        <p:spPr>
          <a:xfrm>
            <a:off x="493246" y="5766642"/>
            <a:ext cx="9789379" cy="617605"/>
          </a:xfrm>
          <a:prstGeom prst="rect">
            <a:avLst/>
          </a:prstGeom>
        </p:spPr>
        <p:txBody>
          <a:bodyPr/>
          <a:lstStyle>
            <a:lvl1pPr>
              <a:defRPr sz="1323" b="1">
                <a:latin typeface="+mj-lt"/>
              </a:defRPr>
            </a:lvl1pPr>
          </a:lstStyle>
          <a:p>
            <a:pPr lvl="0"/>
            <a:r>
              <a:rPr lang="en-US" dirty="0"/>
              <a:t>Notes/Summary:</a:t>
            </a:r>
          </a:p>
          <a:p>
            <a:pPr lvl="0"/>
            <a:r>
              <a:rPr lang="en-US" b="0" dirty="0"/>
              <a:t>Add notes here.</a:t>
            </a:r>
            <a:endParaRPr lang="en-US" dirty="0"/>
          </a:p>
        </p:txBody>
      </p:sp>
      <p:sp>
        <p:nvSpPr>
          <p:cNvPr id="3" name="Footer Placeholder 2">
            <a:extLst>
              <a:ext uri="{FF2B5EF4-FFF2-40B4-BE49-F238E27FC236}">
                <a16:creationId xmlns:a16="http://schemas.microsoft.com/office/drawing/2014/main" id="{69CEDA2D-42D9-4C99-8DD0-5E8FA1049F40}"/>
              </a:ext>
            </a:extLst>
          </p:cNvPr>
          <p:cNvSpPr>
            <a:spLocks noGrp="1"/>
          </p:cNvSpPr>
          <p:nvPr>
            <p:ph type="ftr" sz="quarter" idx="22"/>
          </p:nvPr>
        </p:nvSpPr>
        <p:spPr>
          <a:xfrm>
            <a:off x="483080" y="7144840"/>
            <a:ext cx="428002" cy="134973"/>
          </a:xfrm>
        </p:spPr>
        <p:txBody>
          <a:bodyPr/>
          <a:lstStyle/>
          <a:p>
            <a:r>
              <a:rPr lang="en-US"/>
              <a:t>Sources:</a:t>
            </a:r>
            <a:endParaRPr lang="en-US" dirty="0"/>
          </a:p>
        </p:txBody>
      </p:sp>
      <p:sp>
        <p:nvSpPr>
          <p:cNvPr id="4" name="Slide Number Placeholder 3">
            <a:extLst>
              <a:ext uri="{FF2B5EF4-FFF2-40B4-BE49-F238E27FC236}">
                <a16:creationId xmlns:a16="http://schemas.microsoft.com/office/drawing/2014/main" id="{04014E18-F87D-4CCF-B057-6B06F46F909F}"/>
              </a:ext>
            </a:extLst>
          </p:cNvPr>
          <p:cNvSpPr>
            <a:spLocks noGrp="1"/>
          </p:cNvSpPr>
          <p:nvPr>
            <p:ph type="sldNum" sz="quarter" idx="23"/>
          </p:nvPr>
        </p:nvSpPr>
        <p:spPr/>
        <p:txBody>
          <a:bodyPr/>
          <a:lstStyle/>
          <a:p>
            <a:fld id="{D04A32BC-4AEA-4C75-B397-D319FFB728D1}" type="slidenum">
              <a:rPr lang="en-US" smtClean="0"/>
              <a:pPr/>
              <a:t>‹#›</a:t>
            </a:fld>
            <a:endParaRPr lang="en-US" dirty="0"/>
          </a:p>
        </p:txBody>
      </p:sp>
      <p:sp>
        <p:nvSpPr>
          <p:cNvPr id="23" name="Title 1">
            <a:extLst>
              <a:ext uri="{FF2B5EF4-FFF2-40B4-BE49-F238E27FC236}">
                <a16:creationId xmlns:a16="http://schemas.microsoft.com/office/drawing/2014/main" id="{6810D087-3B88-4C83-A618-9D5C8D7640B1}"/>
              </a:ext>
            </a:extLst>
          </p:cNvPr>
          <p:cNvSpPr>
            <a:spLocks noGrp="1"/>
          </p:cNvSpPr>
          <p:nvPr>
            <p:ph type="title"/>
          </p:nvPr>
        </p:nvSpPr>
        <p:spPr>
          <a:xfrm>
            <a:off x="493388" y="342325"/>
            <a:ext cx="9704877" cy="366447"/>
          </a:xfrm>
          <a:prstGeom prst="rect">
            <a:avLst/>
          </a:prstGeom>
        </p:spPr>
        <p:txBody>
          <a:bodyPr lIns="0" rIns="0"/>
          <a:lstStyle>
            <a:lvl1pPr>
              <a:defRPr sz="2646">
                <a:solidFill>
                  <a:schemeClr val="accent1"/>
                </a:solidFill>
              </a:defRPr>
            </a:lvl1pPr>
          </a:lstStyle>
          <a:p>
            <a:r>
              <a:rPr lang="en-US"/>
              <a:t>Click to edit Master title style</a:t>
            </a:r>
            <a:endParaRPr lang="en-US" dirty="0"/>
          </a:p>
        </p:txBody>
      </p:sp>
      <p:sp>
        <p:nvSpPr>
          <p:cNvPr id="28" name="Text Placeholder 5">
            <a:extLst>
              <a:ext uri="{FF2B5EF4-FFF2-40B4-BE49-F238E27FC236}">
                <a16:creationId xmlns:a16="http://schemas.microsoft.com/office/drawing/2014/main" id="{FF697C88-0438-4912-9936-93A908B40ABA}"/>
              </a:ext>
            </a:extLst>
          </p:cNvPr>
          <p:cNvSpPr>
            <a:spLocks noGrp="1"/>
          </p:cNvSpPr>
          <p:nvPr>
            <p:ph type="body" sz="quarter" idx="24" hasCustomPrompt="1"/>
          </p:nvPr>
        </p:nvSpPr>
        <p:spPr>
          <a:xfrm>
            <a:off x="493387" y="976029"/>
            <a:ext cx="9704877" cy="373307"/>
          </a:xfrm>
          <a:prstGeom prst="rect">
            <a:avLst/>
          </a:prstGeom>
        </p:spPr>
        <p:txBody>
          <a:bodyPr/>
          <a:lstStyle>
            <a:lvl1pPr>
              <a:defRPr sz="1764" b="0">
                <a:latin typeface="+mj-lt"/>
              </a:defRPr>
            </a:lvl1pPr>
          </a:lstStyle>
          <a:p>
            <a:pPr lvl="0"/>
            <a:r>
              <a:rPr lang="en-US" dirty="0"/>
              <a:t>Insert Sub-Text Here</a:t>
            </a:r>
          </a:p>
        </p:txBody>
      </p:sp>
      <p:sp>
        <p:nvSpPr>
          <p:cNvPr id="30" name="Text Placeholder 12">
            <a:extLst>
              <a:ext uri="{FF2B5EF4-FFF2-40B4-BE49-F238E27FC236}">
                <a16:creationId xmlns:a16="http://schemas.microsoft.com/office/drawing/2014/main" id="{3DB3F4AE-812C-43F6-8952-A3848E8AFFF8}"/>
              </a:ext>
            </a:extLst>
          </p:cNvPr>
          <p:cNvSpPr>
            <a:spLocks noGrp="1"/>
          </p:cNvSpPr>
          <p:nvPr>
            <p:ph type="body" sz="quarter" idx="38" hasCustomPrompt="1"/>
          </p:nvPr>
        </p:nvSpPr>
        <p:spPr>
          <a:xfrm>
            <a:off x="589867" y="1602834"/>
            <a:ext cx="1674444" cy="341071"/>
          </a:xfrm>
          <a:prstGeom prst="rect">
            <a:avLst/>
          </a:prstGeom>
        </p:spPr>
        <p:txBody>
          <a:bodyPr/>
          <a:lstStyle>
            <a:lvl1pPr marL="0" indent="0" algn="ctr">
              <a:buFont typeface="+mj-lt"/>
              <a:buNone/>
              <a:defRPr sz="1543" b="1">
                <a:solidFill>
                  <a:schemeClr val="bg1"/>
                </a:solidFill>
                <a:latin typeface="+mj-lt"/>
              </a:defRPr>
            </a:lvl1pPr>
          </a:lstStyle>
          <a:p>
            <a:pPr lvl="0"/>
            <a:r>
              <a:rPr lang="en-US" dirty="0"/>
              <a:t>Main Title</a:t>
            </a:r>
          </a:p>
        </p:txBody>
      </p:sp>
      <p:sp>
        <p:nvSpPr>
          <p:cNvPr id="35" name="Text Placeholder 12">
            <a:extLst>
              <a:ext uri="{FF2B5EF4-FFF2-40B4-BE49-F238E27FC236}">
                <a16:creationId xmlns:a16="http://schemas.microsoft.com/office/drawing/2014/main" id="{1F72637C-73C8-4798-A050-39B7097CABAA}"/>
              </a:ext>
            </a:extLst>
          </p:cNvPr>
          <p:cNvSpPr>
            <a:spLocks noGrp="1"/>
          </p:cNvSpPr>
          <p:nvPr>
            <p:ph type="body" sz="quarter" idx="39" hasCustomPrompt="1"/>
          </p:nvPr>
        </p:nvSpPr>
        <p:spPr>
          <a:xfrm>
            <a:off x="2563226" y="1602834"/>
            <a:ext cx="1674444" cy="341071"/>
          </a:xfrm>
          <a:prstGeom prst="rect">
            <a:avLst/>
          </a:prstGeom>
        </p:spPr>
        <p:txBody>
          <a:bodyPr/>
          <a:lstStyle>
            <a:lvl1pPr marL="0" indent="0" algn="ctr">
              <a:buFont typeface="+mj-lt"/>
              <a:buNone/>
              <a:defRPr sz="1543" b="1">
                <a:solidFill>
                  <a:schemeClr val="bg1"/>
                </a:solidFill>
                <a:latin typeface="+mj-lt"/>
              </a:defRPr>
            </a:lvl1pPr>
          </a:lstStyle>
          <a:p>
            <a:pPr lvl="0"/>
            <a:r>
              <a:rPr lang="en-US" dirty="0"/>
              <a:t>Main Title</a:t>
            </a:r>
          </a:p>
        </p:txBody>
      </p:sp>
      <p:sp>
        <p:nvSpPr>
          <p:cNvPr id="36" name="Text Placeholder 12">
            <a:extLst>
              <a:ext uri="{FF2B5EF4-FFF2-40B4-BE49-F238E27FC236}">
                <a16:creationId xmlns:a16="http://schemas.microsoft.com/office/drawing/2014/main" id="{D86313CF-7513-44BE-BD36-0CC1D5E71FF5}"/>
              </a:ext>
            </a:extLst>
          </p:cNvPr>
          <p:cNvSpPr>
            <a:spLocks noGrp="1"/>
          </p:cNvSpPr>
          <p:nvPr>
            <p:ph type="body" sz="quarter" idx="40" hasCustomPrompt="1"/>
          </p:nvPr>
        </p:nvSpPr>
        <p:spPr>
          <a:xfrm>
            <a:off x="4512331" y="1615310"/>
            <a:ext cx="1674444" cy="341071"/>
          </a:xfrm>
          <a:prstGeom prst="rect">
            <a:avLst/>
          </a:prstGeom>
        </p:spPr>
        <p:txBody>
          <a:bodyPr/>
          <a:lstStyle>
            <a:lvl1pPr marL="0" indent="0" algn="ctr">
              <a:buFont typeface="+mj-lt"/>
              <a:buNone/>
              <a:defRPr sz="1543" b="1">
                <a:solidFill>
                  <a:schemeClr val="bg1"/>
                </a:solidFill>
                <a:latin typeface="+mj-lt"/>
              </a:defRPr>
            </a:lvl1pPr>
          </a:lstStyle>
          <a:p>
            <a:pPr lvl="0"/>
            <a:r>
              <a:rPr lang="en-US" dirty="0"/>
              <a:t>Main Title</a:t>
            </a:r>
          </a:p>
        </p:txBody>
      </p:sp>
      <p:sp>
        <p:nvSpPr>
          <p:cNvPr id="37" name="Text Placeholder 12">
            <a:extLst>
              <a:ext uri="{FF2B5EF4-FFF2-40B4-BE49-F238E27FC236}">
                <a16:creationId xmlns:a16="http://schemas.microsoft.com/office/drawing/2014/main" id="{85FCEECC-025F-419F-B7FD-618320E9A000}"/>
              </a:ext>
            </a:extLst>
          </p:cNvPr>
          <p:cNvSpPr>
            <a:spLocks noGrp="1"/>
          </p:cNvSpPr>
          <p:nvPr>
            <p:ph type="body" sz="quarter" idx="41" hasCustomPrompt="1"/>
          </p:nvPr>
        </p:nvSpPr>
        <p:spPr>
          <a:xfrm>
            <a:off x="6558765" y="1615310"/>
            <a:ext cx="1674444" cy="341071"/>
          </a:xfrm>
          <a:prstGeom prst="rect">
            <a:avLst/>
          </a:prstGeom>
        </p:spPr>
        <p:txBody>
          <a:bodyPr/>
          <a:lstStyle>
            <a:lvl1pPr marL="0" indent="0" algn="ctr">
              <a:buFont typeface="+mj-lt"/>
              <a:buNone/>
              <a:defRPr sz="1543" b="1">
                <a:solidFill>
                  <a:schemeClr val="bg1"/>
                </a:solidFill>
                <a:latin typeface="+mj-lt"/>
              </a:defRPr>
            </a:lvl1pPr>
          </a:lstStyle>
          <a:p>
            <a:pPr lvl="0"/>
            <a:r>
              <a:rPr lang="en-US" dirty="0"/>
              <a:t>Main Title</a:t>
            </a:r>
          </a:p>
        </p:txBody>
      </p:sp>
      <p:sp>
        <p:nvSpPr>
          <p:cNvPr id="38" name="Text Placeholder 12">
            <a:extLst>
              <a:ext uri="{FF2B5EF4-FFF2-40B4-BE49-F238E27FC236}">
                <a16:creationId xmlns:a16="http://schemas.microsoft.com/office/drawing/2014/main" id="{4AECF946-0DE9-4C7F-8422-D882A145FA63}"/>
              </a:ext>
            </a:extLst>
          </p:cNvPr>
          <p:cNvSpPr>
            <a:spLocks noGrp="1"/>
          </p:cNvSpPr>
          <p:nvPr>
            <p:ph type="body" sz="quarter" idx="42" hasCustomPrompt="1"/>
          </p:nvPr>
        </p:nvSpPr>
        <p:spPr>
          <a:xfrm>
            <a:off x="8504070" y="1602833"/>
            <a:ext cx="1674444" cy="341071"/>
          </a:xfrm>
          <a:prstGeom prst="rect">
            <a:avLst/>
          </a:prstGeom>
        </p:spPr>
        <p:txBody>
          <a:bodyPr/>
          <a:lstStyle>
            <a:lvl1pPr marL="0" indent="0" algn="ctr">
              <a:buFont typeface="+mj-lt"/>
              <a:buNone/>
              <a:defRPr sz="1543" b="1">
                <a:solidFill>
                  <a:schemeClr val="bg1"/>
                </a:solidFill>
                <a:latin typeface="+mj-lt"/>
              </a:defRPr>
            </a:lvl1pPr>
          </a:lstStyle>
          <a:p>
            <a:pPr lvl="0"/>
            <a:r>
              <a:rPr lang="en-US" dirty="0"/>
              <a:t>Main Title</a:t>
            </a:r>
          </a:p>
        </p:txBody>
      </p:sp>
    </p:spTree>
    <p:extLst>
      <p:ext uri="{BB962C8B-B14F-4D97-AF65-F5344CB8AC3E}">
        <p14:creationId xmlns:p14="http://schemas.microsoft.com/office/powerpoint/2010/main" val="36192190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OC 1">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A02BB42B-42A4-4092-BC87-E3EACEDF271F}"/>
              </a:ext>
            </a:extLst>
          </p:cNvPr>
          <p:cNvSpPr>
            <a:spLocks noGrp="1"/>
          </p:cNvSpPr>
          <p:nvPr>
            <p:ph type="title" hasCustomPrompt="1"/>
          </p:nvPr>
        </p:nvSpPr>
        <p:spPr>
          <a:xfrm>
            <a:off x="493387" y="494471"/>
            <a:ext cx="9855954" cy="503856"/>
          </a:xfrm>
          <a:prstGeom prst="rect">
            <a:avLst/>
          </a:prstGeom>
          <a:solidFill>
            <a:schemeClr val="bg1"/>
          </a:solidFill>
        </p:spPr>
        <p:txBody>
          <a:bodyPr lIns="0" rIns="0"/>
          <a:lstStyle>
            <a:lvl1pPr>
              <a:defRPr sz="3638">
                <a:solidFill>
                  <a:schemeClr val="accent1"/>
                </a:solidFill>
              </a:defRPr>
            </a:lvl1pPr>
          </a:lstStyle>
          <a:p>
            <a:r>
              <a:rPr lang="en-US" dirty="0"/>
              <a:t>Contents</a:t>
            </a:r>
          </a:p>
        </p:txBody>
      </p:sp>
    </p:spTree>
    <p:extLst>
      <p:ext uri="{BB962C8B-B14F-4D97-AF65-F5344CB8AC3E}">
        <p14:creationId xmlns:p14="http://schemas.microsoft.com/office/powerpoint/2010/main" val="16479289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wo-column page with Notes V2">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EFE5D971-4649-428E-B2E8-112E605E2FB5}"/>
              </a:ext>
            </a:extLst>
          </p:cNvPr>
          <p:cNvSpPr>
            <a:spLocks noGrp="1"/>
          </p:cNvSpPr>
          <p:nvPr>
            <p:ph idx="1" hasCustomPrompt="1"/>
          </p:nvPr>
        </p:nvSpPr>
        <p:spPr>
          <a:xfrm>
            <a:off x="493388" y="1799982"/>
            <a:ext cx="4543459" cy="862287"/>
          </a:xfrm>
          <a:prstGeom prst="rect">
            <a:avLst/>
          </a:prstGeom>
        </p:spPr>
        <p:txBody>
          <a:bodyPr lIns="0" rIns="0"/>
          <a:lstStyle>
            <a:lvl1pPr>
              <a:defRPr sz="1323">
                <a:latin typeface="+mj-lt"/>
              </a:defRPr>
            </a:lvl1pPr>
            <a:lvl2pPr>
              <a:defRPr sz="1323">
                <a:latin typeface="+mj-lt"/>
              </a:defRPr>
            </a:lvl2pPr>
            <a:lvl3pPr>
              <a:defRPr sz="1323"/>
            </a:lvl3pPr>
            <a:lvl4pPr>
              <a:defRPr sz="1323"/>
            </a:lvl4pPr>
            <a:lvl5pPr>
              <a:defRPr sz="1323"/>
            </a:lvl5pPr>
          </a:lstStyle>
          <a:p>
            <a:pPr lvl="0"/>
            <a:r>
              <a:rPr lang="en-US" dirty="0"/>
              <a:t>Select Content Type</a:t>
            </a:r>
          </a:p>
          <a:p>
            <a:pPr lvl="1"/>
            <a:r>
              <a:rPr lang="en-US" dirty="0"/>
              <a:t>Select Content Type</a:t>
            </a:r>
          </a:p>
          <a:p>
            <a:pPr lvl="0"/>
            <a:endParaRPr lang="en-US" dirty="0"/>
          </a:p>
        </p:txBody>
      </p:sp>
      <p:sp>
        <p:nvSpPr>
          <p:cNvPr id="11" name="Content Placeholder 2">
            <a:extLst>
              <a:ext uri="{FF2B5EF4-FFF2-40B4-BE49-F238E27FC236}">
                <a16:creationId xmlns:a16="http://schemas.microsoft.com/office/drawing/2014/main" id="{91419312-01A3-4787-8858-7F9BCE13995E}"/>
              </a:ext>
            </a:extLst>
          </p:cNvPr>
          <p:cNvSpPr>
            <a:spLocks noGrp="1"/>
          </p:cNvSpPr>
          <p:nvPr>
            <p:ph idx="10" hasCustomPrompt="1"/>
          </p:nvPr>
        </p:nvSpPr>
        <p:spPr>
          <a:xfrm>
            <a:off x="5625328" y="1799982"/>
            <a:ext cx="4542737" cy="862287"/>
          </a:xfrm>
          <a:prstGeom prst="rect">
            <a:avLst/>
          </a:prstGeom>
        </p:spPr>
        <p:txBody>
          <a:bodyPr lIns="0" rIns="0"/>
          <a:lstStyle>
            <a:lvl1pPr>
              <a:defRPr sz="1323">
                <a:latin typeface="+mj-lt"/>
              </a:defRPr>
            </a:lvl1pPr>
            <a:lvl2pPr>
              <a:defRPr sz="1323">
                <a:latin typeface="+mj-lt"/>
              </a:defRPr>
            </a:lvl2pPr>
            <a:lvl3pPr>
              <a:defRPr sz="1323"/>
            </a:lvl3pPr>
            <a:lvl4pPr>
              <a:defRPr sz="1323"/>
            </a:lvl4pPr>
            <a:lvl5pPr>
              <a:defRPr sz="1323"/>
            </a:lvl5pPr>
          </a:lstStyle>
          <a:p>
            <a:pPr lvl="0"/>
            <a:r>
              <a:rPr lang="en-US" dirty="0"/>
              <a:t>Select Content Type</a:t>
            </a:r>
          </a:p>
          <a:p>
            <a:pPr lvl="1"/>
            <a:r>
              <a:rPr lang="en-US" dirty="0"/>
              <a:t>Select Content Type</a:t>
            </a:r>
          </a:p>
          <a:p>
            <a:pPr lvl="0"/>
            <a:endParaRPr lang="en-US" dirty="0"/>
          </a:p>
        </p:txBody>
      </p:sp>
      <p:sp>
        <p:nvSpPr>
          <p:cNvPr id="12" name="Text Placeholder 12">
            <a:extLst>
              <a:ext uri="{FF2B5EF4-FFF2-40B4-BE49-F238E27FC236}">
                <a16:creationId xmlns:a16="http://schemas.microsoft.com/office/drawing/2014/main" id="{17301F28-7736-4B7C-9AAF-0423B19042C2}"/>
              </a:ext>
            </a:extLst>
          </p:cNvPr>
          <p:cNvSpPr>
            <a:spLocks noGrp="1"/>
          </p:cNvSpPr>
          <p:nvPr>
            <p:ph type="body" sz="quarter" idx="16" hasCustomPrompt="1"/>
          </p:nvPr>
        </p:nvSpPr>
        <p:spPr>
          <a:xfrm>
            <a:off x="1612408" y="1465827"/>
            <a:ext cx="2305422" cy="340991"/>
          </a:xfrm>
          <a:prstGeom prst="rect">
            <a:avLst/>
          </a:prstGeom>
        </p:spPr>
        <p:txBody>
          <a:bodyPr/>
          <a:lstStyle>
            <a:lvl1pPr marL="0" indent="0" algn="ctr">
              <a:buFont typeface="+mj-lt"/>
              <a:buNone/>
              <a:defRPr sz="1543" b="1">
                <a:solidFill>
                  <a:schemeClr val="accent1"/>
                </a:solidFill>
                <a:latin typeface="+mj-lt"/>
              </a:defRPr>
            </a:lvl1pPr>
          </a:lstStyle>
          <a:p>
            <a:pPr lvl="0"/>
            <a:r>
              <a:rPr lang="en-US" dirty="0"/>
              <a:t>Main Title</a:t>
            </a:r>
          </a:p>
        </p:txBody>
      </p:sp>
      <p:sp>
        <p:nvSpPr>
          <p:cNvPr id="13" name="Text Placeholder 12">
            <a:extLst>
              <a:ext uri="{FF2B5EF4-FFF2-40B4-BE49-F238E27FC236}">
                <a16:creationId xmlns:a16="http://schemas.microsoft.com/office/drawing/2014/main" id="{484B02DF-3CBE-41CC-9024-F37272F2623E}"/>
              </a:ext>
            </a:extLst>
          </p:cNvPr>
          <p:cNvSpPr>
            <a:spLocks noGrp="1"/>
          </p:cNvSpPr>
          <p:nvPr>
            <p:ph type="body" sz="quarter" idx="17" hasCustomPrompt="1"/>
          </p:nvPr>
        </p:nvSpPr>
        <p:spPr>
          <a:xfrm>
            <a:off x="6744347" y="1453213"/>
            <a:ext cx="2305422" cy="346768"/>
          </a:xfrm>
          <a:prstGeom prst="rect">
            <a:avLst/>
          </a:prstGeom>
        </p:spPr>
        <p:txBody>
          <a:bodyPr/>
          <a:lstStyle>
            <a:lvl1pPr marL="0" indent="0" algn="ctr">
              <a:buFont typeface="+mj-lt"/>
              <a:buNone/>
              <a:defRPr sz="1543" b="1">
                <a:solidFill>
                  <a:schemeClr val="accent1"/>
                </a:solidFill>
                <a:latin typeface="+mj-lt"/>
              </a:defRPr>
            </a:lvl1pPr>
          </a:lstStyle>
          <a:p>
            <a:pPr lvl="0"/>
            <a:r>
              <a:rPr lang="en-US" dirty="0"/>
              <a:t>Main Title</a:t>
            </a:r>
          </a:p>
        </p:txBody>
      </p:sp>
      <p:cxnSp>
        <p:nvCxnSpPr>
          <p:cNvPr id="14" name="Straight Connector 13">
            <a:extLst>
              <a:ext uri="{FF2B5EF4-FFF2-40B4-BE49-F238E27FC236}">
                <a16:creationId xmlns:a16="http://schemas.microsoft.com/office/drawing/2014/main" id="{9E24CA32-963D-45FC-8ED9-16030130DB8D}"/>
              </a:ext>
            </a:extLst>
          </p:cNvPr>
          <p:cNvCxnSpPr>
            <a:cxnSpLocks/>
          </p:cNvCxnSpPr>
          <p:nvPr userDrawn="1"/>
        </p:nvCxnSpPr>
        <p:spPr>
          <a:xfrm>
            <a:off x="5331087" y="1446907"/>
            <a:ext cx="0" cy="328839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C05C16CC-8E20-4F59-9169-8006CAEEBFB7}"/>
              </a:ext>
            </a:extLst>
          </p:cNvPr>
          <p:cNvSpPr>
            <a:spLocks noGrp="1"/>
          </p:cNvSpPr>
          <p:nvPr>
            <p:ph type="body" sz="quarter" idx="18" hasCustomPrompt="1"/>
          </p:nvPr>
        </p:nvSpPr>
        <p:spPr>
          <a:xfrm>
            <a:off x="492827" y="5069450"/>
            <a:ext cx="9704769" cy="617605"/>
          </a:xfrm>
          <a:prstGeom prst="rect">
            <a:avLst/>
          </a:prstGeom>
        </p:spPr>
        <p:txBody>
          <a:bodyPr/>
          <a:lstStyle>
            <a:lvl1pPr>
              <a:defRPr sz="1323" b="1">
                <a:latin typeface="+mj-lt"/>
              </a:defRPr>
            </a:lvl1pPr>
          </a:lstStyle>
          <a:p>
            <a:pPr lvl="0"/>
            <a:r>
              <a:rPr lang="en-US" dirty="0"/>
              <a:t>Notes/Summary:</a:t>
            </a:r>
          </a:p>
          <a:p>
            <a:pPr lvl="0"/>
            <a:r>
              <a:rPr lang="en-US" b="0" dirty="0"/>
              <a:t>Add notes here.</a:t>
            </a:r>
            <a:endParaRPr lang="en-US" dirty="0"/>
          </a:p>
        </p:txBody>
      </p:sp>
      <p:sp>
        <p:nvSpPr>
          <p:cNvPr id="2" name="Footer Placeholder 1">
            <a:extLst>
              <a:ext uri="{FF2B5EF4-FFF2-40B4-BE49-F238E27FC236}">
                <a16:creationId xmlns:a16="http://schemas.microsoft.com/office/drawing/2014/main" id="{B6BC92CC-4F72-468B-93B7-F9344AD1C495}"/>
              </a:ext>
            </a:extLst>
          </p:cNvPr>
          <p:cNvSpPr>
            <a:spLocks noGrp="1"/>
          </p:cNvSpPr>
          <p:nvPr>
            <p:ph type="ftr" sz="quarter" idx="19"/>
          </p:nvPr>
        </p:nvSpPr>
        <p:spPr>
          <a:xfrm>
            <a:off x="483080" y="7144840"/>
            <a:ext cx="428002" cy="134973"/>
          </a:xfrm>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35DC880A-2EB8-4A90-A340-437A5F0E9535}"/>
              </a:ext>
            </a:extLst>
          </p:cNvPr>
          <p:cNvSpPr>
            <a:spLocks noGrp="1"/>
          </p:cNvSpPr>
          <p:nvPr>
            <p:ph type="sldNum" sz="quarter" idx="20"/>
          </p:nvPr>
        </p:nvSpPr>
        <p:spPr/>
        <p:txBody>
          <a:bodyPr/>
          <a:lstStyle/>
          <a:p>
            <a:fld id="{D04A32BC-4AEA-4C75-B397-D319FFB728D1}" type="slidenum">
              <a:rPr lang="en-US" smtClean="0"/>
              <a:pPr/>
              <a:t>‹#›</a:t>
            </a:fld>
            <a:endParaRPr lang="en-US" dirty="0"/>
          </a:p>
        </p:txBody>
      </p:sp>
      <p:sp>
        <p:nvSpPr>
          <p:cNvPr id="17" name="Text Placeholder 5">
            <a:extLst>
              <a:ext uri="{FF2B5EF4-FFF2-40B4-BE49-F238E27FC236}">
                <a16:creationId xmlns:a16="http://schemas.microsoft.com/office/drawing/2014/main" id="{A47B888F-6BFE-47FD-AED1-0148CF8260D4}"/>
              </a:ext>
            </a:extLst>
          </p:cNvPr>
          <p:cNvSpPr>
            <a:spLocks noGrp="1"/>
          </p:cNvSpPr>
          <p:nvPr>
            <p:ph type="body" sz="quarter" idx="21" hasCustomPrompt="1"/>
          </p:nvPr>
        </p:nvSpPr>
        <p:spPr>
          <a:xfrm>
            <a:off x="493387" y="976029"/>
            <a:ext cx="9704877" cy="373307"/>
          </a:xfrm>
          <a:prstGeom prst="rect">
            <a:avLst/>
          </a:prstGeom>
        </p:spPr>
        <p:txBody>
          <a:bodyPr/>
          <a:lstStyle>
            <a:lvl1pPr>
              <a:defRPr sz="1764" b="0">
                <a:latin typeface="+mj-lt"/>
              </a:defRPr>
            </a:lvl1pPr>
          </a:lstStyle>
          <a:p>
            <a:pPr lvl="0"/>
            <a:r>
              <a:rPr lang="en-US" dirty="0"/>
              <a:t>Insert Sub-Text Here</a:t>
            </a:r>
          </a:p>
        </p:txBody>
      </p:sp>
      <p:sp>
        <p:nvSpPr>
          <p:cNvPr id="16" name="Title 1">
            <a:extLst>
              <a:ext uri="{FF2B5EF4-FFF2-40B4-BE49-F238E27FC236}">
                <a16:creationId xmlns:a16="http://schemas.microsoft.com/office/drawing/2014/main" id="{147D19A8-160F-4722-A9A3-66549C17705F}"/>
              </a:ext>
            </a:extLst>
          </p:cNvPr>
          <p:cNvSpPr>
            <a:spLocks noGrp="1"/>
          </p:cNvSpPr>
          <p:nvPr>
            <p:ph type="title"/>
          </p:nvPr>
        </p:nvSpPr>
        <p:spPr>
          <a:xfrm>
            <a:off x="493388" y="342325"/>
            <a:ext cx="9704877" cy="366447"/>
          </a:xfrm>
          <a:prstGeom prst="rect">
            <a:avLst/>
          </a:prstGeom>
        </p:spPr>
        <p:txBody>
          <a:bodyPr lIns="0" rIns="0"/>
          <a:lstStyle>
            <a:lvl1pPr>
              <a:defRPr sz="2646">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12717381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wo-column page V4">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153875E-1320-42DC-ADDE-BD2AE3330866}"/>
              </a:ext>
            </a:extLst>
          </p:cNvPr>
          <p:cNvCxnSpPr/>
          <p:nvPr userDrawn="1"/>
        </p:nvCxnSpPr>
        <p:spPr>
          <a:xfrm>
            <a:off x="5331087" y="1446905"/>
            <a:ext cx="0" cy="533663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C481EF19-6194-40A1-BCD9-ED2C1F8420BB}"/>
              </a:ext>
            </a:extLst>
          </p:cNvPr>
          <p:cNvSpPr>
            <a:spLocks noGrp="1"/>
          </p:cNvSpPr>
          <p:nvPr>
            <p:ph idx="1"/>
          </p:nvPr>
        </p:nvSpPr>
        <p:spPr>
          <a:xfrm>
            <a:off x="493388" y="1799981"/>
            <a:ext cx="4543459" cy="1197764"/>
          </a:xfrm>
          <a:prstGeom prst="rect">
            <a:avLst/>
          </a:prstGeom>
        </p:spPr>
        <p:txBody>
          <a:bodyPr lIns="0" rIns="0"/>
          <a:lstStyle>
            <a:lvl1pPr>
              <a:defRPr sz="1323">
                <a:latin typeface="+mj-lt"/>
              </a:defRPr>
            </a:lvl1pPr>
            <a:lvl2pPr>
              <a:defRPr sz="1323">
                <a:latin typeface="+mj-lt"/>
              </a:defRPr>
            </a:lvl2pPr>
            <a:lvl3pPr>
              <a:defRPr sz="1323">
                <a:latin typeface="+mj-lt"/>
              </a:defRPr>
            </a:lvl3pPr>
            <a:lvl4pPr>
              <a:defRPr sz="1323">
                <a:latin typeface="+mj-lt"/>
              </a:defRPr>
            </a:lvl4pPr>
            <a:lvl5pPr>
              <a:defRPr sz="1323">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a:extLst>
              <a:ext uri="{FF2B5EF4-FFF2-40B4-BE49-F238E27FC236}">
                <a16:creationId xmlns:a16="http://schemas.microsoft.com/office/drawing/2014/main" id="{D00347EF-65C1-454E-B5F8-064ABA48B265}"/>
              </a:ext>
            </a:extLst>
          </p:cNvPr>
          <p:cNvSpPr>
            <a:spLocks noGrp="1"/>
          </p:cNvSpPr>
          <p:nvPr>
            <p:ph idx="10"/>
          </p:nvPr>
        </p:nvSpPr>
        <p:spPr>
          <a:xfrm>
            <a:off x="5625328" y="1799981"/>
            <a:ext cx="4542737" cy="1197764"/>
          </a:xfrm>
          <a:prstGeom prst="rect">
            <a:avLst/>
          </a:prstGeom>
        </p:spPr>
        <p:txBody>
          <a:bodyPr lIns="0" rIns="0"/>
          <a:lstStyle>
            <a:lvl1pPr>
              <a:defRPr sz="1323">
                <a:latin typeface="+mj-lt"/>
              </a:defRPr>
            </a:lvl1pPr>
            <a:lvl2pPr>
              <a:defRPr sz="1323">
                <a:latin typeface="+mj-lt"/>
              </a:defRPr>
            </a:lvl2pPr>
            <a:lvl3pPr>
              <a:defRPr sz="1323">
                <a:latin typeface="+mj-lt"/>
              </a:defRPr>
            </a:lvl3pPr>
            <a:lvl4pPr>
              <a:defRPr sz="1323">
                <a:latin typeface="+mj-lt"/>
              </a:defRPr>
            </a:lvl4pPr>
            <a:lvl5pPr>
              <a:defRPr sz="1323">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2">
            <a:extLst>
              <a:ext uri="{FF2B5EF4-FFF2-40B4-BE49-F238E27FC236}">
                <a16:creationId xmlns:a16="http://schemas.microsoft.com/office/drawing/2014/main" id="{0E7EA53E-3A3E-49D7-97A7-EEE9D5E901D3}"/>
              </a:ext>
            </a:extLst>
          </p:cNvPr>
          <p:cNvSpPr>
            <a:spLocks noGrp="1"/>
          </p:cNvSpPr>
          <p:nvPr>
            <p:ph type="body" sz="quarter" idx="16" hasCustomPrompt="1"/>
          </p:nvPr>
        </p:nvSpPr>
        <p:spPr>
          <a:xfrm>
            <a:off x="1612408" y="1465827"/>
            <a:ext cx="2305422" cy="340991"/>
          </a:xfrm>
          <a:prstGeom prst="rect">
            <a:avLst/>
          </a:prstGeom>
        </p:spPr>
        <p:txBody>
          <a:bodyPr/>
          <a:lstStyle>
            <a:lvl1pPr marL="0" indent="0" algn="ctr">
              <a:buFont typeface="+mj-lt"/>
              <a:buNone/>
              <a:defRPr sz="1543" b="1">
                <a:solidFill>
                  <a:schemeClr val="accent1"/>
                </a:solidFill>
                <a:latin typeface="+mj-lt"/>
              </a:defRPr>
            </a:lvl1pPr>
          </a:lstStyle>
          <a:p>
            <a:pPr lvl="0"/>
            <a:r>
              <a:rPr lang="en-US" dirty="0"/>
              <a:t>Main Title</a:t>
            </a:r>
          </a:p>
        </p:txBody>
      </p:sp>
      <p:sp>
        <p:nvSpPr>
          <p:cNvPr id="18" name="Text Placeholder 12">
            <a:extLst>
              <a:ext uri="{FF2B5EF4-FFF2-40B4-BE49-F238E27FC236}">
                <a16:creationId xmlns:a16="http://schemas.microsoft.com/office/drawing/2014/main" id="{1586C300-2149-4443-A209-2571FCE24E1D}"/>
              </a:ext>
            </a:extLst>
          </p:cNvPr>
          <p:cNvSpPr>
            <a:spLocks noGrp="1"/>
          </p:cNvSpPr>
          <p:nvPr>
            <p:ph type="body" sz="quarter" idx="17" hasCustomPrompt="1"/>
          </p:nvPr>
        </p:nvSpPr>
        <p:spPr>
          <a:xfrm>
            <a:off x="6744347" y="1453213"/>
            <a:ext cx="2305422" cy="346768"/>
          </a:xfrm>
          <a:prstGeom prst="rect">
            <a:avLst/>
          </a:prstGeom>
        </p:spPr>
        <p:txBody>
          <a:bodyPr/>
          <a:lstStyle>
            <a:lvl1pPr marL="0" indent="0" algn="ctr">
              <a:buFont typeface="+mj-lt"/>
              <a:buNone/>
              <a:defRPr sz="1543" b="1">
                <a:solidFill>
                  <a:schemeClr val="accent1"/>
                </a:solidFill>
                <a:latin typeface="+mj-lt"/>
              </a:defRPr>
            </a:lvl1pPr>
          </a:lstStyle>
          <a:p>
            <a:pPr lvl="0"/>
            <a:r>
              <a:rPr lang="en-US" dirty="0"/>
              <a:t>Main Title</a:t>
            </a:r>
          </a:p>
        </p:txBody>
      </p:sp>
      <p:cxnSp>
        <p:nvCxnSpPr>
          <p:cNvPr id="19" name="Straight Connector 18">
            <a:extLst>
              <a:ext uri="{FF2B5EF4-FFF2-40B4-BE49-F238E27FC236}">
                <a16:creationId xmlns:a16="http://schemas.microsoft.com/office/drawing/2014/main" id="{A1757C94-5FBC-443C-9294-2B4938F14B1F}"/>
              </a:ext>
            </a:extLst>
          </p:cNvPr>
          <p:cNvCxnSpPr>
            <a:cxnSpLocks/>
          </p:cNvCxnSpPr>
          <p:nvPr userDrawn="1"/>
        </p:nvCxnSpPr>
        <p:spPr>
          <a:xfrm>
            <a:off x="5331087" y="1446905"/>
            <a:ext cx="0" cy="255738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0" name="Content Placeholder 2">
            <a:extLst>
              <a:ext uri="{FF2B5EF4-FFF2-40B4-BE49-F238E27FC236}">
                <a16:creationId xmlns:a16="http://schemas.microsoft.com/office/drawing/2014/main" id="{5301983B-C765-4786-8E54-899FE555A40C}"/>
              </a:ext>
            </a:extLst>
          </p:cNvPr>
          <p:cNvSpPr>
            <a:spLocks noGrp="1"/>
          </p:cNvSpPr>
          <p:nvPr>
            <p:ph idx="18"/>
          </p:nvPr>
        </p:nvSpPr>
        <p:spPr>
          <a:xfrm>
            <a:off x="493387" y="4474571"/>
            <a:ext cx="4543459" cy="1197764"/>
          </a:xfrm>
          <a:prstGeom prst="rect">
            <a:avLst/>
          </a:prstGeom>
        </p:spPr>
        <p:txBody>
          <a:bodyPr lIns="0" rIns="0"/>
          <a:lstStyle>
            <a:lvl1pPr>
              <a:defRPr sz="1323">
                <a:latin typeface="+mj-lt"/>
              </a:defRPr>
            </a:lvl1pPr>
            <a:lvl2pPr>
              <a:defRPr sz="1323">
                <a:latin typeface="+mj-lt"/>
              </a:defRPr>
            </a:lvl2pPr>
            <a:lvl3pPr>
              <a:defRPr sz="1323">
                <a:latin typeface="+mj-lt"/>
              </a:defRPr>
            </a:lvl3pPr>
            <a:lvl4pPr>
              <a:defRPr sz="1323">
                <a:latin typeface="+mj-lt"/>
              </a:defRPr>
            </a:lvl4pPr>
            <a:lvl5pPr>
              <a:defRPr sz="1323">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
            <a:extLst>
              <a:ext uri="{FF2B5EF4-FFF2-40B4-BE49-F238E27FC236}">
                <a16:creationId xmlns:a16="http://schemas.microsoft.com/office/drawing/2014/main" id="{AFC84C64-FFBA-47C2-ACF0-25302EB9D5E0}"/>
              </a:ext>
            </a:extLst>
          </p:cNvPr>
          <p:cNvSpPr>
            <a:spLocks noGrp="1"/>
          </p:cNvSpPr>
          <p:nvPr>
            <p:ph idx="19"/>
          </p:nvPr>
        </p:nvSpPr>
        <p:spPr>
          <a:xfrm>
            <a:off x="5625327" y="4474571"/>
            <a:ext cx="4542737" cy="1197764"/>
          </a:xfrm>
          <a:prstGeom prst="rect">
            <a:avLst/>
          </a:prstGeom>
        </p:spPr>
        <p:txBody>
          <a:bodyPr lIns="0" rIns="0"/>
          <a:lstStyle>
            <a:lvl1pPr>
              <a:defRPr sz="1323">
                <a:latin typeface="+mj-lt"/>
              </a:defRPr>
            </a:lvl1pPr>
            <a:lvl2pPr>
              <a:defRPr sz="1323">
                <a:latin typeface="+mj-lt"/>
              </a:defRPr>
            </a:lvl2pPr>
            <a:lvl3pPr>
              <a:defRPr sz="1323">
                <a:latin typeface="+mj-lt"/>
              </a:defRPr>
            </a:lvl3pPr>
            <a:lvl4pPr>
              <a:defRPr sz="1323">
                <a:latin typeface="+mj-lt"/>
              </a:defRPr>
            </a:lvl4pPr>
            <a:lvl5pPr>
              <a:defRPr sz="1323">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2">
            <a:extLst>
              <a:ext uri="{FF2B5EF4-FFF2-40B4-BE49-F238E27FC236}">
                <a16:creationId xmlns:a16="http://schemas.microsoft.com/office/drawing/2014/main" id="{CE9D02A9-7F8C-414B-8F73-E475843AB7B0}"/>
              </a:ext>
            </a:extLst>
          </p:cNvPr>
          <p:cNvSpPr>
            <a:spLocks noGrp="1"/>
          </p:cNvSpPr>
          <p:nvPr>
            <p:ph type="body" sz="quarter" idx="20" hasCustomPrompt="1"/>
          </p:nvPr>
        </p:nvSpPr>
        <p:spPr>
          <a:xfrm>
            <a:off x="1612407" y="4140418"/>
            <a:ext cx="2305422" cy="340991"/>
          </a:xfrm>
          <a:prstGeom prst="rect">
            <a:avLst/>
          </a:prstGeom>
        </p:spPr>
        <p:txBody>
          <a:bodyPr/>
          <a:lstStyle>
            <a:lvl1pPr marL="0" indent="0" algn="ctr">
              <a:buFont typeface="+mj-lt"/>
              <a:buNone/>
              <a:defRPr sz="1543" b="1">
                <a:solidFill>
                  <a:schemeClr val="accent1"/>
                </a:solidFill>
                <a:latin typeface="+mj-lt"/>
              </a:defRPr>
            </a:lvl1pPr>
          </a:lstStyle>
          <a:p>
            <a:pPr lvl="0"/>
            <a:r>
              <a:rPr lang="en-US" dirty="0"/>
              <a:t>Main Title</a:t>
            </a:r>
          </a:p>
        </p:txBody>
      </p:sp>
      <p:sp>
        <p:nvSpPr>
          <p:cNvPr id="23" name="Text Placeholder 12">
            <a:extLst>
              <a:ext uri="{FF2B5EF4-FFF2-40B4-BE49-F238E27FC236}">
                <a16:creationId xmlns:a16="http://schemas.microsoft.com/office/drawing/2014/main" id="{16FAEFDA-C1B8-481C-887A-4079E9FCA7E6}"/>
              </a:ext>
            </a:extLst>
          </p:cNvPr>
          <p:cNvSpPr>
            <a:spLocks noGrp="1"/>
          </p:cNvSpPr>
          <p:nvPr>
            <p:ph type="body" sz="quarter" idx="21" hasCustomPrompt="1"/>
          </p:nvPr>
        </p:nvSpPr>
        <p:spPr>
          <a:xfrm>
            <a:off x="6744346" y="4127803"/>
            <a:ext cx="2305422" cy="346768"/>
          </a:xfrm>
          <a:prstGeom prst="rect">
            <a:avLst/>
          </a:prstGeom>
        </p:spPr>
        <p:txBody>
          <a:bodyPr/>
          <a:lstStyle>
            <a:lvl1pPr marL="0" indent="0" algn="ctr">
              <a:buFont typeface="+mj-lt"/>
              <a:buNone/>
              <a:defRPr sz="1543" b="1">
                <a:solidFill>
                  <a:schemeClr val="accent1"/>
                </a:solidFill>
                <a:latin typeface="+mj-lt"/>
              </a:defRPr>
            </a:lvl1pPr>
          </a:lstStyle>
          <a:p>
            <a:pPr lvl="0"/>
            <a:r>
              <a:rPr lang="en-US" dirty="0"/>
              <a:t>Main Title</a:t>
            </a:r>
          </a:p>
        </p:txBody>
      </p:sp>
      <p:sp>
        <p:nvSpPr>
          <p:cNvPr id="2" name="Footer Placeholder 1">
            <a:extLst>
              <a:ext uri="{FF2B5EF4-FFF2-40B4-BE49-F238E27FC236}">
                <a16:creationId xmlns:a16="http://schemas.microsoft.com/office/drawing/2014/main" id="{BD6F7AE0-F348-4EDA-A8E5-B0ABA1600AAA}"/>
              </a:ext>
            </a:extLst>
          </p:cNvPr>
          <p:cNvSpPr>
            <a:spLocks noGrp="1"/>
          </p:cNvSpPr>
          <p:nvPr>
            <p:ph type="ftr" sz="quarter" idx="22"/>
          </p:nvPr>
        </p:nvSpPr>
        <p:spPr>
          <a:xfrm>
            <a:off x="483080" y="7144840"/>
            <a:ext cx="428002" cy="134973"/>
          </a:xfrm>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795F2C8F-697E-4F12-B5BA-C67A0FF457D0}"/>
              </a:ext>
            </a:extLst>
          </p:cNvPr>
          <p:cNvSpPr>
            <a:spLocks noGrp="1"/>
          </p:cNvSpPr>
          <p:nvPr>
            <p:ph type="sldNum" sz="quarter" idx="23"/>
          </p:nvPr>
        </p:nvSpPr>
        <p:spPr/>
        <p:txBody>
          <a:bodyPr/>
          <a:lstStyle/>
          <a:p>
            <a:fld id="{D04A32BC-4AEA-4C75-B397-D319FFB728D1}" type="slidenum">
              <a:rPr lang="en-US" smtClean="0"/>
              <a:pPr/>
              <a:t>‹#›</a:t>
            </a:fld>
            <a:endParaRPr lang="en-US" dirty="0"/>
          </a:p>
        </p:txBody>
      </p:sp>
      <p:sp>
        <p:nvSpPr>
          <p:cNvPr id="25" name="Text Placeholder 5">
            <a:extLst>
              <a:ext uri="{FF2B5EF4-FFF2-40B4-BE49-F238E27FC236}">
                <a16:creationId xmlns:a16="http://schemas.microsoft.com/office/drawing/2014/main" id="{3A899D50-DB32-44C5-AFEB-88642F2C82E7}"/>
              </a:ext>
            </a:extLst>
          </p:cNvPr>
          <p:cNvSpPr>
            <a:spLocks noGrp="1"/>
          </p:cNvSpPr>
          <p:nvPr>
            <p:ph type="body" sz="quarter" idx="24" hasCustomPrompt="1"/>
          </p:nvPr>
        </p:nvSpPr>
        <p:spPr>
          <a:xfrm>
            <a:off x="493387" y="976029"/>
            <a:ext cx="9704877" cy="373307"/>
          </a:xfrm>
          <a:prstGeom prst="rect">
            <a:avLst/>
          </a:prstGeom>
        </p:spPr>
        <p:txBody>
          <a:bodyPr/>
          <a:lstStyle>
            <a:lvl1pPr>
              <a:defRPr sz="1764" b="0">
                <a:latin typeface="+mj-lt"/>
              </a:defRPr>
            </a:lvl1pPr>
          </a:lstStyle>
          <a:p>
            <a:pPr lvl="0"/>
            <a:r>
              <a:rPr lang="en-US" dirty="0"/>
              <a:t>Insert Sub-Text Here</a:t>
            </a:r>
          </a:p>
        </p:txBody>
      </p:sp>
      <p:sp>
        <p:nvSpPr>
          <p:cNvPr id="24" name="Title 1">
            <a:extLst>
              <a:ext uri="{FF2B5EF4-FFF2-40B4-BE49-F238E27FC236}">
                <a16:creationId xmlns:a16="http://schemas.microsoft.com/office/drawing/2014/main" id="{912DC839-BDF8-45F5-A4E4-E82373FCD23F}"/>
              </a:ext>
            </a:extLst>
          </p:cNvPr>
          <p:cNvSpPr>
            <a:spLocks noGrp="1"/>
          </p:cNvSpPr>
          <p:nvPr>
            <p:ph type="title"/>
          </p:nvPr>
        </p:nvSpPr>
        <p:spPr>
          <a:xfrm>
            <a:off x="493388" y="342325"/>
            <a:ext cx="9704877" cy="366447"/>
          </a:xfrm>
          <a:prstGeom prst="rect">
            <a:avLst/>
          </a:prstGeom>
        </p:spPr>
        <p:txBody>
          <a:bodyPr lIns="0" rIns="0"/>
          <a:lstStyle>
            <a:lvl1pPr>
              <a:defRPr sz="2646">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22490931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Slide (Option 3)">
  <p:cSld name="Title Slide (Option 3)">
    <p:spTree>
      <p:nvGrpSpPr>
        <p:cNvPr id="1" name="Shape 68"/>
        <p:cNvGrpSpPr/>
        <p:nvPr/>
      </p:nvGrpSpPr>
      <p:grpSpPr>
        <a:xfrm>
          <a:off x="0" y="0"/>
          <a:ext cx="0" cy="0"/>
          <a:chOff x="0" y="0"/>
          <a:chExt cx="0" cy="0"/>
        </a:xfrm>
      </p:grpSpPr>
      <p:pic>
        <p:nvPicPr>
          <p:cNvPr id="69" name="Google Shape;69;p11" descr="A large body of water with a city in the background&#10;&#10;Description automatically generated"/>
          <p:cNvPicPr preferRelativeResize="0"/>
          <p:nvPr/>
        </p:nvPicPr>
        <p:blipFill rotWithShape="1">
          <a:blip r:embed="rId2">
            <a:alphaModFix/>
          </a:blip>
          <a:srcRect l="10467" t="6401" r="10469" b="6358"/>
          <a:stretch/>
        </p:blipFill>
        <p:spPr>
          <a:xfrm>
            <a:off x="482600" y="484188"/>
            <a:ext cx="9726613" cy="6594475"/>
          </a:xfrm>
          <a:prstGeom prst="rect">
            <a:avLst/>
          </a:prstGeom>
          <a:noFill/>
          <a:ln>
            <a:noFill/>
          </a:ln>
        </p:spPr>
      </p:pic>
      <p:sp>
        <p:nvSpPr>
          <p:cNvPr id="70" name="Google Shape;70;p11"/>
          <p:cNvSpPr/>
          <p:nvPr/>
        </p:nvSpPr>
        <p:spPr>
          <a:xfrm>
            <a:off x="965199" y="965200"/>
            <a:ext cx="5916987" cy="6594475"/>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71" name="Google Shape;71;p11"/>
          <p:cNvSpPr txBox="1">
            <a:spLocks noGrp="1"/>
          </p:cNvSpPr>
          <p:nvPr>
            <p:ph type="ctrTitle"/>
          </p:nvPr>
        </p:nvSpPr>
        <p:spPr>
          <a:xfrm>
            <a:off x="1431143" y="4012444"/>
            <a:ext cx="4869319" cy="1090042"/>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 name="Google Shape;72;p11"/>
          <p:cNvSpPr txBox="1">
            <a:spLocks noGrp="1"/>
          </p:cNvSpPr>
          <p:nvPr>
            <p:ph type="subTitle" idx="1"/>
          </p:nvPr>
        </p:nvSpPr>
        <p:spPr>
          <a:xfrm>
            <a:off x="1431143" y="5169224"/>
            <a:ext cx="4869319" cy="292388"/>
          </a:xfrm>
          <a:prstGeom prst="rect">
            <a:avLst/>
          </a:prstGeom>
          <a:noFill/>
          <a:ln>
            <a:noFill/>
          </a:ln>
        </p:spPr>
        <p:txBody>
          <a:bodyPr spcFirstLastPara="1" wrap="square" lIns="0" tIns="0" rIns="0" bIns="0" anchor="t" anchorCtr="0">
            <a:spAutoFit/>
          </a:bodyPr>
          <a:lstStyle>
            <a:lvl1pPr lvl="0" algn="l">
              <a:lnSpc>
                <a:spcPct val="95000"/>
              </a:lnSpc>
              <a:spcBef>
                <a:spcPts val="877"/>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439"/>
              </a:spcBef>
              <a:spcAft>
                <a:spcPts val="0"/>
              </a:spcAft>
              <a:buSzPts val="1620"/>
              <a:buChar char="▪"/>
              <a:defRPr/>
            </a:lvl2pPr>
            <a:lvl3pPr lvl="2" algn="l">
              <a:lnSpc>
                <a:spcPct val="95000"/>
              </a:lnSpc>
              <a:spcBef>
                <a:spcPts val="263"/>
              </a:spcBef>
              <a:spcAft>
                <a:spcPts val="0"/>
              </a:spcAft>
              <a:buSzPts val="1800"/>
              <a:buChar char="−"/>
              <a:defRPr/>
            </a:lvl3pPr>
            <a:lvl4pPr lvl="3" algn="l">
              <a:lnSpc>
                <a:spcPct val="95000"/>
              </a:lnSpc>
              <a:spcBef>
                <a:spcPts val="88"/>
              </a:spcBef>
              <a:spcAft>
                <a:spcPts val="0"/>
              </a:spcAft>
              <a:buSzPts val="1620"/>
              <a:buChar char="•"/>
              <a:defRPr/>
            </a:lvl4pPr>
            <a:lvl5pPr lvl="4" algn="l">
              <a:lnSpc>
                <a:spcPct val="95000"/>
              </a:lnSpc>
              <a:spcBef>
                <a:spcPts val="88"/>
              </a:spcBef>
              <a:spcAft>
                <a:spcPts val="0"/>
              </a:spcAft>
              <a:buSzPts val="1800"/>
              <a:buChar char="−"/>
              <a:defRPr/>
            </a:lvl5pPr>
            <a:lvl6pPr lvl="5" algn="l">
              <a:lnSpc>
                <a:spcPct val="90000"/>
              </a:lnSpc>
              <a:spcBef>
                <a:spcPts val="439"/>
              </a:spcBef>
              <a:spcAft>
                <a:spcPts val="0"/>
              </a:spcAft>
              <a:buClr>
                <a:schemeClr val="dk1"/>
              </a:buClr>
              <a:buSzPts val="1800"/>
              <a:buChar char="•"/>
              <a:defRPr/>
            </a:lvl6pPr>
            <a:lvl7pPr lvl="6" algn="l">
              <a:lnSpc>
                <a:spcPct val="90000"/>
              </a:lnSpc>
              <a:spcBef>
                <a:spcPts val="439"/>
              </a:spcBef>
              <a:spcAft>
                <a:spcPts val="0"/>
              </a:spcAft>
              <a:buClr>
                <a:schemeClr val="dk1"/>
              </a:buClr>
              <a:buSzPts val="1800"/>
              <a:buChar char="•"/>
              <a:defRPr/>
            </a:lvl7pPr>
            <a:lvl8pPr lvl="7" algn="l">
              <a:lnSpc>
                <a:spcPct val="90000"/>
              </a:lnSpc>
              <a:spcBef>
                <a:spcPts val="439"/>
              </a:spcBef>
              <a:spcAft>
                <a:spcPts val="0"/>
              </a:spcAft>
              <a:buClr>
                <a:schemeClr val="dk1"/>
              </a:buClr>
              <a:buSzPts val="1800"/>
              <a:buChar char="•"/>
              <a:defRPr/>
            </a:lvl8pPr>
            <a:lvl9pPr lvl="8" algn="l">
              <a:lnSpc>
                <a:spcPct val="90000"/>
              </a:lnSpc>
              <a:spcBef>
                <a:spcPts val="439"/>
              </a:spcBef>
              <a:spcAft>
                <a:spcPts val="0"/>
              </a:spcAft>
              <a:buClr>
                <a:schemeClr val="dk1"/>
              </a:buClr>
              <a:buSzPts val="1800"/>
              <a:buChar char="•"/>
              <a:defRPr/>
            </a:lvl9pPr>
          </a:lstStyle>
          <a:p>
            <a:endParaRPr/>
          </a:p>
        </p:txBody>
      </p:sp>
      <p:pic>
        <p:nvPicPr>
          <p:cNvPr id="73" name="Google Shape;73;p11"/>
          <p:cNvPicPr preferRelativeResize="0"/>
          <p:nvPr/>
        </p:nvPicPr>
        <p:blipFill rotWithShape="1">
          <a:blip r:embed="rId3">
            <a:alphaModFix/>
          </a:blip>
          <a:srcRect/>
          <a:stretch/>
        </p:blipFill>
        <p:spPr>
          <a:xfrm>
            <a:off x="1431143" y="1469422"/>
            <a:ext cx="2752975" cy="621246"/>
          </a:xfrm>
          <a:prstGeom prst="rect">
            <a:avLst/>
          </a:prstGeom>
          <a:noFill/>
          <a:ln>
            <a:noFill/>
          </a:ln>
        </p:spPr>
      </p:pic>
      <p:sp>
        <p:nvSpPr>
          <p:cNvPr id="74" name="Google Shape;74;p11"/>
          <p:cNvSpPr txBox="1">
            <a:spLocks noGrp="1"/>
          </p:cNvSpPr>
          <p:nvPr>
            <p:ph type="dt" idx="10"/>
          </p:nvPr>
        </p:nvSpPr>
        <p:spPr>
          <a:xfrm>
            <a:off x="1431143" y="6529774"/>
            <a:ext cx="1550746" cy="2215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6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Slide (Option 4)">
  <p:cSld name="Title Slide (Option 4)">
    <p:spTree>
      <p:nvGrpSpPr>
        <p:cNvPr id="1" name="Shape 75"/>
        <p:cNvGrpSpPr/>
        <p:nvPr/>
      </p:nvGrpSpPr>
      <p:grpSpPr>
        <a:xfrm>
          <a:off x="0" y="0"/>
          <a:ext cx="0" cy="0"/>
          <a:chOff x="0" y="0"/>
          <a:chExt cx="0" cy="0"/>
        </a:xfrm>
      </p:grpSpPr>
      <p:pic>
        <p:nvPicPr>
          <p:cNvPr id="76" name="Google Shape;76;p12" descr="A large body of water with a city in the background&#10;&#10;Description automatically generated"/>
          <p:cNvPicPr preferRelativeResize="0"/>
          <p:nvPr/>
        </p:nvPicPr>
        <p:blipFill rotWithShape="1">
          <a:blip r:embed="rId2">
            <a:alphaModFix/>
          </a:blip>
          <a:srcRect l="6544" t="14186" r="6545" b="8000"/>
          <a:stretch/>
        </p:blipFill>
        <p:spPr>
          <a:xfrm>
            <a:off x="0" y="1677776"/>
            <a:ext cx="10691813" cy="5881899"/>
          </a:xfrm>
          <a:prstGeom prst="rect">
            <a:avLst/>
          </a:prstGeom>
          <a:noFill/>
          <a:ln>
            <a:noFill/>
          </a:ln>
        </p:spPr>
      </p:pic>
      <p:sp>
        <p:nvSpPr>
          <p:cNvPr id="77" name="Google Shape;77;p12"/>
          <p:cNvSpPr/>
          <p:nvPr/>
        </p:nvSpPr>
        <p:spPr>
          <a:xfrm>
            <a:off x="470439" y="0"/>
            <a:ext cx="6410277" cy="6954202"/>
          </a:xfrm>
          <a:prstGeom prst="rect">
            <a:avLst/>
          </a:prstGeom>
          <a:gradFill>
            <a:gsLst>
              <a:gs pos="0">
                <a:srgbClr val="062379"/>
              </a:gs>
              <a:gs pos="39000">
                <a:srgbClr val="0934B6">
                  <a:alpha val="94901"/>
                </a:srgbClr>
              </a:gs>
              <a:gs pos="74000">
                <a:srgbClr val="036DFF">
                  <a:alpha val="80000"/>
                </a:srgbClr>
              </a:gs>
              <a:gs pos="100000">
                <a:srgbClr val="43E1D3">
                  <a:alpha val="89803"/>
                </a:srgbClr>
              </a:gs>
            </a:gsLst>
            <a:lin ang="36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78" name="Google Shape;78;p12"/>
          <p:cNvSpPr txBox="1">
            <a:spLocks noGrp="1"/>
          </p:cNvSpPr>
          <p:nvPr>
            <p:ph type="ctrTitle"/>
          </p:nvPr>
        </p:nvSpPr>
        <p:spPr>
          <a:xfrm>
            <a:off x="933087" y="3647478"/>
            <a:ext cx="5512036" cy="1090042"/>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 name="Google Shape;79;p12"/>
          <p:cNvSpPr txBox="1">
            <a:spLocks noGrp="1"/>
          </p:cNvSpPr>
          <p:nvPr>
            <p:ph type="subTitle" idx="1"/>
          </p:nvPr>
        </p:nvSpPr>
        <p:spPr>
          <a:xfrm>
            <a:off x="933087" y="4804261"/>
            <a:ext cx="5512036" cy="292388"/>
          </a:xfrm>
          <a:prstGeom prst="rect">
            <a:avLst/>
          </a:prstGeom>
          <a:noFill/>
          <a:ln>
            <a:noFill/>
          </a:ln>
        </p:spPr>
        <p:txBody>
          <a:bodyPr spcFirstLastPara="1" wrap="square" lIns="0" tIns="0" rIns="0" bIns="0" anchor="t" anchorCtr="0">
            <a:spAutoFit/>
          </a:bodyPr>
          <a:lstStyle>
            <a:lvl1pPr lvl="0" algn="l">
              <a:lnSpc>
                <a:spcPct val="95000"/>
              </a:lnSpc>
              <a:spcBef>
                <a:spcPts val="877"/>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439"/>
              </a:spcBef>
              <a:spcAft>
                <a:spcPts val="0"/>
              </a:spcAft>
              <a:buSzPts val="1620"/>
              <a:buChar char="▪"/>
              <a:defRPr/>
            </a:lvl2pPr>
            <a:lvl3pPr lvl="2" algn="l">
              <a:lnSpc>
                <a:spcPct val="95000"/>
              </a:lnSpc>
              <a:spcBef>
                <a:spcPts val="263"/>
              </a:spcBef>
              <a:spcAft>
                <a:spcPts val="0"/>
              </a:spcAft>
              <a:buSzPts val="1800"/>
              <a:buChar char="−"/>
              <a:defRPr/>
            </a:lvl3pPr>
            <a:lvl4pPr lvl="3" algn="l">
              <a:lnSpc>
                <a:spcPct val="95000"/>
              </a:lnSpc>
              <a:spcBef>
                <a:spcPts val="88"/>
              </a:spcBef>
              <a:spcAft>
                <a:spcPts val="0"/>
              </a:spcAft>
              <a:buSzPts val="1620"/>
              <a:buChar char="•"/>
              <a:defRPr/>
            </a:lvl4pPr>
            <a:lvl5pPr lvl="4" algn="l">
              <a:lnSpc>
                <a:spcPct val="95000"/>
              </a:lnSpc>
              <a:spcBef>
                <a:spcPts val="88"/>
              </a:spcBef>
              <a:spcAft>
                <a:spcPts val="0"/>
              </a:spcAft>
              <a:buSzPts val="1800"/>
              <a:buChar char="−"/>
              <a:defRPr/>
            </a:lvl5pPr>
            <a:lvl6pPr lvl="5" algn="l">
              <a:lnSpc>
                <a:spcPct val="90000"/>
              </a:lnSpc>
              <a:spcBef>
                <a:spcPts val="439"/>
              </a:spcBef>
              <a:spcAft>
                <a:spcPts val="0"/>
              </a:spcAft>
              <a:buClr>
                <a:schemeClr val="dk1"/>
              </a:buClr>
              <a:buSzPts val="1800"/>
              <a:buChar char="•"/>
              <a:defRPr/>
            </a:lvl6pPr>
            <a:lvl7pPr lvl="6" algn="l">
              <a:lnSpc>
                <a:spcPct val="90000"/>
              </a:lnSpc>
              <a:spcBef>
                <a:spcPts val="439"/>
              </a:spcBef>
              <a:spcAft>
                <a:spcPts val="0"/>
              </a:spcAft>
              <a:buClr>
                <a:schemeClr val="dk1"/>
              </a:buClr>
              <a:buSzPts val="1800"/>
              <a:buChar char="•"/>
              <a:defRPr/>
            </a:lvl7pPr>
            <a:lvl8pPr lvl="7" algn="l">
              <a:lnSpc>
                <a:spcPct val="90000"/>
              </a:lnSpc>
              <a:spcBef>
                <a:spcPts val="439"/>
              </a:spcBef>
              <a:spcAft>
                <a:spcPts val="0"/>
              </a:spcAft>
              <a:buClr>
                <a:schemeClr val="dk1"/>
              </a:buClr>
              <a:buSzPts val="1800"/>
              <a:buChar char="•"/>
              <a:defRPr/>
            </a:lvl8pPr>
            <a:lvl9pPr lvl="8" algn="l">
              <a:lnSpc>
                <a:spcPct val="90000"/>
              </a:lnSpc>
              <a:spcBef>
                <a:spcPts val="439"/>
              </a:spcBef>
              <a:spcAft>
                <a:spcPts val="0"/>
              </a:spcAft>
              <a:buClr>
                <a:schemeClr val="dk1"/>
              </a:buClr>
              <a:buSzPts val="1800"/>
              <a:buChar char="•"/>
              <a:defRPr/>
            </a:lvl9pPr>
          </a:lstStyle>
          <a:p>
            <a:endParaRPr/>
          </a:p>
        </p:txBody>
      </p:sp>
      <p:pic>
        <p:nvPicPr>
          <p:cNvPr id="80" name="Google Shape;80;p12"/>
          <p:cNvPicPr preferRelativeResize="0"/>
          <p:nvPr/>
        </p:nvPicPr>
        <p:blipFill rotWithShape="1">
          <a:blip r:embed="rId3">
            <a:alphaModFix/>
          </a:blip>
          <a:srcRect/>
          <a:stretch/>
        </p:blipFill>
        <p:spPr>
          <a:xfrm>
            <a:off x="933087" y="502949"/>
            <a:ext cx="2982150" cy="672963"/>
          </a:xfrm>
          <a:prstGeom prst="rect">
            <a:avLst/>
          </a:prstGeom>
          <a:noFill/>
          <a:ln>
            <a:noFill/>
          </a:ln>
        </p:spPr>
      </p:pic>
      <p:sp>
        <p:nvSpPr>
          <p:cNvPr id="81" name="Google Shape;81;p12"/>
          <p:cNvSpPr txBox="1">
            <a:spLocks noGrp="1"/>
          </p:cNvSpPr>
          <p:nvPr>
            <p:ph type="dt" idx="10"/>
          </p:nvPr>
        </p:nvSpPr>
        <p:spPr>
          <a:xfrm>
            <a:off x="921225" y="6344579"/>
            <a:ext cx="1550746" cy="2215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6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Layout">
  <p:cSld name="Title only Layout">
    <p:spTree>
      <p:nvGrpSpPr>
        <p:cNvPr id="1" name="Shape 82"/>
        <p:cNvGrpSpPr/>
        <p:nvPr/>
      </p:nvGrpSpPr>
      <p:grpSpPr>
        <a:xfrm>
          <a:off x="0" y="0"/>
          <a:ext cx="0" cy="0"/>
          <a:chOff x="0" y="0"/>
          <a:chExt cx="0" cy="0"/>
        </a:xfrm>
      </p:grpSpPr>
      <p:sp>
        <p:nvSpPr>
          <p:cNvPr id="83" name="Google Shape;83;p13"/>
          <p:cNvSpPr txBox="1">
            <a:spLocks noGrp="1"/>
          </p:cNvSpPr>
          <p:nvPr>
            <p:ph type="title"/>
          </p:nvPr>
        </p:nvSpPr>
        <p:spPr>
          <a:xfrm>
            <a:off x="483827" y="484188"/>
            <a:ext cx="9725386"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13"/>
          <p:cNvSpPr txBox="1">
            <a:spLocks noGrp="1"/>
          </p:cNvSpPr>
          <p:nvPr>
            <p:ph type="ftr" idx="11"/>
          </p:nvPr>
        </p:nvSpPr>
        <p:spPr>
          <a:xfrm>
            <a:off x="483080" y="7158305"/>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5" name="Google Shape;85;p13"/>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Only Layout">
  <p:cSld name="Only Layout">
    <p:spTree>
      <p:nvGrpSpPr>
        <p:cNvPr id="1" name="Shape 86"/>
        <p:cNvGrpSpPr/>
        <p:nvPr/>
      </p:nvGrpSpPr>
      <p:grpSpPr>
        <a:xfrm>
          <a:off x="0" y="0"/>
          <a:ext cx="0" cy="0"/>
          <a:chOff x="0" y="0"/>
          <a:chExt cx="0" cy="0"/>
        </a:xfrm>
      </p:grpSpPr>
      <p:sp>
        <p:nvSpPr>
          <p:cNvPr id="87" name="Google Shape;87;p14"/>
          <p:cNvSpPr txBox="1">
            <a:spLocks noGrp="1"/>
          </p:cNvSpPr>
          <p:nvPr>
            <p:ph type="ftr" idx="11"/>
          </p:nvPr>
        </p:nvSpPr>
        <p:spPr>
          <a:xfrm>
            <a:off x="483080" y="7158305"/>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8" name="Google Shape;88;p14"/>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grpSp>
        <p:nvGrpSpPr>
          <p:cNvPr id="89" name="Google Shape;89;p14"/>
          <p:cNvGrpSpPr/>
          <p:nvPr/>
        </p:nvGrpSpPr>
        <p:grpSpPr>
          <a:xfrm>
            <a:off x="10518694" y="5440544"/>
            <a:ext cx="97271" cy="1816408"/>
            <a:chOff x="10518694" y="5463404"/>
            <a:chExt cx="97271" cy="1816408"/>
          </a:xfrm>
        </p:grpSpPr>
        <p:grpSp>
          <p:nvGrpSpPr>
            <p:cNvPr id="90" name="Google Shape;90;p14"/>
            <p:cNvGrpSpPr/>
            <p:nvPr/>
          </p:nvGrpSpPr>
          <p:grpSpPr>
            <a:xfrm>
              <a:off x="10530628" y="6878757"/>
              <a:ext cx="62166" cy="401056"/>
              <a:chOff x="10629461" y="6878757"/>
              <a:chExt cx="62166" cy="401056"/>
            </a:xfrm>
          </p:grpSpPr>
          <p:sp>
            <p:nvSpPr>
              <p:cNvPr id="91" name="Google Shape;91;p14"/>
              <p:cNvSpPr/>
              <p:nvPr/>
            </p:nvSpPr>
            <p:spPr>
              <a:xfrm rot="-5400000">
                <a:off x="10688095" y="7163862"/>
                <a:ext cx="15" cy="1558"/>
              </a:xfrm>
              <a:custGeom>
                <a:avLst/>
                <a:gdLst/>
                <a:ahLst/>
                <a:cxnLst/>
                <a:rect l="l" t="t" r="r" b="b"/>
                <a:pathLst>
                  <a:path w="15" h="1558" extrusionOk="0">
                    <a:moveTo>
                      <a:pt x="0" y="0"/>
                    </a:moveTo>
                    <a:lnTo>
                      <a:pt x="16" y="0"/>
                    </a:lnTo>
                    <a:lnTo>
                      <a:pt x="16" y="0"/>
                    </a:lnTo>
                    <a:lnTo>
                      <a:pt x="0" y="0"/>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 name="Google Shape;92;p14"/>
              <p:cNvSpPr/>
              <p:nvPr/>
            </p:nvSpPr>
            <p:spPr>
              <a:xfrm rot="-5400000">
                <a:off x="10652401" y="7145302"/>
                <a:ext cx="411" cy="246"/>
              </a:xfrm>
              <a:custGeom>
                <a:avLst/>
                <a:gdLst/>
                <a:ahLst/>
                <a:cxnLst/>
                <a:rect l="l" t="t" r="r" b="b"/>
                <a:pathLst>
                  <a:path w="411" h="246" extrusionOk="0">
                    <a:moveTo>
                      <a:pt x="0" y="0"/>
                    </a:moveTo>
                    <a:cubicBezTo>
                      <a:pt x="234" y="156"/>
                      <a:pt x="452" y="312"/>
                      <a:pt x="405" y="218"/>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 name="Google Shape;93;p14"/>
              <p:cNvSpPr/>
              <p:nvPr/>
            </p:nvSpPr>
            <p:spPr>
              <a:xfrm rot="-5400000">
                <a:off x="10652556" y="7165151"/>
                <a:ext cx="13" cy="69"/>
              </a:xfrm>
              <a:custGeom>
                <a:avLst/>
                <a:gdLst/>
                <a:ahLst/>
                <a:cxnLst/>
                <a:rect l="l" t="t" r="r" b="b"/>
                <a:pathLst>
                  <a:path w="13" h="69" extrusionOk="0">
                    <a:moveTo>
                      <a:pt x="14" y="35"/>
                    </a:moveTo>
                    <a:cubicBezTo>
                      <a:pt x="14" y="35"/>
                      <a:pt x="14" y="-43"/>
                      <a:pt x="14" y="35"/>
                    </a:cubicBezTo>
                    <a:cubicBezTo>
                      <a:pt x="14" y="113"/>
                      <a:pt x="-17" y="35"/>
                      <a:pt x="14" y="35"/>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 name="Google Shape;94;p14"/>
              <p:cNvSpPr/>
              <p:nvPr/>
            </p:nvSpPr>
            <p:spPr>
              <a:xfrm rot="-5400000">
                <a:off x="10650495" y="7161416"/>
                <a:ext cx="237" cy="93"/>
              </a:xfrm>
              <a:custGeom>
                <a:avLst/>
                <a:gdLst/>
                <a:ahLst/>
                <a:cxnLst/>
                <a:rect l="l" t="t" r="r" b="b"/>
                <a:pathLst>
                  <a:path w="237" h="93" extrusionOk="0">
                    <a:moveTo>
                      <a:pt x="238" y="0"/>
                    </a:moveTo>
                    <a:lnTo>
                      <a:pt x="50" y="94"/>
                    </a:lnTo>
                    <a:cubicBezTo>
                      <a:pt x="160" y="94"/>
                      <a:pt x="-105" y="94"/>
                      <a:pt x="50" y="9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 name="Google Shape;95;p14"/>
              <p:cNvSpPr/>
              <p:nvPr/>
            </p:nvSpPr>
            <p:spPr>
              <a:xfrm rot="-5400000">
                <a:off x="10645049" y="7132879"/>
                <a:ext cx="46577" cy="46577"/>
              </a:xfrm>
              <a:custGeom>
                <a:avLst/>
                <a:gdLst/>
                <a:ahLst/>
                <a:cxnLst/>
                <a:rect l="l" t="t" r="r" b="b"/>
                <a:pathLst>
                  <a:path w="46577" h="46577" extrusionOk="0">
                    <a:moveTo>
                      <a:pt x="23289" y="0"/>
                    </a:moveTo>
                    <a:cubicBezTo>
                      <a:pt x="10427" y="0"/>
                      <a:pt x="0" y="10427"/>
                      <a:pt x="0" y="23289"/>
                    </a:cubicBezTo>
                    <a:cubicBezTo>
                      <a:pt x="0" y="36151"/>
                      <a:pt x="10427" y="46578"/>
                      <a:pt x="23289" y="46578"/>
                    </a:cubicBezTo>
                    <a:cubicBezTo>
                      <a:pt x="36151" y="46578"/>
                      <a:pt x="46577" y="36151"/>
                      <a:pt x="46577" y="23289"/>
                    </a:cubicBezTo>
                    <a:cubicBezTo>
                      <a:pt x="46577" y="23273"/>
                      <a:pt x="46577" y="23258"/>
                      <a:pt x="46577" y="23242"/>
                    </a:cubicBezTo>
                    <a:cubicBezTo>
                      <a:pt x="46569" y="10397"/>
                      <a:pt x="36149" y="-9"/>
                      <a:pt x="23304" y="0"/>
                    </a:cubicBezTo>
                    <a:cubicBezTo>
                      <a:pt x="23299" y="0"/>
                      <a:pt x="23294" y="0"/>
                      <a:pt x="23289" y="0"/>
                    </a:cubicBezTo>
                    <a:close/>
                    <a:moveTo>
                      <a:pt x="24473" y="14201"/>
                    </a:moveTo>
                    <a:cubicBezTo>
                      <a:pt x="24380" y="14201"/>
                      <a:pt x="24473" y="14326"/>
                      <a:pt x="24473" y="14372"/>
                    </a:cubicBezTo>
                    <a:cubicBezTo>
                      <a:pt x="24407" y="14358"/>
                      <a:pt x="24337" y="14358"/>
                      <a:pt x="24271" y="14372"/>
                    </a:cubicBezTo>
                    <a:cubicBezTo>
                      <a:pt x="24411" y="14372"/>
                      <a:pt x="24629" y="14559"/>
                      <a:pt x="24442" y="14669"/>
                    </a:cubicBezTo>
                    <a:cubicBezTo>
                      <a:pt x="24255" y="14778"/>
                      <a:pt x="24520" y="14669"/>
                      <a:pt x="24536" y="14669"/>
                    </a:cubicBezTo>
                    <a:cubicBezTo>
                      <a:pt x="24660" y="14388"/>
                      <a:pt x="25034" y="14778"/>
                      <a:pt x="24769" y="14965"/>
                    </a:cubicBezTo>
                    <a:lnTo>
                      <a:pt x="24769" y="14965"/>
                    </a:lnTo>
                    <a:cubicBezTo>
                      <a:pt x="24769" y="14965"/>
                      <a:pt x="24769" y="14965"/>
                      <a:pt x="24769" y="14965"/>
                    </a:cubicBezTo>
                    <a:lnTo>
                      <a:pt x="24769" y="14965"/>
                    </a:lnTo>
                    <a:cubicBezTo>
                      <a:pt x="24769" y="14965"/>
                      <a:pt x="24676" y="14965"/>
                      <a:pt x="24645" y="14965"/>
                    </a:cubicBezTo>
                    <a:cubicBezTo>
                      <a:pt x="24614" y="14965"/>
                      <a:pt x="24645" y="14965"/>
                      <a:pt x="24645" y="15058"/>
                    </a:cubicBezTo>
                    <a:cubicBezTo>
                      <a:pt x="24645" y="15152"/>
                      <a:pt x="24754" y="15058"/>
                      <a:pt x="24645" y="15058"/>
                    </a:cubicBezTo>
                    <a:cubicBezTo>
                      <a:pt x="24536" y="15058"/>
                      <a:pt x="24769" y="15058"/>
                      <a:pt x="24847" y="15058"/>
                    </a:cubicBezTo>
                    <a:cubicBezTo>
                      <a:pt x="24925" y="15058"/>
                      <a:pt x="24754" y="15167"/>
                      <a:pt x="24754" y="15245"/>
                    </a:cubicBezTo>
                    <a:cubicBezTo>
                      <a:pt x="24754" y="15323"/>
                      <a:pt x="24317" y="15370"/>
                      <a:pt x="24271" y="15245"/>
                    </a:cubicBezTo>
                    <a:cubicBezTo>
                      <a:pt x="24224" y="15121"/>
                      <a:pt x="23865" y="15245"/>
                      <a:pt x="23663" y="15339"/>
                    </a:cubicBezTo>
                    <a:cubicBezTo>
                      <a:pt x="23460" y="15432"/>
                      <a:pt x="23663" y="15542"/>
                      <a:pt x="23476" y="15417"/>
                    </a:cubicBezTo>
                    <a:cubicBezTo>
                      <a:pt x="23289" y="15292"/>
                      <a:pt x="23242" y="15417"/>
                      <a:pt x="23195" y="15557"/>
                    </a:cubicBezTo>
                    <a:cubicBezTo>
                      <a:pt x="23148" y="15697"/>
                      <a:pt x="23195" y="15557"/>
                      <a:pt x="23055" y="15557"/>
                    </a:cubicBezTo>
                    <a:cubicBezTo>
                      <a:pt x="23189" y="15454"/>
                      <a:pt x="23315" y="15339"/>
                      <a:pt x="23429" y="15214"/>
                    </a:cubicBezTo>
                    <a:cubicBezTo>
                      <a:pt x="23429" y="15058"/>
                      <a:pt x="23647" y="15214"/>
                      <a:pt x="23772" y="15214"/>
                    </a:cubicBezTo>
                    <a:cubicBezTo>
                      <a:pt x="23897" y="15214"/>
                      <a:pt x="23865" y="15074"/>
                      <a:pt x="23912" y="15012"/>
                    </a:cubicBezTo>
                    <a:cubicBezTo>
                      <a:pt x="23959" y="14949"/>
                      <a:pt x="23678" y="15214"/>
                      <a:pt x="23600" y="15089"/>
                    </a:cubicBezTo>
                    <a:cubicBezTo>
                      <a:pt x="23522" y="14965"/>
                      <a:pt x="23367" y="15089"/>
                      <a:pt x="23507" y="15089"/>
                    </a:cubicBezTo>
                    <a:cubicBezTo>
                      <a:pt x="23647" y="15089"/>
                      <a:pt x="23382" y="15089"/>
                      <a:pt x="23289" y="15089"/>
                    </a:cubicBezTo>
                    <a:lnTo>
                      <a:pt x="23289" y="15089"/>
                    </a:lnTo>
                    <a:cubicBezTo>
                      <a:pt x="23289" y="15089"/>
                      <a:pt x="23289" y="15089"/>
                      <a:pt x="23289" y="15089"/>
                    </a:cubicBezTo>
                    <a:cubicBezTo>
                      <a:pt x="23522" y="15012"/>
                      <a:pt x="23632" y="14949"/>
                      <a:pt x="23600" y="14715"/>
                    </a:cubicBezTo>
                    <a:lnTo>
                      <a:pt x="23444" y="14715"/>
                    </a:lnTo>
                    <a:cubicBezTo>
                      <a:pt x="23554" y="14606"/>
                      <a:pt x="23709" y="14466"/>
                      <a:pt x="23865" y="14575"/>
                    </a:cubicBezTo>
                    <a:cubicBezTo>
                      <a:pt x="23741" y="14419"/>
                      <a:pt x="23865" y="14575"/>
                      <a:pt x="23865" y="14575"/>
                    </a:cubicBezTo>
                    <a:cubicBezTo>
                      <a:pt x="23865" y="14575"/>
                      <a:pt x="23772" y="14372"/>
                      <a:pt x="23865" y="14326"/>
                    </a:cubicBezTo>
                    <a:cubicBezTo>
                      <a:pt x="23959" y="14279"/>
                      <a:pt x="23865" y="14201"/>
                      <a:pt x="23772" y="14326"/>
                    </a:cubicBezTo>
                    <a:lnTo>
                      <a:pt x="23772" y="14326"/>
                    </a:lnTo>
                    <a:cubicBezTo>
                      <a:pt x="23647" y="14326"/>
                      <a:pt x="23772" y="14045"/>
                      <a:pt x="23772" y="14061"/>
                    </a:cubicBezTo>
                    <a:cubicBezTo>
                      <a:pt x="23616" y="14061"/>
                      <a:pt x="23585" y="14170"/>
                      <a:pt x="23444" y="14061"/>
                    </a:cubicBezTo>
                    <a:cubicBezTo>
                      <a:pt x="23304" y="13952"/>
                      <a:pt x="23444" y="14061"/>
                      <a:pt x="23444" y="14154"/>
                    </a:cubicBezTo>
                    <a:cubicBezTo>
                      <a:pt x="23444" y="14248"/>
                      <a:pt x="23289" y="14029"/>
                      <a:pt x="23335" y="14154"/>
                    </a:cubicBezTo>
                    <a:cubicBezTo>
                      <a:pt x="23382" y="14279"/>
                      <a:pt x="23335" y="14061"/>
                      <a:pt x="23335" y="14029"/>
                    </a:cubicBezTo>
                    <a:lnTo>
                      <a:pt x="23335" y="14029"/>
                    </a:lnTo>
                    <a:cubicBezTo>
                      <a:pt x="23335" y="14029"/>
                      <a:pt x="23335" y="13874"/>
                      <a:pt x="23429" y="13827"/>
                    </a:cubicBezTo>
                    <a:cubicBezTo>
                      <a:pt x="23522" y="13780"/>
                      <a:pt x="23335" y="13640"/>
                      <a:pt x="23429" y="13671"/>
                    </a:cubicBezTo>
                    <a:cubicBezTo>
                      <a:pt x="23522" y="13702"/>
                      <a:pt x="23429" y="13671"/>
                      <a:pt x="23429" y="13577"/>
                    </a:cubicBezTo>
                    <a:cubicBezTo>
                      <a:pt x="23429" y="13484"/>
                      <a:pt x="23429" y="13655"/>
                      <a:pt x="23429" y="13687"/>
                    </a:cubicBezTo>
                    <a:lnTo>
                      <a:pt x="23429" y="13687"/>
                    </a:lnTo>
                    <a:cubicBezTo>
                      <a:pt x="23429" y="13687"/>
                      <a:pt x="23429" y="13687"/>
                      <a:pt x="23429" y="13687"/>
                    </a:cubicBezTo>
                    <a:cubicBezTo>
                      <a:pt x="23429" y="13687"/>
                      <a:pt x="23429" y="13687"/>
                      <a:pt x="23429" y="13687"/>
                    </a:cubicBezTo>
                    <a:cubicBezTo>
                      <a:pt x="23425" y="13770"/>
                      <a:pt x="23425" y="13853"/>
                      <a:pt x="23429" y="13936"/>
                    </a:cubicBezTo>
                    <a:cubicBezTo>
                      <a:pt x="23335" y="13936"/>
                      <a:pt x="23429" y="13811"/>
                      <a:pt x="23429" y="13764"/>
                    </a:cubicBezTo>
                    <a:cubicBezTo>
                      <a:pt x="23429" y="13718"/>
                      <a:pt x="23429" y="13484"/>
                      <a:pt x="23522" y="13453"/>
                    </a:cubicBezTo>
                    <a:cubicBezTo>
                      <a:pt x="23616" y="13422"/>
                      <a:pt x="23522" y="13453"/>
                      <a:pt x="23522" y="13453"/>
                    </a:cubicBezTo>
                    <a:cubicBezTo>
                      <a:pt x="23522" y="13453"/>
                      <a:pt x="23413" y="13593"/>
                      <a:pt x="23351" y="13453"/>
                    </a:cubicBezTo>
                    <a:cubicBezTo>
                      <a:pt x="23289" y="13312"/>
                      <a:pt x="23351" y="13453"/>
                      <a:pt x="23351" y="13453"/>
                    </a:cubicBezTo>
                    <a:cubicBezTo>
                      <a:pt x="23351" y="13453"/>
                      <a:pt x="23351" y="13328"/>
                      <a:pt x="23476" y="13375"/>
                    </a:cubicBezTo>
                    <a:cubicBezTo>
                      <a:pt x="23600" y="13422"/>
                      <a:pt x="23476" y="13375"/>
                      <a:pt x="23476" y="13375"/>
                    </a:cubicBezTo>
                    <a:cubicBezTo>
                      <a:pt x="23476" y="13375"/>
                      <a:pt x="23476" y="13375"/>
                      <a:pt x="23476" y="13375"/>
                    </a:cubicBezTo>
                    <a:cubicBezTo>
                      <a:pt x="23476" y="13375"/>
                      <a:pt x="23476" y="13375"/>
                      <a:pt x="23476" y="13375"/>
                    </a:cubicBezTo>
                    <a:cubicBezTo>
                      <a:pt x="23476" y="13375"/>
                      <a:pt x="23476" y="13375"/>
                      <a:pt x="23476" y="13375"/>
                    </a:cubicBezTo>
                    <a:lnTo>
                      <a:pt x="23476" y="13375"/>
                    </a:lnTo>
                    <a:lnTo>
                      <a:pt x="23476" y="13297"/>
                    </a:lnTo>
                    <a:cubicBezTo>
                      <a:pt x="23476" y="13297"/>
                      <a:pt x="23476" y="13297"/>
                      <a:pt x="23476" y="13297"/>
                    </a:cubicBezTo>
                    <a:cubicBezTo>
                      <a:pt x="23476" y="13297"/>
                      <a:pt x="23476" y="13219"/>
                      <a:pt x="23476" y="13172"/>
                    </a:cubicBezTo>
                    <a:lnTo>
                      <a:pt x="23476" y="13172"/>
                    </a:lnTo>
                    <a:cubicBezTo>
                      <a:pt x="23476" y="13172"/>
                      <a:pt x="23476" y="13172"/>
                      <a:pt x="23476" y="13172"/>
                    </a:cubicBezTo>
                    <a:cubicBezTo>
                      <a:pt x="23476" y="13172"/>
                      <a:pt x="23476" y="13172"/>
                      <a:pt x="23569" y="13172"/>
                    </a:cubicBezTo>
                    <a:cubicBezTo>
                      <a:pt x="23574" y="13146"/>
                      <a:pt x="23574" y="13120"/>
                      <a:pt x="23569" y="13094"/>
                    </a:cubicBezTo>
                    <a:cubicBezTo>
                      <a:pt x="23569" y="13094"/>
                      <a:pt x="23678" y="12782"/>
                      <a:pt x="23709" y="12969"/>
                    </a:cubicBezTo>
                    <a:cubicBezTo>
                      <a:pt x="23741" y="13157"/>
                      <a:pt x="23709" y="12969"/>
                      <a:pt x="23709" y="12969"/>
                    </a:cubicBezTo>
                    <a:cubicBezTo>
                      <a:pt x="24084" y="12829"/>
                      <a:pt x="23990" y="12969"/>
                      <a:pt x="23709" y="13188"/>
                    </a:cubicBezTo>
                    <a:lnTo>
                      <a:pt x="23709" y="13188"/>
                    </a:lnTo>
                    <a:cubicBezTo>
                      <a:pt x="23507" y="13375"/>
                      <a:pt x="23928" y="13188"/>
                      <a:pt x="24037" y="13188"/>
                    </a:cubicBezTo>
                    <a:cubicBezTo>
                      <a:pt x="24146" y="13188"/>
                      <a:pt x="24037" y="13640"/>
                      <a:pt x="23834" y="13609"/>
                    </a:cubicBezTo>
                    <a:cubicBezTo>
                      <a:pt x="23632" y="13577"/>
                      <a:pt x="23834" y="13609"/>
                      <a:pt x="23834" y="13609"/>
                    </a:cubicBezTo>
                    <a:cubicBezTo>
                      <a:pt x="23834" y="13609"/>
                      <a:pt x="23694" y="13733"/>
                      <a:pt x="23600" y="13609"/>
                    </a:cubicBezTo>
                    <a:cubicBezTo>
                      <a:pt x="23654" y="13665"/>
                      <a:pt x="23743" y="13666"/>
                      <a:pt x="23799" y="13613"/>
                    </a:cubicBezTo>
                    <a:cubicBezTo>
                      <a:pt x="23800" y="13612"/>
                      <a:pt x="23802" y="13610"/>
                      <a:pt x="23803" y="13609"/>
                    </a:cubicBezTo>
                    <a:cubicBezTo>
                      <a:pt x="24037" y="13702"/>
                      <a:pt x="24052" y="13952"/>
                      <a:pt x="24130" y="14139"/>
                    </a:cubicBezTo>
                    <a:cubicBezTo>
                      <a:pt x="24208" y="14326"/>
                      <a:pt x="24349" y="14107"/>
                      <a:pt x="24473" y="14170"/>
                    </a:cubicBezTo>
                    <a:close/>
                    <a:moveTo>
                      <a:pt x="16461" y="43086"/>
                    </a:moveTo>
                    <a:lnTo>
                      <a:pt x="16461" y="43086"/>
                    </a:lnTo>
                    <a:lnTo>
                      <a:pt x="16461" y="43086"/>
                    </a:lnTo>
                    <a:lnTo>
                      <a:pt x="16461" y="43086"/>
                    </a:lnTo>
                    <a:lnTo>
                      <a:pt x="16539" y="43086"/>
                    </a:lnTo>
                    <a:lnTo>
                      <a:pt x="16539" y="43086"/>
                    </a:lnTo>
                    <a:lnTo>
                      <a:pt x="16321" y="42961"/>
                    </a:lnTo>
                    <a:lnTo>
                      <a:pt x="16321" y="42961"/>
                    </a:lnTo>
                    <a:lnTo>
                      <a:pt x="16321" y="42961"/>
                    </a:lnTo>
                    <a:lnTo>
                      <a:pt x="16399" y="42961"/>
                    </a:lnTo>
                    <a:lnTo>
                      <a:pt x="16399" y="42961"/>
                    </a:lnTo>
                    <a:lnTo>
                      <a:pt x="16399" y="42961"/>
                    </a:lnTo>
                    <a:lnTo>
                      <a:pt x="16149" y="42852"/>
                    </a:lnTo>
                    <a:lnTo>
                      <a:pt x="16149" y="42852"/>
                    </a:lnTo>
                    <a:cubicBezTo>
                      <a:pt x="16149" y="42852"/>
                      <a:pt x="16149" y="42852"/>
                      <a:pt x="16149" y="42852"/>
                    </a:cubicBezTo>
                    <a:cubicBezTo>
                      <a:pt x="16120" y="42838"/>
                      <a:pt x="16085" y="42838"/>
                      <a:pt x="16056" y="42852"/>
                    </a:cubicBezTo>
                    <a:lnTo>
                      <a:pt x="16056" y="42852"/>
                    </a:lnTo>
                    <a:lnTo>
                      <a:pt x="16056" y="42852"/>
                    </a:lnTo>
                    <a:lnTo>
                      <a:pt x="16056" y="42852"/>
                    </a:lnTo>
                    <a:lnTo>
                      <a:pt x="16212" y="42852"/>
                    </a:lnTo>
                    <a:lnTo>
                      <a:pt x="16025" y="42852"/>
                    </a:lnTo>
                    <a:lnTo>
                      <a:pt x="16025" y="42852"/>
                    </a:lnTo>
                    <a:lnTo>
                      <a:pt x="15806" y="42759"/>
                    </a:lnTo>
                    <a:lnTo>
                      <a:pt x="15806" y="42759"/>
                    </a:lnTo>
                    <a:lnTo>
                      <a:pt x="15806" y="42759"/>
                    </a:lnTo>
                    <a:lnTo>
                      <a:pt x="15682" y="42759"/>
                    </a:lnTo>
                    <a:lnTo>
                      <a:pt x="15853" y="42852"/>
                    </a:lnTo>
                    <a:lnTo>
                      <a:pt x="15604" y="42727"/>
                    </a:lnTo>
                    <a:lnTo>
                      <a:pt x="15604" y="42727"/>
                    </a:lnTo>
                    <a:lnTo>
                      <a:pt x="15760" y="42727"/>
                    </a:lnTo>
                    <a:lnTo>
                      <a:pt x="15635" y="42727"/>
                    </a:lnTo>
                    <a:lnTo>
                      <a:pt x="15760" y="42727"/>
                    </a:lnTo>
                    <a:lnTo>
                      <a:pt x="15526" y="42618"/>
                    </a:lnTo>
                    <a:lnTo>
                      <a:pt x="15526" y="42618"/>
                    </a:lnTo>
                    <a:lnTo>
                      <a:pt x="15432" y="42618"/>
                    </a:lnTo>
                    <a:lnTo>
                      <a:pt x="15432" y="42618"/>
                    </a:lnTo>
                    <a:lnTo>
                      <a:pt x="15230" y="42525"/>
                    </a:lnTo>
                    <a:lnTo>
                      <a:pt x="15230" y="42525"/>
                    </a:lnTo>
                    <a:lnTo>
                      <a:pt x="15152" y="42525"/>
                    </a:lnTo>
                    <a:lnTo>
                      <a:pt x="15152" y="42525"/>
                    </a:lnTo>
                    <a:cubicBezTo>
                      <a:pt x="15026" y="42475"/>
                      <a:pt x="14906" y="42412"/>
                      <a:pt x="14793" y="42338"/>
                    </a:cubicBezTo>
                    <a:lnTo>
                      <a:pt x="14793" y="42338"/>
                    </a:lnTo>
                    <a:lnTo>
                      <a:pt x="14637" y="42244"/>
                    </a:lnTo>
                    <a:lnTo>
                      <a:pt x="14778" y="42338"/>
                    </a:lnTo>
                    <a:lnTo>
                      <a:pt x="14466" y="42166"/>
                    </a:lnTo>
                    <a:lnTo>
                      <a:pt x="14466" y="42166"/>
                    </a:lnTo>
                    <a:lnTo>
                      <a:pt x="14372" y="42166"/>
                    </a:lnTo>
                    <a:lnTo>
                      <a:pt x="14372" y="42166"/>
                    </a:lnTo>
                    <a:lnTo>
                      <a:pt x="14216" y="42073"/>
                    </a:lnTo>
                    <a:lnTo>
                      <a:pt x="14216" y="42073"/>
                    </a:lnTo>
                    <a:lnTo>
                      <a:pt x="14216" y="42073"/>
                    </a:lnTo>
                    <a:lnTo>
                      <a:pt x="14216" y="42073"/>
                    </a:lnTo>
                    <a:lnTo>
                      <a:pt x="14076" y="41995"/>
                    </a:lnTo>
                    <a:lnTo>
                      <a:pt x="14076" y="41995"/>
                    </a:lnTo>
                    <a:lnTo>
                      <a:pt x="13920" y="41886"/>
                    </a:lnTo>
                    <a:lnTo>
                      <a:pt x="13920" y="41886"/>
                    </a:lnTo>
                    <a:lnTo>
                      <a:pt x="13795" y="41886"/>
                    </a:lnTo>
                    <a:lnTo>
                      <a:pt x="13795" y="41886"/>
                    </a:lnTo>
                    <a:cubicBezTo>
                      <a:pt x="13760" y="41896"/>
                      <a:pt x="13722" y="41896"/>
                      <a:pt x="13686" y="41886"/>
                    </a:cubicBezTo>
                    <a:lnTo>
                      <a:pt x="13686" y="41886"/>
                    </a:lnTo>
                    <a:lnTo>
                      <a:pt x="13811" y="41964"/>
                    </a:lnTo>
                    <a:lnTo>
                      <a:pt x="13686" y="41886"/>
                    </a:lnTo>
                    <a:lnTo>
                      <a:pt x="13686" y="41886"/>
                    </a:lnTo>
                    <a:lnTo>
                      <a:pt x="13577" y="41886"/>
                    </a:lnTo>
                    <a:lnTo>
                      <a:pt x="13577" y="41886"/>
                    </a:lnTo>
                    <a:lnTo>
                      <a:pt x="13453" y="41808"/>
                    </a:lnTo>
                    <a:cubicBezTo>
                      <a:pt x="13513" y="41833"/>
                      <a:pt x="13570" y="41864"/>
                      <a:pt x="13624" y="41901"/>
                    </a:cubicBezTo>
                    <a:cubicBezTo>
                      <a:pt x="13624" y="41901"/>
                      <a:pt x="13749" y="41995"/>
                      <a:pt x="13780" y="41995"/>
                    </a:cubicBezTo>
                    <a:lnTo>
                      <a:pt x="13359" y="41699"/>
                    </a:lnTo>
                    <a:lnTo>
                      <a:pt x="13359" y="41699"/>
                    </a:lnTo>
                    <a:cubicBezTo>
                      <a:pt x="13110" y="41496"/>
                      <a:pt x="12829" y="41324"/>
                      <a:pt x="12595" y="41122"/>
                    </a:cubicBezTo>
                    <a:lnTo>
                      <a:pt x="12689" y="41122"/>
                    </a:lnTo>
                    <a:lnTo>
                      <a:pt x="12548" y="41013"/>
                    </a:lnTo>
                    <a:lnTo>
                      <a:pt x="12548" y="41013"/>
                    </a:lnTo>
                    <a:cubicBezTo>
                      <a:pt x="12548" y="41013"/>
                      <a:pt x="12548" y="41013"/>
                      <a:pt x="12455" y="41013"/>
                    </a:cubicBezTo>
                    <a:lnTo>
                      <a:pt x="12455" y="41013"/>
                    </a:lnTo>
                    <a:lnTo>
                      <a:pt x="12455" y="41013"/>
                    </a:lnTo>
                    <a:lnTo>
                      <a:pt x="12455" y="41013"/>
                    </a:lnTo>
                    <a:cubicBezTo>
                      <a:pt x="12251" y="40890"/>
                      <a:pt x="12063" y="40743"/>
                      <a:pt x="11894" y="40576"/>
                    </a:cubicBezTo>
                    <a:lnTo>
                      <a:pt x="11894" y="40576"/>
                    </a:lnTo>
                    <a:cubicBezTo>
                      <a:pt x="11675" y="40342"/>
                      <a:pt x="11410" y="40171"/>
                      <a:pt x="11177" y="39953"/>
                    </a:cubicBezTo>
                    <a:cubicBezTo>
                      <a:pt x="11177" y="39953"/>
                      <a:pt x="11177" y="39953"/>
                      <a:pt x="11177" y="39953"/>
                    </a:cubicBezTo>
                    <a:cubicBezTo>
                      <a:pt x="10229" y="38961"/>
                      <a:pt x="9393" y="37869"/>
                      <a:pt x="8683" y="36695"/>
                    </a:cubicBezTo>
                    <a:lnTo>
                      <a:pt x="8683" y="36695"/>
                    </a:lnTo>
                    <a:cubicBezTo>
                      <a:pt x="8363" y="35817"/>
                      <a:pt x="7887" y="35004"/>
                      <a:pt x="7280" y="34294"/>
                    </a:cubicBezTo>
                    <a:lnTo>
                      <a:pt x="7280" y="34294"/>
                    </a:lnTo>
                    <a:cubicBezTo>
                      <a:pt x="6307" y="33179"/>
                      <a:pt x="5626" y="31840"/>
                      <a:pt x="5300" y="30397"/>
                    </a:cubicBezTo>
                    <a:cubicBezTo>
                      <a:pt x="5300" y="30397"/>
                      <a:pt x="5300" y="30397"/>
                      <a:pt x="5300" y="30475"/>
                    </a:cubicBezTo>
                    <a:cubicBezTo>
                      <a:pt x="5309" y="30444"/>
                      <a:pt x="5309" y="30412"/>
                      <a:pt x="5300" y="30382"/>
                    </a:cubicBezTo>
                    <a:cubicBezTo>
                      <a:pt x="5300" y="30382"/>
                      <a:pt x="5300" y="30475"/>
                      <a:pt x="5300" y="30506"/>
                    </a:cubicBezTo>
                    <a:cubicBezTo>
                      <a:pt x="5082" y="30132"/>
                      <a:pt x="5160" y="25830"/>
                      <a:pt x="4739" y="27498"/>
                    </a:cubicBezTo>
                    <a:cubicBezTo>
                      <a:pt x="4739" y="27498"/>
                      <a:pt x="4739" y="27311"/>
                      <a:pt x="4739" y="27264"/>
                    </a:cubicBezTo>
                    <a:cubicBezTo>
                      <a:pt x="4739" y="27217"/>
                      <a:pt x="4739" y="27264"/>
                      <a:pt x="4739" y="27342"/>
                    </a:cubicBezTo>
                    <a:cubicBezTo>
                      <a:pt x="4739" y="27420"/>
                      <a:pt x="4739" y="27124"/>
                      <a:pt x="4598" y="27030"/>
                    </a:cubicBezTo>
                    <a:cubicBezTo>
                      <a:pt x="4458" y="26937"/>
                      <a:pt x="4598" y="27030"/>
                      <a:pt x="4598" y="27030"/>
                    </a:cubicBezTo>
                    <a:lnTo>
                      <a:pt x="4598" y="27030"/>
                    </a:lnTo>
                    <a:cubicBezTo>
                      <a:pt x="4598" y="27030"/>
                      <a:pt x="4598" y="26874"/>
                      <a:pt x="4598" y="26812"/>
                    </a:cubicBezTo>
                    <a:cubicBezTo>
                      <a:pt x="4598" y="26749"/>
                      <a:pt x="4598" y="26921"/>
                      <a:pt x="4598" y="26968"/>
                    </a:cubicBezTo>
                    <a:cubicBezTo>
                      <a:pt x="4598" y="26734"/>
                      <a:pt x="4489" y="26469"/>
                      <a:pt x="4396" y="26235"/>
                    </a:cubicBezTo>
                    <a:cubicBezTo>
                      <a:pt x="4396" y="26313"/>
                      <a:pt x="4396" y="26391"/>
                      <a:pt x="4396" y="26484"/>
                    </a:cubicBezTo>
                    <a:cubicBezTo>
                      <a:pt x="4256" y="26095"/>
                      <a:pt x="4240" y="25674"/>
                      <a:pt x="4131" y="25269"/>
                    </a:cubicBezTo>
                    <a:cubicBezTo>
                      <a:pt x="4131" y="25347"/>
                      <a:pt x="4131" y="25269"/>
                      <a:pt x="4131" y="25175"/>
                    </a:cubicBezTo>
                    <a:cubicBezTo>
                      <a:pt x="4131" y="25082"/>
                      <a:pt x="4131" y="25175"/>
                      <a:pt x="4131" y="25175"/>
                    </a:cubicBezTo>
                    <a:cubicBezTo>
                      <a:pt x="4131" y="25175"/>
                      <a:pt x="4131" y="25175"/>
                      <a:pt x="4131" y="25175"/>
                    </a:cubicBezTo>
                    <a:cubicBezTo>
                      <a:pt x="4131" y="25175"/>
                      <a:pt x="4131" y="25175"/>
                      <a:pt x="4131" y="25175"/>
                    </a:cubicBezTo>
                    <a:cubicBezTo>
                      <a:pt x="3941" y="24764"/>
                      <a:pt x="3835" y="24318"/>
                      <a:pt x="3819" y="23866"/>
                    </a:cubicBezTo>
                    <a:cubicBezTo>
                      <a:pt x="3828" y="23928"/>
                      <a:pt x="3828" y="23991"/>
                      <a:pt x="3819" y="24053"/>
                    </a:cubicBezTo>
                    <a:cubicBezTo>
                      <a:pt x="3828" y="23991"/>
                      <a:pt x="3828" y="23928"/>
                      <a:pt x="3819" y="23866"/>
                    </a:cubicBezTo>
                    <a:lnTo>
                      <a:pt x="3819" y="23866"/>
                    </a:lnTo>
                    <a:cubicBezTo>
                      <a:pt x="3819" y="23866"/>
                      <a:pt x="3819" y="23866"/>
                      <a:pt x="3819" y="23866"/>
                    </a:cubicBezTo>
                    <a:lnTo>
                      <a:pt x="3819" y="23866"/>
                    </a:lnTo>
                    <a:lnTo>
                      <a:pt x="3819" y="23866"/>
                    </a:lnTo>
                    <a:cubicBezTo>
                      <a:pt x="3819" y="23866"/>
                      <a:pt x="3819" y="23866"/>
                      <a:pt x="3819" y="23959"/>
                    </a:cubicBezTo>
                    <a:cubicBezTo>
                      <a:pt x="3819" y="24053"/>
                      <a:pt x="3819" y="23959"/>
                      <a:pt x="3819" y="23959"/>
                    </a:cubicBezTo>
                    <a:lnTo>
                      <a:pt x="3819" y="23959"/>
                    </a:lnTo>
                    <a:lnTo>
                      <a:pt x="3819" y="23959"/>
                    </a:lnTo>
                    <a:cubicBezTo>
                      <a:pt x="3819" y="23881"/>
                      <a:pt x="3819" y="23772"/>
                      <a:pt x="3819" y="23679"/>
                    </a:cubicBezTo>
                    <a:lnTo>
                      <a:pt x="3819" y="23679"/>
                    </a:lnTo>
                    <a:cubicBezTo>
                      <a:pt x="3811" y="23627"/>
                      <a:pt x="3811" y="23574"/>
                      <a:pt x="3819" y="23523"/>
                    </a:cubicBezTo>
                    <a:lnTo>
                      <a:pt x="3819" y="23523"/>
                    </a:lnTo>
                    <a:cubicBezTo>
                      <a:pt x="3803" y="23305"/>
                      <a:pt x="3803" y="23086"/>
                      <a:pt x="3819" y="22868"/>
                    </a:cubicBezTo>
                    <a:lnTo>
                      <a:pt x="3819" y="22868"/>
                    </a:lnTo>
                    <a:cubicBezTo>
                      <a:pt x="3819" y="22868"/>
                      <a:pt x="3819" y="22790"/>
                      <a:pt x="3819" y="22759"/>
                    </a:cubicBezTo>
                    <a:lnTo>
                      <a:pt x="3819" y="22759"/>
                    </a:lnTo>
                    <a:cubicBezTo>
                      <a:pt x="4323" y="14291"/>
                      <a:pt x="9917" y="6976"/>
                      <a:pt x="17957" y="4271"/>
                    </a:cubicBezTo>
                    <a:lnTo>
                      <a:pt x="17957" y="4271"/>
                    </a:lnTo>
                    <a:lnTo>
                      <a:pt x="18145" y="4271"/>
                    </a:lnTo>
                    <a:lnTo>
                      <a:pt x="18145" y="4271"/>
                    </a:lnTo>
                    <a:lnTo>
                      <a:pt x="18347" y="4271"/>
                    </a:lnTo>
                    <a:lnTo>
                      <a:pt x="18207" y="4271"/>
                    </a:lnTo>
                    <a:lnTo>
                      <a:pt x="18456" y="4271"/>
                    </a:lnTo>
                    <a:lnTo>
                      <a:pt x="18363" y="4271"/>
                    </a:lnTo>
                    <a:lnTo>
                      <a:pt x="18363" y="4271"/>
                    </a:lnTo>
                    <a:lnTo>
                      <a:pt x="18534" y="4271"/>
                    </a:lnTo>
                    <a:lnTo>
                      <a:pt x="18534" y="4271"/>
                    </a:lnTo>
                    <a:lnTo>
                      <a:pt x="19703" y="4006"/>
                    </a:lnTo>
                    <a:lnTo>
                      <a:pt x="19703" y="4006"/>
                    </a:lnTo>
                    <a:lnTo>
                      <a:pt x="20000" y="4006"/>
                    </a:lnTo>
                    <a:lnTo>
                      <a:pt x="19797" y="4006"/>
                    </a:lnTo>
                    <a:lnTo>
                      <a:pt x="19797" y="4006"/>
                    </a:lnTo>
                    <a:lnTo>
                      <a:pt x="20342" y="4006"/>
                    </a:lnTo>
                    <a:lnTo>
                      <a:pt x="20342" y="4006"/>
                    </a:lnTo>
                    <a:lnTo>
                      <a:pt x="20062" y="4006"/>
                    </a:lnTo>
                    <a:lnTo>
                      <a:pt x="20327" y="4006"/>
                    </a:lnTo>
                    <a:lnTo>
                      <a:pt x="20327" y="4006"/>
                    </a:lnTo>
                    <a:lnTo>
                      <a:pt x="20592" y="4006"/>
                    </a:lnTo>
                    <a:lnTo>
                      <a:pt x="20498" y="4006"/>
                    </a:lnTo>
                    <a:lnTo>
                      <a:pt x="20405" y="4006"/>
                    </a:lnTo>
                    <a:lnTo>
                      <a:pt x="20623" y="4006"/>
                    </a:lnTo>
                    <a:lnTo>
                      <a:pt x="20280" y="4006"/>
                    </a:lnTo>
                    <a:lnTo>
                      <a:pt x="20187" y="4006"/>
                    </a:lnTo>
                    <a:lnTo>
                      <a:pt x="20015" y="4006"/>
                    </a:lnTo>
                    <a:lnTo>
                      <a:pt x="20342" y="4006"/>
                    </a:lnTo>
                    <a:lnTo>
                      <a:pt x="19984" y="4006"/>
                    </a:lnTo>
                    <a:lnTo>
                      <a:pt x="19984" y="4006"/>
                    </a:lnTo>
                    <a:lnTo>
                      <a:pt x="19610" y="4006"/>
                    </a:lnTo>
                    <a:lnTo>
                      <a:pt x="19610" y="4006"/>
                    </a:lnTo>
                    <a:lnTo>
                      <a:pt x="19251" y="4084"/>
                    </a:lnTo>
                    <a:lnTo>
                      <a:pt x="19407" y="4084"/>
                    </a:lnTo>
                    <a:lnTo>
                      <a:pt x="19407" y="4084"/>
                    </a:lnTo>
                    <a:cubicBezTo>
                      <a:pt x="19286" y="4123"/>
                      <a:pt x="19160" y="4150"/>
                      <a:pt x="19033" y="4162"/>
                    </a:cubicBezTo>
                    <a:lnTo>
                      <a:pt x="19189" y="4162"/>
                    </a:lnTo>
                    <a:lnTo>
                      <a:pt x="19017" y="4162"/>
                    </a:lnTo>
                    <a:lnTo>
                      <a:pt x="19017" y="4162"/>
                    </a:lnTo>
                    <a:lnTo>
                      <a:pt x="18908" y="4162"/>
                    </a:lnTo>
                    <a:lnTo>
                      <a:pt x="18908" y="4162"/>
                    </a:lnTo>
                    <a:lnTo>
                      <a:pt x="18908" y="4162"/>
                    </a:lnTo>
                    <a:cubicBezTo>
                      <a:pt x="18908" y="4162"/>
                      <a:pt x="18908" y="4162"/>
                      <a:pt x="18908" y="4162"/>
                    </a:cubicBezTo>
                    <a:lnTo>
                      <a:pt x="18908" y="4162"/>
                    </a:lnTo>
                    <a:lnTo>
                      <a:pt x="18752" y="4162"/>
                    </a:lnTo>
                    <a:lnTo>
                      <a:pt x="18752" y="4162"/>
                    </a:lnTo>
                    <a:lnTo>
                      <a:pt x="18752" y="4162"/>
                    </a:lnTo>
                    <a:lnTo>
                      <a:pt x="18752" y="4162"/>
                    </a:lnTo>
                    <a:lnTo>
                      <a:pt x="18659" y="4162"/>
                    </a:lnTo>
                    <a:lnTo>
                      <a:pt x="18659" y="4162"/>
                    </a:lnTo>
                    <a:lnTo>
                      <a:pt x="18254" y="4271"/>
                    </a:lnTo>
                    <a:lnTo>
                      <a:pt x="18254" y="4271"/>
                    </a:lnTo>
                    <a:lnTo>
                      <a:pt x="17957" y="4380"/>
                    </a:lnTo>
                    <a:lnTo>
                      <a:pt x="17957" y="4380"/>
                    </a:lnTo>
                    <a:lnTo>
                      <a:pt x="17599" y="4489"/>
                    </a:lnTo>
                    <a:lnTo>
                      <a:pt x="17599" y="4489"/>
                    </a:lnTo>
                    <a:lnTo>
                      <a:pt x="17334" y="4676"/>
                    </a:lnTo>
                    <a:lnTo>
                      <a:pt x="17334" y="4676"/>
                    </a:lnTo>
                    <a:lnTo>
                      <a:pt x="17240" y="4676"/>
                    </a:lnTo>
                    <a:lnTo>
                      <a:pt x="17240" y="4676"/>
                    </a:lnTo>
                    <a:lnTo>
                      <a:pt x="16726" y="4864"/>
                    </a:lnTo>
                    <a:lnTo>
                      <a:pt x="16851" y="4864"/>
                    </a:lnTo>
                    <a:lnTo>
                      <a:pt x="16851" y="4864"/>
                    </a:lnTo>
                    <a:cubicBezTo>
                      <a:pt x="17028" y="4797"/>
                      <a:pt x="17211" y="4745"/>
                      <a:pt x="17396" y="4708"/>
                    </a:cubicBezTo>
                    <a:lnTo>
                      <a:pt x="17396" y="4708"/>
                    </a:lnTo>
                    <a:lnTo>
                      <a:pt x="17552" y="4708"/>
                    </a:lnTo>
                    <a:lnTo>
                      <a:pt x="17661" y="4708"/>
                    </a:lnTo>
                    <a:lnTo>
                      <a:pt x="17412" y="4708"/>
                    </a:lnTo>
                    <a:lnTo>
                      <a:pt x="17412" y="4708"/>
                    </a:lnTo>
                    <a:lnTo>
                      <a:pt x="17272" y="4708"/>
                    </a:lnTo>
                    <a:lnTo>
                      <a:pt x="17272" y="4708"/>
                    </a:lnTo>
                    <a:lnTo>
                      <a:pt x="17162" y="4708"/>
                    </a:lnTo>
                    <a:lnTo>
                      <a:pt x="17162" y="4708"/>
                    </a:lnTo>
                    <a:lnTo>
                      <a:pt x="17007" y="4708"/>
                    </a:lnTo>
                    <a:lnTo>
                      <a:pt x="17007" y="4708"/>
                    </a:lnTo>
                    <a:lnTo>
                      <a:pt x="17147" y="4708"/>
                    </a:lnTo>
                    <a:lnTo>
                      <a:pt x="17147" y="4708"/>
                    </a:lnTo>
                    <a:lnTo>
                      <a:pt x="17287" y="4708"/>
                    </a:lnTo>
                    <a:lnTo>
                      <a:pt x="17287" y="4708"/>
                    </a:lnTo>
                    <a:lnTo>
                      <a:pt x="17116" y="4708"/>
                    </a:lnTo>
                    <a:cubicBezTo>
                      <a:pt x="17240" y="4708"/>
                      <a:pt x="17599" y="4599"/>
                      <a:pt x="17272" y="4708"/>
                    </a:cubicBezTo>
                    <a:lnTo>
                      <a:pt x="17412" y="4708"/>
                    </a:lnTo>
                    <a:lnTo>
                      <a:pt x="17505" y="4708"/>
                    </a:lnTo>
                    <a:lnTo>
                      <a:pt x="17833" y="4614"/>
                    </a:lnTo>
                    <a:cubicBezTo>
                      <a:pt x="17472" y="4715"/>
                      <a:pt x="17118" y="4840"/>
                      <a:pt x="16773" y="4988"/>
                    </a:cubicBezTo>
                    <a:lnTo>
                      <a:pt x="16929" y="4988"/>
                    </a:lnTo>
                    <a:lnTo>
                      <a:pt x="16929" y="4988"/>
                    </a:lnTo>
                    <a:cubicBezTo>
                      <a:pt x="16929" y="4988"/>
                      <a:pt x="17116" y="4988"/>
                      <a:pt x="17007" y="4988"/>
                    </a:cubicBezTo>
                    <a:lnTo>
                      <a:pt x="17147" y="4988"/>
                    </a:lnTo>
                    <a:lnTo>
                      <a:pt x="17147" y="4988"/>
                    </a:lnTo>
                    <a:lnTo>
                      <a:pt x="17272" y="4988"/>
                    </a:lnTo>
                    <a:cubicBezTo>
                      <a:pt x="17178" y="4988"/>
                      <a:pt x="17069" y="4988"/>
                      <a:pt x="16991" y="5097"/>
                    </a:cubicBezTo>
                    <a:lnTo>
                      <a:pt x="16991" y="5097"/>
                    </a:lnTo>
                    <a:lnTo>
                      <a:pt x="16866" y="5097"/>
                    </a:lnTo>
                    <a:lnTo>
                      <a:pt x="16866" y="5097"/>
                    </a:lnTo>
                    <a:lnTo>
                      <a:pt x="16710" y="5097"/>
                    </a:lnTo>
                    <a:cubicBezTo>
                      <a:pt x="16793" y="5104"/>
                      <a:pt x="16877" y="5104"/>
                      <a:pt x="16960" y="5097"/>
                    </a:cubicBezTo>
                    <a:cubicBezTo>
                      <a:pt x="16695" y="5238"/>
                      <a:pt x="16367" y="5362"/>
                      <a:pt x="16103" y="5534"/>
                    </a:cubicBezTo>
                    <a:lnTo>
                      <a:pt x="16103" y="5534"/>
                    </a:lnTo>
                    <a:lnTo>
                      <a:pt x="15931" y="5627"/>
                    </a:lnTo>
                    <a:lnTo>
                      <a:pt x="16103" y="5627"/>
                    </a:lnTo>
                    <a:lnTo>
                      <a:pt x="16103" y="5627"/>
                    </a:lnTo>
                    <a:cubicBezTo>
                      <a:pt x="16103" y="5627"/>
                      <a:pt x="16103" y="5627"/>
                      <a:pt x="16103" y="5627"/>
                    </a:cubicBezTo>
                    <a:cubicBezTo>
                      <a:pt x="15934" y="5726"/>
                      <a:pt x="15756" y="5810"/>
                      <a:pt x="15573" y="5877"/>
                    </a:cubicBezTo>
                    <a:cubicBezTo>
                      <a:pt x="15573" y="5877"/>
                      <a:pt x="15573" y="5877"/>
                      <a:pt x="15573" y="5877"/>
                    </a:cubicBezTo>
                    <a:cubicBezTo>
                      <a:pt x="15573" y="5877"/>
                      <a:pt x="15479" y="5877"/>
                      <a:pt x="15463" y="5877"/>
                    </a:cubicBezTo>
                    <a:lnTo>
                      <a:pt x="15463" y="5877"/>
                    </a:lnTo>
                    <a:cubicBezTo>
                      <a:pt x="15406" y="5898"/>
                      <a:pt x="15353" y="5930"/>
                      <a:pt x="15308" y="5970"/>
                    </a:cubicBezTo>
                    <a:lnTo>
                      <a:pt x="15308" y="5970"/>
                    </a:lnTo>
                    <a:cubicBezTo>
                      <a:pt x="15308" y="5970"/>
                      <a:pt x="15089" y="6126"/>
                      <a:pt x="15183" y="6095"/>
                    </a:cubicBezTo>
                    <a:lnTo>
                      <a:pt x="15183" y="6095"/>
                    </a:lnTo>
                    <a:lnTo>
                      <a:pt x="15183" y="6095"/>
                    </a:lnTo>
                    <a:lnTo>
                      <a:pt x="15183" y="6095"/>
                    </a:lnTo>
                    <a:cubicBezTo>
                      <a:pt x="15183" y="6095"/>
                      <a:pt x="15183" y="6095"/>
                      <a:pt x="15183" y="6095"/>
                    </a:cubicBezTo>
                    <a:lnTo>
                      <a:pt x="15323" y="6095"/>
                    </a:lnTo>
                    <a:lnTo>
                      <a:pt x="15089" y="6220"/>
                    </a:lnTo>
                    <a:lnTo>
                      <a:pt x="15089" y="6220"/>
                    </a:lnTo>
                    <a:cubicBezTo>
                      <a:pt x="15089" y="6220"/>
                      <a:pt x="14933" y="6220"/>
                      <a:pt x="14871" y="6344"/>
                    </a:cubicBezTo>
                    <a:cubicBezTo>
                      <a:pt x="14809" y="6469"/>
                      <a:pt x="14980" y="6344"/>
                      <a:pt x="15027" y="6344"/>
                    </a:cubicBezTo>
                    <a:cubicBezTo>
                      <a:pt x="14873" y="6412"/>
                      <a:pt x="14727" y="6496"/>
                      <a:pt x="14590" y="6594"/>
                    </a:cubicBezTo>
                    <a:lnTo>
                      <a:pt x="14590" y="6594"/>
                    </a:lnTo>
                    <a:lnTo>
                      <a:pt x="14590" y="6594"/>
                    </a:lnTo>
                    <a:cubicBezTo>
                      <a:pt x="14808" y="6458"/>
                      <a:pt x="15037" y="6343"/>
                      <a:pt x="15276" y="6251"/>
                    </a:cubicBezTo>
                    <a:lnTo>
                      <a:pt x="15276" y="6251"/>
                    </a:lnTo>
                    <a:cubicBezTo>
                      <a:pt x="15276" y="6251"/>
                      <a:pt x="15276" y="6251"/>
                      <a:pt x="15276" y="6251"/>
                    </a:cubicBezTo>
                    <a:lnTo>
                      <a:pt x="15276" y="6251"/>
                    </a:lnTo>
                    <a:lnTo>
                      <a:pt x="15370" y="6251"/>
                    </a:lnTo>
                    <a:lnTo>
                      <a:pt x="15276" y="6251"/>
                    </a:lnTo>
                    <a:cubicBezTo>
                      <a:pt x="15276" y="6251"/>
                      <a:pt x="15417" y="6157"/>
                      <a:pt x="15479" y="6157"/>
                    </a:cubicBezTo>
                    <a:lnTo>
                      <a:pt x="15479" y="6157"/>
                    </a:lnTo>
                    <a:cubicBezTo>
                      <a:pt x="15479" y="6157"/>
                      <a:pt x="15713" y="6064"/>
                      <a:pt x="15573" y="6157"/>
                    </a:cubicBezTo>
                    <a:lnTo>
                      <a:pt x="15463" y="6157"/>
                    </a:lnTo>
                    <a:cubicBezTo>
                      <a:pt x="15494" y="6149"/>
                      <a:pt x="15526" y="6149"/>
                      <a:pt x="15557" y="6157"/>
                    </a:cubicBezTo>
                    <a:lnTo>
                      <a:pt x="15448" y="6157"/>
                    </a:lnTo>
                    <a:lnTo>
                      <a:pt x="15448" y="6157"/>
                    </a:lnTo>
                    <a:cubicBezTo>
                      <a:pt x="15448" y="6157"/>
                      <a:pt x="15448" y="6157"/>
                      <a:pt x="15323" y="6157"/>
                    </a:cubicBezTo>
                    <a:cubicBezTo>
                      <a:pt x="15198" y="6157"/>
                      <a:pt x="15495" y="6157"/>
                      <a:pt x="15432" y="6157"/>
                    </a:cubicBezTo>
                    <a:cubicBezTo>
                      <a:pt x="15522" y="6121"/>
                      <a:pt x="15623" y="6121"/>
                      <a:pt x="15713" y="6157"/>
                    </a:cubicBezTo>
                    <a:lnTo>
                      <a:pt x="15713" y="6157"/>
                    </a:lnTo>
                    <a:cubicBezTo>
                      <a:pt x="15541" y="6282"/>
                      <a:pt x="15339" y="6376"/>
                      <a:pt x="15152" y="6485"/>
                    </a:cubicBezTo>
                    <a:lnTo>
                      <a:pt x="15152" y="6485"/>
                    </a:lnTo>
                    <a:lnTo>
                      <a:pt x="15152" y="6485"/>
                    </a:lnTo>
                    <a:lnTo>
                      <a:pt x="15152" y="6485"/>
                    </a:lnTo>
                    <a:cubicBezTo>
                      <a:pt x="15152" y="6485"/>
                      <a:pt x="15152" y="6485"/>
                      <a:pt x="15152" y="6485"/>
                    </a:cubicBezTo>
                    <a:lnTo>
                      <a:pt x="15152" y="6485"/>
                    </a:lnTo>
                    <a:lnTo>
                      <a:pt x="15152" y="6485"/>
                    </a:lnTo>
                    <a:lnTo>
                      <a:pt x="14933" y="6625"/>
                    </a:lnTo>
                    <a:lnTo>
                      <a:pt x="14933" y="6625"/>
                    </a:lnTo>
                    <a:cubicBezTo>
                      <a:pt x="14933" y="6625"/>
                      <a:pt x="14933" y="6625"/>
                      <a:pt x="14933" y="6703"/>
                    </a:cubicBezTo>
                    <a:lnTo>
                      <a:pt x="15074" y="6703"/>
                    </a:lnTo>
                    <a:lnTo>
                      <a:pt x="15074" y="6703"/>
                    </a:lnTo>
                    <a:lnTo>
                      <a:pt x="15074" y="6796"/>
                    </a:lnTo>
                    <a:cubicBezTo>
                      <a:pt x="15074" y="6796"/>
                      <a:pt x="15074" y="6796"/>
                      <a:pt x="15074" y="6796"/>
                    </a:cubicBezTo>
                    <a:lnTo>
                      <a:pt x="15074" y="6796"/>
                    </a:lnTo>
                    <a:cubicBezTo>
                      <a:pt x="15385" y="6594"/>
                      <a:pt x="15167" y="6796"/>
                      <a:pt x="15074" y="6890"/>
                    </a:cubicBezTo>
                    <a:cubicBezTo>
                      <a:pt x="15183" y="6890"/>
                      <a:pt x="15276" y="6703"/>
                      <a:pt x="15401" y="6656"/>
                    </a:cubicBezTo>
                    <a:lnTo>
                      <a:pt x="15401" y="6656"/>
                    </a:lnTo>
                    <a:cubicBezTo>
                      <a:pt x="15401" y="6656"/>
                      <a:pt x="15682" y="6485"/>
                      <a:pt x="15526" y="6656"/>
                    </a:cubicBezTo>
                    <a:lnTo>
                      <a:pt x="15650" y="6656"/>
                    </a:lnTo>
                    <a:lnTo>
                      <a:pt x="15557" y="6656"/>
                    </a:lnTo>
                    <a:cubicBezTo>
                      <a:pt x="15557" y="6656"/>
                      <a:pt x="15557" y="6656"/>
                      <a:pt x="15557" y="6656"/>
                    </a:cubicBezTo>
                    <a:cubicBezTo>
                      <a:pt x="15557" y="6656"/>
                      <a:pt x="15448" y="6656"/>
                      <a:pt x="15417" y="6750"/>
                    </a:cubicBezTo>
                    <a:lnTo>
                      <a:pt x="15417" y="6750"/>
                    </a:lnTo>
                    <a:cubicBezTo>
                      <a:pt x="15417" y="6750"/>
                      <a:pt x="15323" y="6750"/>
                      <a:pt x="15308" y="6750"/>
                    </a:cubicBezTo>
                    <a:cubicBezTo>
                      <a:pt x="15619" y="6641"/>
                      <a:pt x="15198" y="6750"/>
                      <a:pt x="15074" y="6874"/>
                    </a:cubicBezTo>
                    <a:lnTo>
                      <a:pt x="15074" y="6874"/>
                    </a:lnTo>
                    <a:lnTo>
                      <a:pt x="14902" y="6968"/>
                    </a:lnTo>
                    <a:lnTo>
                      <a:pt x="14902" y="6968"/>
                    </a:lnTo>
                    <a:lnTo>
                      <a:pt x="14778" y="6968"/>
                    </a:lnTo>
                    <a:cubicBezTo>
                      <a:pt x="14918" y="6968"/>
                      <a:pt x="14778" y="6968"/>
                      <a:pt x="14778" y="6968"/>
                    </a:cubicBezTo>
                    <a:lnTo>
                      <a:pt x="14778" y="6968"/>
                    </a:lnTo>
                    <a:lnTo>
                      <a:pt x="14637" y="6968"/>
                    </a:lnTo>
                    <a:lnTo>
                      <a:pt x="14637" y="6968"/>
                    </a:lnTo>
                    <a:lnTo>
                      <a:pt x="14637" y="6968"/>
                    </a:lnTo>
                    <a:lnTo>
                      <a:pt x="14637" y="6968"/>
                    </a:lnTo>
                    <a:cubicBezTo>
                      <a:pt x="14544" y="6968"/>
                      <a:pt x="14450" y="7108"/>
                      <a:pt x="14357" y="7139"/>
                    </a:cubicBezTo>
                    <a:cubicBezTo>
                      <a:pt x="14263" y="7171"/>
                      <a:pt x="14497" y="7046"/>
                      <a:pt x="14559" y="7030"/>
                    </a:cubicBezTo>
                    <a:cubicBezTo>
                      <a:pt x="14622" y="7015"/>
                      <a:pt x="14559" y="7030"/>
                      <a:pt x="14559" y="7030"/>
                    </a:cubicBezTo>
                    <a:cubicBezTo>
                      <a:pt x="14640" y="6992"/>
                      <a:pt x="14723" y="6961"/>
                      <a:pt x="14809" y="6937"/>
                    </a:cubicBezTo>
                    <a:lnTo>
                      <a:pt x="14700" y="6937"/>
                    </a:lnTo>
                    <a:cubicBezTo>
                      <a:pt x="14871" y="6859"/>
                      <a:pt x="15027" y="6734"/>
                      <a:pt x="15198" y="6672"/>
                    </a:cubicBezTo>
                    <a:lnTo>
                      <a:pt x="15198" y="6672"/>
                    </a:lnTo>
                    <a:lnTo>
                      <a:pt x="15198" y="6672"/>
                    </a:lnTo>
                    <a:cubicBezTo>
                      <a:pt x="15406" y="6614"/>
                      <a:pt x="15605" y="6531"/>
                      <a:pt x="15791" y="6422"/>
                    </a:cubicBezTo>
                    <a:cubicBezTo>
                      <a:pt x="15791" y="6422"/>
                      <a:pt x="15791" y="6422"/>
                      <a:pt x="15666" y="6422"/>
                    </a:cubicBezTo>
                    <a:lnTo>
                      <a:pt x="15666" y="6422"/>
                    </a:lnTo>
                    <a:cubicBezTo>
                      <a:pt x="15760" y="6422"/>
                      <a:pt x="16118" y="6204"/>
                      <a:pt x="15900" y="6344"/>
                    </a:cubicBezTo>
                    <a:cubicBezTo>
                      <a:pt x="16056" y="6344"/>
                      <a:pt x="16056" y="6189"/>
                      <a:pt x="16196" y="6142"/>
                    </a:cubicBezTo>
                    <a:cubicBezTo>
                      <a:pt x="16056" y="6142"/>
                      <a:pt x="16196" y="6142"/>
                      <a:pt x="16196" y="6142"/>
                    </a:cubicBezTo>
                    <a:lnTo>
                      <a:pt x="16196" y="6142"/>
                    </a:lnTo>
                    <a:cubicBezTo>
                      <a:pt x="16368" y="6015"/>
                      <a:pt x="16564" y="5925"/>
                      <a:pt x="16773" y="5877"/>
                    </a:cubicBezTo>
                    <a:lnTo>
                      <a:pt x="16773" y="5877"/>
                    </a:lnTo>
                    <a:cubicBezTo>
                      <a:pt x="16936" y="5775"/>
                      <a:pt x="17115" y="5701"/>
                      <a:pt x="17303" y="5659"/>
                    </a:cubicBezTo>
                    <a:lnTo>
                      <a:pt x="17162" y="5736"/>
                    </a:lnTo>
                    <a:cubicBezTo>
                      <a:pt x="17334" y="5736"/>
                      <a:pt x="17459" y="5581"/>
                      <a:pt x="17630" y="5549"/>
                    </a:cubicBezTo>
                    <a:lnTo>
                      <a:pt x="17459" y="5674"/>
                    </a:lnTo>
                    <a:cubicBezTo>
                      <a:pt x="18410" y="5097"/>
                      <a:pt x="20000" y="4536"/>
                      <a:pt x="18425" y="5362"/>
                    </a:cubicBezTo>
                    <a:cubicBezTo>
                      <a:pt x="18675" y="5284"/>
                      <a:pt x="19267" y="4910"/>
                      <a:pt x="19080" y="5129"/>
                    </a:cubicBezTo>
                    <a:cubicBezTo>
                      <a:pt x="19766" y="4895"/>
                      <a:pt x="18721" y="5456"/>
                      <a:pt x="18425" y="5581"/>
                    </a:cubicBezTo>
                    <a:cubicBezTo>
                      <a:pt x="18784" y="5456"/>
                      <a:pt x="18425" y="5581"/>
                      <a:pt x="18425" y="5581"/>
                    </a:cubicBezTo>
                    <a:cubicBezTo>
                      <a:pt x="18425" y="5581"/>
                      <a:pt x="18659" y="5425"/>
                      <a:pt x="18519" y="5581"/>
                    </a:cubicBezTo>
                    <a:cubicBezTo>
                      <a:pt x="18752" y="5316"/>
                      <a:pt x="18986" y="5581"/>
                      <a:pt x="18597" y="5659"/>
                    </a:cubicBezTo>
                    <a:cubicBezTo>
                      <a:pt x="18557" y="5643"/>
                      <a:pt x="18512" y="5643"/>
                      <a:pt x="18472" y="5659"/>
                    </a:cubicBezTo>
                    <a:cubicBezTo>
                      <a:pt x="18706" y="5659"/>
                      <a:pt x="18378" y="5736"/>
                      <a:pt x="18300" y="5768"/>
                    </a:cubicBezTo>
                    <a:cubicBezTo>
                      <a:pt x="18893" y="5581"/>
                      <a:pt x="17802" y="6033"/>
                      <a:pt x="18456" y="5768"/>
                    </a:cubicBezTo>
                    <a:cubicBezTo>
                      <a:pt x="17630" y="6126"/>
                      <a:pt x="18830" y="5768"/>
                      <a:pt x="18020" y="6095"/>
                    </a:cubicBezTo>
                    <a:cubicBezTo>
                      <a:pt x="18020" y="6189"/>
                      <a:pt x="18020" y="6095"/>
                      <a:pt x="18238" y="6095"/>
                    </a:cubicBezTo>
                    <a:cubicBezTo>
                      <a:pt x="18120" y="6184"/>
                      <a:pt x="17989" y="6252"/>
                      <a:pt x="17848" y="6298"/>
                    </a:cubicBezTo>
                    <a:cubicBezTo>
                      <a:pt x="17755" y="6298"/>
                      <a:pt x="18534" y="6298"/>
                      <a:pt x="17692" y="6485"/>
                    </a:cubicBezTo>
                    <a:cubicBezTo>
                      <a:pt x="17599" y="6485"/>
                      <a:pt x="18113" y="6485"/>
                      <a:pt x="17568" y="6594"/>
                    </a:cubicBezTo>
                    <a:cubicBezTo>
                      <a:pt x="18020" y="6438"/>
                      <a:pt x="18082" y="6594"/>
                      <a:pt x="17568" y="6672"/>
                    </a:cubicBezTo>
                    <a:cubicBezTo>
                      <a:pt x="17770" y="6843"/>
                      <a:pt x="17474" y="6890"/>
                      <a:pt x="17568" y="6828"/>
                    </a:cubicBezTo>
                    <a:cubicBezTo>
                      <a:pt x="17318" y="6828"/>
                      <a:pt x="17568" y="7030"/>
                      <a:pt x="17287" y="6921"/>
                    </a:cubicBezTo>
                    <a:cubicBezTo>
                      <a:pt x="17116" y="7217"/>
                      <a:pt x="17412" y="7046"/>
                      <a:pt x="17116" y="7186"/>
                    </a:cubicBezTo>
                    <a:cubicBezTo>
                      <a:pt x="17350" y="7108"/>
                      <a:pt x="16929" y="7436"/>
                      <a:pt x="17116" y="7295"/>
                    </a:cubicBezTo>
                    <a:cubicBezTo>
                      <a:pt x="16820" y="7591"/>
                      <a:pt x="17381" y="7124"/>
                      <a:pt x="16975" y="7623"/>
                    </a:cubicBezTo>
                    <a:cubicBezTo>
                      <a:pt x="16773" y="7732"/>
                      <a:pt x="17303" y="7623"/>
                      <a:pt x="16835" y="7794"/>
                    </a:cubicBezTo>
                    <a:cubicBezTo>
                      <a:pt x="17178" y="7654"/>
                      <a:pt x="16913" y="8137"/>
                      <a:pt x="16695" y="8012"/>
                    </a:cubicBezTo>
                    <a:cubicBezTo>
                      <a:pt x="16695" y="8137"/>
                      <a:pt x="16555" y="8231"/>
                      <a:pt x="16508" y="8137"/>
                    </a:cubicBezTo>
                    <a:cubicBezTo>
                      <a:pt x="16461" y="8044"/>
                      <a:pt x="16352" y="8309"/>
                      <a:pt x="16508" y="8137"/>
                    </a:cubicBezTo>
                    <a:cubicBezTo>
                      <a:pt x="16664" y="7966"/>
                      <a:pt x="16056" y="8574"/>
                      <a:pt x="16196" y="8309"/>
                    </a:cubicBezTo>
                    <a:cubicBezTo>
                      <a:pt x="16071" y="8137"/>
                      <a:pt x="16492" y="7903"/>
                      <a:pt x="16539" y="7810"/>
                    </a:cubicBezTo>
                    <a:cubicBezTo>
                      <a:pt x="16258" y="7966"/>
                      <a:pt x="16430" y="7810"/>
                      <a:pt x="16539" y="7654"/>
                    </a:cubicBezTo>
                    <a:cubicBezTo>
                      <a:pt x="16648" y="7498"/>
                      <a:pt x="16305" y="7841"/>
                      <a:pt x="16383" y="7654"/>
                    </a:cubicBezTo>
                    <a:cubicBezTo>
                      <a:pt x="16118" y="7903"/>
                      <a:pt x="15962" y="7934"/>
                      <a:pt x="15869" y="8309"/>
                    </a:cubicBezTo>
                    <a:cubicBezTo>
                      <a:pt x="15775" y="8683"/>
                      <a:pt x="15261" y="9135"/>
                      <a:pt x="15198" y="8932"/>
                    </a:cubicBezTo>
                    <a:cubicBezTo>
                      <a:pt x="15136" y="8729"/>
                      <a:pt x="15308" y="8823"/>
                      <a:pt x="15198" y="8527"/>
                    </a:cubicBezTo>
                    <a:cubicBezTo>
                      <a:pt x="14996" y="8885"/>
                      <a:pt x="14996" y="9353"/>
                      <a:pt x="14996" y="9353"/>
                    </a:cubicBezTo>
                    <a:cubicBezTo>
                      <a:pt x="14357" y="9493"/>
                      <a:pt x="15105" y="8262"/>
                      <a:pt x="15245" y="8231"/>
                    </a:cubicBezTo>
                    <a:cubicBezTo>
                      <a:pt x="14996" y="8324"/>
                      <a:pt x="15245" y="8231"/>
                      <a:pt x="15027" y="8231"/>
                    </a:cubicBezTo>
                    <a:cubicBezTo>
                      <a:pt x="15136" y="8075"/>
                      <a:pt x="14871" y="8309"/>
                      <a:pt x="14793" y="8231"/>
                    </a:cubicBezTo>
                    <a:cubicBezTo>
                      <a:pt x="14715" y="8153"/>
                      <a:pt x="15432" y="7607"/>
                      <a:pt x="15292" y="7981"/>
                    </a:cubicBezTo>
                    <a:cubicBezTo>
                      <a:pt x="16617" y="7701"/>
                      <a:pt x="17427" y="6422"/>
                      <a:pt x="17724" y="6111"/>
                    </a:cubicBezTo>
                    <a:cubicBezTo>
                      <a:pt x="17272" y="6485"/>
                      <a:pt x="17396" y="6111"/>
                      <a:pt x="17225" y="6111"/>
                    </a:cubicBezTo>
                    <a:cubicBezTo>
                      <a:pt x="17053" y="6111"/>
                      <a:pt x="17459" y="5970"/>
                      <a:pt x="17225" y="5955"/>
                    </a:cubicBezTo>
                    <a:cubicBezTo>
                      <a:pt x="17427" y="5736"/>
                      <a:pt x="17225" y="5955"/>
                      <a:pt x="17225" y="5783"/>
                    </a:cubicBezTo>
                    <a:lnTo>
                      <a:pt x="17318" y="5783"/>
                    </a:lnTo>
                    <a:lnTo>
                      <a:pt x="17178" y="5861"/>
                    </a:lnTo>
                    <a:cubicBezTo>
                      <a:pt x="16944" y="5970"/>
                      <a:pt x="16726" y="6111"/>
                      <a:pt x="16492" y="6235"/>
                    </a:cubicBezTo>
                    <a:lnTo>
                      <a:pt x="16492" y="6235"/>
                    </a:lnTo>
                    <a:lnTo>
                      <a:pt x="16601" y="6235"/>
                    </a:lnTo>
                    <a:lnTo>
                      <a:pt x="16555" y="6235"/>
                    </a:lnTo>
                    <a:lnTo>
                      <a:pt x="16555" y="6235"/>
                    </a:lnTo>
                    <a:cubicBezTo>
                      <a:pt x="16555" y="6313"/>
                      <a:pt x="16321" y="6235"/>
                      <a:pt x="16243" y="6376"/>
                    </a:cubicBezTo>
                    <a:lnTo>
                      <a:pt x="16243" y="6376"/>
                    </a:lnTo>
                    <a:lnTo>
                      <a:pt x="16243" y="6376"/>
                    </a:lnTo>
                    <a:lnTo>
                      <a:pt x="16336" y="6376"/>
                    </a:lnTo>
                    <a:cubicBezTo>
                      <a:pt x="16336" y="6376"/>
                      <a:pt x="16336" y="6376"/>
                      <a:pt x="16336" y="6376"/>
                    </a:cubicBezTo>
                    <a:lnTo>
                      <a:pt x="16336" y="6376"/>
                    </a:lnTo>
                    <a:cubicBezTo>
                      <a:pt x="16336" y="6376"/>
                      <a:pt x="16227" y="6376"/>
                      <a:pt x="16180" y="6376"/>
                    </a:cubicBezTo>
                    <a:lnTo>
                      <a:pt x="16180" y="6376"/>
                    </a:lnTo>
                    <a:lnTo>
                      <a:pt x="16180" y="6376"/>
                    </a:lnTo>
                    <a:cubicBezTo>
                      <a:pt x="15993" y="6516"/>
                      <a:pt x="15791" y="6625"/>
                      <a:pt x="15588" y="6750"/>
                    </a:cubicBezTo>
                    <a:lnTo>
                      <a:pt x="15822" y="6656"/>
                    </a:lnTo>
                    <a:lnTo>
                      <a:pt x="15822" y="6656"/>
                    </a:lnTo>
                    <a:lnTo>
                      <a:pt x="16212" y="6454"/>
                    </a:lnTo>
                    <a:cubicBezTo>
                      <a:pt x="16065" y="6587"/>
                      <a:pt x="15903" y="6702"/>
                      <a:pt x="15728" y="6796"/>
                    </a:cubicBezTo>
                    <a:lnTo>
                      <a:pt x="15728" y="6796"/>
                    </a:lnTo>
                    <a:cubicBezTo>
                      <a:pt x="15496" y="6904"/>
                      <a:pt x="15285" y="7052"/>
                      <a:pt x="15105" y="7233"/>
                    </a:cubicBezTo>
                    <a:cubicBezTo>
                      <a:pt x="15105" y="7233"/>
                      <a:pt x="15198" y="7155"/>
                      <a:pt x="15245" y="7155"/>
                    </a:cubicBezTo>
                    <a:lnTo>
                      <a:pt x="15245" y="7155"/>
                    </a:lnTo>
                    <a:lnTo>
                      <a:pt x="16040" y="6750"/>
                    </a:lnTo>
                    <a:lnTo>
                      <a:pt x="16040" y="6750"/>
                    </a:lnTo>
                    <a:lnTo>
                      <a:pt x="16040" y="6750"/>
                    </a:lnTo>
                    <a:cubicBezTo>
                      <a:pt x="16040" y="6750"/>
                      <a:pt x="16040" y="6656"/>
                      <a:pt x="16165" y="6672"/>
                    </a:cubicBezTo>
                    <a:lnTo>
                      <a:pt x="16165" y="6672"/>
                    </a:lnTo>
                    <a:cubicBezTo>
                      <a:pt x="16165" y="6672"/>
                      <a:pt x="16165" y="6672"/>
                      <a:pt x="16274" y="6672"/>
                    </a:cubicBezTo>
                    <a:lnTo>
                      <a:pt x="16274" y="6672"/>
                    </a:lnTo>
                    <a:lnTo>
                      <a:pt x="16664" y="6454"/>
                    </a:lnTo>
                    <a:cubicBezTo>
                      <a:pt x="16664" y="6454"/>
                      <a:pt x="16664" y="6454"/>
                      <a:pt x="16664" y="6594"/>
                    </a:cubicBezTo>
                    <a:lnTo>
                      <a:pt x="16664" y="6594"/>
                    </a:lnTo>
                    <a:cubicBezTo>
                      <a:pt x="16645" y="6644"/>
                      <a:pt x="16605" y="6684"/>
                      <a:pt x="16555" y="6703"/>
                    </a:cubicBezTo>
                    <a:cubicBezTo>
                      <a:pt x="16555" y="6625"/>
                      <a:pt x="16555" y="6781"/>
                      <a:pt x="16430" y="6796"/>
                    </a:cubicBezTo>
                    <a:cubicBezTo>
                      <a:pt x="16305" y="6812"/>
                      <a:pt x="16305" y="6921"/>
                      <a:pt x="16243" y="6921"/>
                    </a:cubicBezTo>
                    <a:cubicBezTo>
                      <a:pt x="16180" y="6921"/>
                      <a:pt x="16243" y="6921"/>
                      <a:pt x="16243" y="6921"/>
                    </a:cubicBezTo>
                    <a:lnTo>
                      <a:pt x="16243" y="6921"/>
                    </a:lnTo>
                    <a:cubicBezTo>
                      <a:pt x="16243" y="6921"/>
                      <a:pt x="15978" y="7046"/>
                      <a:pt x="16056" y="6921"/>
                    </a:cubicBezTo>
                    <a:lnTo>
                      <a:pt x="16056" y="6921"/>
                    </a:lnTo>
                    <a:cubicBezTo>
                      <a:pt x="16056" y="6921"/>
                      <a:pt x="16056" y="6999"/>
                      <a:pt x="15915" y="7015"/>
                    </a:cubicBezTo>
                    <a:lnTo>
                      <a:pt x="15915" y="7015"/>
                    </a:lnTo>
                    <a:cubicBezTo>
                      <a:pt x="15915" y="7015"/>
                      <a:pt x="15806" y="7015"/>
                      <a:pt x="15915" y="7015"/>
                    </a:cubicBezTo>
                    <a:cubicBezTo>
                      <a:pt x="15629" y="7264"/>
                      <a:pt x="15287" y="7441"/>
                      <a:pt x="14918" y="7529"/>
                    </a:cubicBezTo>
                    <a:cubicBezTo>
                      <a:pt x="14943" y="7513"/>
                      <a:pt x="14969" y="7497"/>
                      <a:pt x="14996" y="7482"/>
                    </a:cubicBezTo>
                    <a:lnTo>
                      <a:pt x="14996" y="7482"/>
                    </a:lnTo>
                    <a:lnTo>
                      <a:pt x="15120" y="7373"/>
                    </a:lnTo>
                    <a:lnTo>
                      <a:pt x="15120" y="7373"/>
                    </a:lnTo>
                    <a:cubicBezTo>
                      <a:pt x="15120" y="7373"/>
                      <a:pt x="14965" y="7451"/>
                      <a:pt x="15120" y="7373"/>
                    </a:cubicBezTo>
                    <a:cubicBezTo>
                      <a:pt x="15026" y="7487"/>
                      <a:pt x="14916" y="7587"/>
                      <a:pt x="14793" y="7669"/>
                    </a:cubicBezTo>
                    <a:lnTo>
                      <a:pt x="14887" y="7529"/>
                    </a:lnTo>
                    <a:cubicBezTo>
                      <a:pt x="14887" y="7529"/>
                      <a:pt x="14887" y="7607"/>
                      <a:pt x="14778" y="7623"/>
                    </a:cubicBezTo>
                    <a:cubicBezTo>
                      <a:pt x="14668" y="7638"/>
                      <a:pt x="14778" y="7623"/>
                      <a:pt x="14778" y="7623"/>
                    </a:cubicBezTo>
                    <a:lnTo>
                      <a:pt x="14778" y="7623"/>
                    </a:lnTo>
                    <a:lnTo>
                      <a:pt x="14918" y="7514"/>
                    </a:lnTo>
                    <a:cubicBezTo>
                      <a:pt x="14918" y="7514"/>
                      <a:pt x="14824" y="7514"/>
                      <a:pt x="14918" y="7514"/>
                    </a:cubicBezTo>
                    <a:lnTo>
                      <a:pt x="14918" y="7514"/>
                    </a:lnTo>
                    <a:lnTo>
                      <a:pt x="14918" y="7514"/>
                    </a:lnTo>
                    <a:cubicBezTo>
                      <a:pt x="14757" y="7658"/>
                      <a:pt x="14572" y="7774"/>
                      <a:pt x="14372" y="7856"/>
                    </a:cubicBezTo>
                    <a:lnTo>
                      <a:pt x="14372" y="7856"/>
                    </a:lnTo>
                    <a:cubicBezTo>
                      <a:pt x="14076" y="8028"/>
                      <a:pt x="14372" y="7732"/>
                      <a:pt x="14372" y="7591"/>
                    </a:cubicBezTo>
                    <a:cubicBezTo>
                      <a:pt x="14107" y="7747"/>
                      <a:pt x="14170" y="8028"/>
                      <a:pt x="13873" y="8106"/>
                    </a:cubicBezTo>
                    <a:lnTo>
                      <a:pt x="13873" y="8106"/>
                    </a:lnTo>
                    <a:lnTo>
                      <a:pt x="13468" y="8293"/>
                    </a:lnTo>
                    <a:cubicBezTo>
                      <a:pt x="13468" y="8293"/>
                      <a:pt x="13468" y="8293"/>
                      <a:pt x="13468" y="8293"/>
                    </a:cubicBezTo>
                    <a:lnTo>
                      <a:pt x="13468" y="8293"/>
                    </a:lnTo>
                    <a:lnTo>
                      <a:pt x="13468" y="8293"/>
                    </a:lnTo>
                    <a:cubicBezTo>
                      <a:pt x="13468" y="8293"/>
                      <a:pt x="13468" y="8293"/>
                      <a:pt x="13577" y="8199"/>
                    </a:cubicBezTo>
                    <a:cubicBezTo>
                      <a:pt x="13686" y="8106"/>
                      <a:pt x="13468" y="8199"/>
                      <a:pt x="13437" y="8277"/>
                    </a:cubicBezTo>
                    <a:cubicBezTo>
                      <a:pt x="13475" y="8255"/>
                      <a:pt x="13508" y="8223"/>
                      <a:pt x="13530" y="8184"/>
                    </a:cubicBezTo>
                    <a:cubicBezTo>
                      <a:pt x="13530" y="8184"/>
                      <a:pt x="13172" y="8480"/>
                      <a:pt x="13328" y="8293"/>
                    </a:cubicBezTo>
                    <a:lnTo>
                      <a:pt x="13188" y="8402"/>
                    </a:lnTo>
                    <a:cubicBezTo>
                      <a:pt x="13251" y="8269"/>
                      <a:pt x="13329" y="8143"/>
                      <a:pt x="13421" y="8028"/>
                    </a:cubicBezTo>
                    <a:lnTo>
                      <a:pt x="13421" y="8028"/>
                    </a:lnTo>
                    <a:lnTo>
                      <a:pt x="13421" y="8028"/>
                    </a:lnTo>
                    <a:lnTo>
                      <a:pt x="13343" y="8121"/>
                    </a:lnTo>
                    <a:cubicBezTo>
                      <a:pt x="13530" y="7981"/>
                      <a:pt x="13250" y="8293"/>
                      <a:pt x="13203" y="8277"/>
                    </a:cubicBezTo>
                    <a:lnTo>
                      <a:pt x="13328" y="8277"/>
                    </a:lnTo>
                    <a:cubicBezTo>
                      <a:pt x="13203" y="8496"/>
                      <a:pt x="12704" y="8761"/>
                      <a:pt x="13078" y="8277"/>
                    </a:cubicBezTo>
                    <a:cubicBezTo>
                      <a:pt x="12954" y="8355"/>
                      <a:pt x="12891" y="8496"/>
                      <a:pt x="12782" y="8574"/>
                    </a:cubicBezTo>
                    <a:lnTo>
                      <a:pt x="12782" y="8574"/>
                    </a:lnTo>
                    <a:lnTo>
                      <a:pt x="12782" y="8574"/>
                    </a:lnTo>
                    <a:lnTo>
                      <a:pt x="12782" y="8574"/>
                    </a:lnTo>
                    <a:lnTo>
                      <a:pt x="12642" y="8698"/>
                    </a:lnTo>
                    <a:cubicBezTo>
                      <a:pt x="12642" y="8698"/>
                      <a:pt x="12642" y="8698"/>
                      <a:pt x="12642" y="8698"/>
                    </a:cubicBezTo>
                    <a:cubicBezTo>
                      <a:pt x="12642" y="8698"/>
                      <a:pt x="12533" y="8698"/>
                      <a:pt x="12502" y="8698"/>
                    </a:cubicBezTo>
                    <a:cubicBezTo>
                      <a:pt x="12470" y="8698"/>
                      <a:pt x="12034" y="8994"/>
                      <a:pt x="11909" y="9026"/>
                    </a:cubicBezTo>
                    <a:lnTo>
                      <a:pt x="11909" y="9026"/>
                    </a:lnTo>
                    <a:cubicBezTo>
                      <a:pt x="11559" y="9339"/>
                      <a:pt x="11189" y="9631"/>
                      <a:pt x="10803" y="9899"/>
                    </a:cubicBezTo>
                    <a:cubicBezTo>
                      <a:pt x="11707" y="9306"/>
                      <a:pt x="10662" y="10351"/>
                      <a:pt x="10460" y="10351"/>
                    </a:cubicBezTo>
                    <a:cubicBezTo>
                      <a:pt x="10865" y="10351"/>
                      <a:pt x="10647" y="10694"/>
                      <a:pt x="10460" y="10974"/>
                    </a:cubicBezTo>
                    <a:lnTo>
                      <a:pt x="10460" y="10974"/>
                    </a:lnTo>
                    <a:cubicBezTo>
                      <a:pt x="10447" y="11120"/>
                      <a:pt x="10410" y="11262"/>
                      <a:pt x="10350" y="11395"/>
                    </a:cubicBezTo>
                    <a:cubicBezTo>
                      <a:pt x="10460" y="11395"/>
                      <a:pt x="10444" y="11520"/>
                      <a:pt x="10553" y="11520"/>
                    </a:cubicBezTo>
                    <a:lnTo>
                      <a:pt x="10553" y="11520"/>
                    </a:lnTo>
                    <a:cubicBezTo>
                      <a:pt x="10113" y="11959"/>
                      <a:pt x="9735" y="12458"/>
                      <a:pt x="9431" y="13001"/>
                    </a:cubicBezTo>
                    <a:cubicBezTo>
                      <a:pt x="9618" y="13001"/>
                      <a:pt x="9571" y="13001"/>
                      <a:pt x="9758" y="12876"/>
                    </a:cubicBezTo>
                    <a:cubicBezTo>
                      <a:pt x="9758" y="12954"/>
                      <a:pt x="9571" y="13110"/>
                      <a:pt x="9665" y="13172"/>
                    </a:cubicBezTo>
                    <a:cubicBezTo>
                      <a:pt x="10043" y="12406"/>
                      <a:pt x="10669" y="11791"/>
                      <a:pt x="11442" y="11426"/>
                    </a:cubicBezTo>
                    <a:cubicBezTo>
                      <a:pt x="11894" y="10912"/>
                      <a:pt x="12237" y="10288"/>
                      <a:pt x="12704" y="10117"/>
                    </a:cubicBezTo>
                    <a:lnTo>
                      <a:pt x="12704" y="10117"/>
                    </a:lnTo>
                    <a:cubicBezTo>
                      <a:pt x="12782" y="10117"/>
                      <a:pt x="12813" y="9961"/>
                      <a:pt x="12891" y="9961"/>
                    </a:cubicBezTo>
                    <a:cubicBezTo>
                      <a:pt x="12969" y="9961"/>
                      <a:pt x="12891" y="9867"/>
                      <a:pt x="13000" y="9852"/>
                    </a:cubicBezTo>
                    <a:cubicBezTo>
                      <a:pt x="13110" y="9836"/>
                      <a:pt x="14060" y="8901"/>
                      <a:pt x="13686" y="9446"/>
                    </a:cubicBezTo>
                    <a:cubicBezTo>
                      <a:pt x="13686" y="9446"/>
                      <a:pt x="13842" y="9446"/>
                      <a:pt x="13795" y="9446"/>
                    </a:cubicBezTo>
                    <a:lnTo>
                      <a:pt x="13795" y="9446"/>
                    </a:lnTo>
                    <a:cubicBezTo>
                      <a:pt x="14076" y="9446"/>
                      <a:pt x="13795" y="9446"/>
                      <a:pt x="13889" y="9587"/>
                    </a:cubicBezTo>
                    <a:cubicBezTo>
                      <a:pt x="13983" y="9727"/>
                      <a:pt x="13795" y="9665"/>
                      <a:pt x="13764" y="9711"/>
                    </a:cubicBezTo>
                    <a:lnTo>
                      <a:pt x="13764" y="9711"/>
                    </a:lnTo>
                    <a:cubicBezTo>
                      <a:pt x="13764" y="9711"/>
                      <a:pt x="13764" y="9805"/>
                      <a:pt x="13764" y="9852"/>
                    </a:cubicBezTo>
                    <a:lnTo>
                      <a:pt x="13764" y="9852"/>
                    </a:lnTo>
                    <a:cubicBezTo>
                      <a:pt x="13764" y="9852"/>
                      <a:pt x="13764" y="9930"/>
                      <a:pt x="13764" y="9930"/>
                    </a:cubicBezTo>
                    <a:lnTo>
                      <a:pt x="13764" y="9930"/>
                    </a:lnTo>
                    <a:cubicBezTo>
                      <a:pt x="13764" y="9930"/>
                      <a:pt x="13764" y="10008"/>
                      <a:pt x="13655" y="10054"/>
                    </a:cubicBezTo>
                    <a:lnTo>
                      <a:pt x="13655" y="10054"/>
                    </a:lnTo>
                    <a:lnTo>
                      <a:pt x="13655" y="10054"/>
                    </a:lnTo>
                    <a:lnTo>
                      <a:pt x="13655" y="10054"/>
                    </a:lnTo>
                    <a:lnTo>
                      <a:pt x="13655" y="10054"/>
                    </a:lnTo>
                    <a:lnTo>
                      <a:pt x="13655" y="10054"/>
                    </a:lnTo>
                    <a:cubicBezTo>
                      <a:pt x="13795" y="10054"/>
                      <a:pt x="13655" y="10132"/>
                      <a:pt x="13655" y="10179"/>
                    </a:cubicBezTo>
                    <a:cubicBezTo>
                      <a:pt x="13655" y="10226"/>
                      <a:pt x="13749" y="10086"/>
                      <a:pt x="13795" y="10101"/>
                    </a:cubicBezTo>
                    <a:cubicBezTo>
                      <a:pt x="13842" y="10117"/>
                      <a:pt x="13530" y="10288"/>
                      <a:pt x="13421" y="10444"/>
                    </a:cubicBezTo>
                    <a:lnTo>
                      <a:pt x="13421" y="10444"/>
                    </a:lnTo>
                    <a:cubicBezTo>
                      <a:pt x="13421" y="10444"/>
                      <a:pt x="13297" y="10553"/>
                      <a:pt x="13234" y="10444"/>
                    </a:cubicBezTo>
                    <a:cubicBezTo>
                      <a:pt x="13406" y="10600"/>
                      <a:pt x="12985" y="10927"/>
                      <a:pt x="13000" y="10881"/>
                    </a:cubicBezTo>
                    <a:cubicBezTo>
                      <a:pt x="13016" y="10834"/>
                      <a:pt x="13000" y="11021"/>
                      <a:pt x="13000" y="10881"/>
                    </a:cubicBezTo>
                    <a:cubicBezTo>
                      <a:pt x="13000" y="10740"/>
                      <a:pt x="12813" y="11130"/>
                      <a:pt x="12720" y="11224"/>
                    </a:cubicBezTo>
                    <a:cubicBezTo>
                      <a:pt x="12969" y="11052"/>
                      <a:pt x="13032" y="11021"/>
                      <a:pt x="12720" y="11224"/>
                    </a:cubicBezTo>
                    <a:cubicBezTo>
                      <a:pt x="12720" y="11224"/>
                      <a:pt x="12985" y="11005"/>
                      <a:pt x="12985" y="11099"/>
                    </a:cubicBezTo>
                    <a:cubicBezTo>
                      <a:pt x="12985" y="11192"/>
                      <a:pt x="13125" y="10990"/>
                      <a:pt x="13203" y="10959"/>
                    </a:cubicBezTo>
                    <a:cubicBezTo>
                      <a:pt x="13217" y="11010"/>
                      <a:pt x="13217" y="11063"/>
                      <a:pt x="13203" y="11114"/>
                    </a:cubicBezTo>
                    <a:cubicBezTo>
                      <a:pt x="13203" y="11037"/>
                      <a:pt x="13577" y="10709"/>
                      <a:pt x="13608" y="10818"/>
                    </a:cubicBezTo>
                    <a:cubicBezTo>
                      <a:pt x="13640" y="10927"/>
                      <a:pt x="13608" y="10818"/>
                      <a:pt x="13608" y="10818"/>
                    </a:cubicBezTo>
                    <a:cubicBezTo>
                      <a:pt x="13608" y="10818"/>
                      <a:pt x="13608" y="10725"/>
                      <a:pt x="13733" y="10725"/>
                    </a:cubicBezTo>
                    <a:lnTo>
                      <a:pt x="13733" y="10725"/>
                    </a:lnTo>
                    <a:cubicBezTo>
                      <a:pt x="13733" y="10647"/>
                      <a:pt x="14138" y="10397"/>
                      <a:pt x="14014" y="10507"/>
                    </a:cubicBezTo>
                    <a:lnTo>
                      <a:pt x="14014" y="10507"/>
                    </a:lnTo>
                    <a:cubicBezTo>
                      <a:pt x="14014" y="10507"/>
                      <a:pt x="14014" y="10616"/>
                      <a:pt x="13905" y="10616"/>
                    </a:cubicBezTo>
                    <a:cubicBezTo>
                      <a:pt x="13795" y="10616"/>
                      <a:pt x="13905" y="10616"/>
                      <a:pt x="13905" y="10694"/>
                    </a:cubicBezTo>
                    <a:lnTo>
                      <a:pt x="13905" y="10694"/>
                    </a:lnTo>
                    <a:cubicBezTo>
                      <a:pt x="13811" y="10694"/>
                      <a:pt x="13905" y="10849"/>
                      <a:pt x="13749" y="10896"/>
                    </a:cubicBezTo>
                    <a:cubicBezTo>
                      <a:pt x="13593" y="10943"/>
                      <a:pt x="13749" y="11005"/>
                      <a:pt x="13749" y="10896"/>
                    </a:cubicBezTo>
                    <a:cubicBezTo>
                      <a:pt x="13749" y="10787"/>
                      <a:pt x="13421" y="11037"/>
                      <a:pt x="13749" y="11021"/>
                    </a:cubicBezTo>
                    <a:cubicBezTo>
                      <a:pt x="14076" y="11005"/>
                      <a:pt x="13577" y="11161"/>
                      <a:pt x="13749" y="11114"/>
                    </a:cubicBezTo>
                    <a:cubicBezTo>
                      <a:pt x="13920" y="11068"/>
                      <a:pt x="13608" y="11270"/>
                      <a:pt x="13593" y="11114"/>
                    </a:cubicBezTo>
                    <a:cubicBezTo>
                      <a:pt x="13577" y="10959"/>
                      <a:pt x="13593" y="11192"/>
                      <a:pt x="13593" y="11208"/>
                    </a:cubicBezTo>
                    <a:cubicBezTo>
                      <a:pt x="13593" y="11224"/>
                      <a:pt x="13702" y="11208"/>
                      <a:pt x="13749" y="11208"/>
                    </a:cubicBezTo>
                    <a:cubicBezTo>
                      <a:pt x="13795" y="11208"/>
                      <a:pt x="13577" y="11208"/>
                      <a:pt x="13515" y="11348"/>
                    </a:cubicBezTo>
                    <a:cubicBezTo>
                      <a:pt x="13733" y="11348"/>
                      <a:pt x="13655" y="11348"/>
                      <a:pt x="13515" y="11442"/>
                    </a:cubicBezTo>
                    <a:cubicBezTo>
                      <a:pt x="13375" y="11535"/>
                      <a:pt x="13515" y="11442"/>
                      <a:pt x="13608" y="11442"/>
                    </a:cubicBezTo>
                    <a:cubicBezTo>
                      <a:pt x="13623" y="11509"/>
                      <a:pt x="13580" y="11575"/>
                      <a:pt x="13512" y="11590"/>
                    </a:cubicBezTo>
                    <a:cubicBezTo>
                      <a:pt x="13487" y="11595"/>
                      <a:pt x="13461" y="11592"/>
                      <a:pt x="13437" y="11582"/>
                    </a:cubicBezTo>
                    <a:cubicBezTo>
                      <a:pt x="13437" y="11582"/>
                      <a:pt x="13577" y="11660"/>
                      <a:pt x="13437" y="11722"/>
                    </a:cubicBezTo>
                    <a:cubicBezTo>
                      <a:pt x="13608" y="11816"/>
                      <a:pt x="13250" y="11941"/>
                      <a:pt x="13219" y="11878"/>
                    </a:cubicBezTo>
                    <a:cubicBezTo>
                      <a:pt x="13188" y="11816"/>
                      <a:pt x="13219" y="12128"/>
                      <a:pt x="13078" y="12081"/>
                    </a:cubicBezTo>
                    <a:cubicBezTo>
                      <a:pt x="12938" y="12034"/>
                      <a:pt x="13312" y="12081"/>
                      <a:pt x="13188" y="12174"/>
                    </a:cubicBezTo>
                    <a:cubicBezTo>
                      <a:pt x="13063" y="12268"/>
                      <a:pt x="13188" y="12174"/>
                      <a:pt x="13188" y="12252"/>
                    </a:cubicBezTo>
                    <a:cubicBezTo>
                      <a:pt x="13188" y="12330"/>
                      <a:pt x="13188" y="12252"/>
                      <a:pt x="13188" y="12362"/>
                    </a:cubicBezTo>
                    <a:lnTo>
                      <a:pt x="13281" y="12362"/>
                    </a:lnTo>
                    <a:cubicBezTo>
                      <a:pt x="13281" y="12439"/>
                      <a:pt x="13094" y="12595"/>
                      <a:pt x="13000" y="12564"/>
                    </a:cubicBezTo>
                    <a:cubicBezTo>
                      <a:pt x="12907" y="12533"/>
                      <a:pt x="13141" y="12564"/>
                      <a:pt x="13203" y="12564"/>
                    </a:cubicBezTo>
                    <a:cubicBezTo>
                      <a:pt x="13000" y="12751"/>
                      <a:pt x="13203" y="12564"/>
                      <a:pt x="13203" y="12564"/>
                    </a:cubicBezTo>
                    <a:cubicBezTo>
                      <a:pt x="13203" y="12564"/>
                      <a:pt x="13203" y="12564"/>
                      <a:pt x="13063" y="12704"/>
                    </a:cubicBezTo>
                    <a:cubicBezTo>
                      <a:pt x="13063" y="12704"/>
                      <a:pt x="13328" y="12533"/>
                      <a:pt x="13203" y="12704"/>
                    </a:cubicBezTo>
                    <a:lnTo>
                      <a:pt x="13203" y="12704"/>
                    </a:lnTo>
                    <a:cubicBezTo>
                      <a:pt x="13203" y="12704"/>
                      <a:pt x="13125" y="12798"/>
                      <a:pt x="13110" y="12845"/>
                    </a:cubicBezTo>
                    <a:cubicBezTo>
                      <a:pt x="13094" y="12892"/>
                      <a:pt x="13390" y="12845"/>
                      <a:pt x="13203" y="12845"/>
                    </a:cubicBezTo>
                    <a:cubicBezTo>
                      <a:pt x="13437" y="13016"/>
                      <a:pt x="12891" y="12923"/>
                      <a:pt x="12813" y="13032"/>
                    </a:cubicBezTo>
                    <a:cubicBezTo>
                      <a:pt x="13219" y="13032"/>
                      <a:pt x="12689" y="13032"/>
                      <a:pt x="12611" y="13157"/>
                    </a:cubicBezTo>
                    <a:cubicBezTo>
                      <a:pt x="12587" y="13102"/>
                      <a:pt x="12587" y="13040"/>
                      <a:pt x="12611" y="12985"/>
                    </a:cubicBezTo>
                    <a:cubicBezTo>
                      <a:pt x="12611" y="13110"/>
                      <a:pt x="12611" y="13188"/>
                      <a:pt x="12517" y="13281"/>
                    </a:cubicBezTo>
                    <a:cubicBezTo>
                      <a:pt x="12689" y="13281"/>
                      <a:pt x="12876" y="13016"/>
                      <a:pt x="13094" y="13079"/>
                    </a:cubicBezTo>
                    <a:cubicBezTo>
                      <a:pt x="12985" y="12938"/>
                      <a:pt x="13437" y="13079"/>
                      <a:pt x="13094" y="13266"/>
                    </a:cubicBezTo>
                    <a:cubicBezTo>
                      <a:pt x="13094" y="13266"/>
                      <a:pt x="13094" y="13266"/>
                      <a:pt x="13094" y="13266"/>
                    </a:cubicBezTo>
                    <a:cubicBezTo>
                      <a:pt x="13094" y="13266"/>
                      <a:pt x="13343" y="13125"/>
                      <a:pt x="13219" y="13266"/>
                    </a:cubicBezTo>
                    <a:cubicBezTo>
                      <a:pt x="13094" y="13406"/>
                      <a:pt x="13312" y="13266"/>
                      <a:pt x="13297" y="13266"/>
                    </a:cubicBezTo>
                    <a:cubicBezTo>
                      <a:pt x="13281" y="13266"/>
                      <a:pt x="13297" y="13422"/>
                      <a:pt x="13156" y="13406"/>
                    </a:cubicBezTo>
                    <a:cubicBezTo>
                      <a:pt x="13250" y="13406"/>
                      <a:pt x="13032" y="13609"/>
                      <a:pt x="13032" y="13499"/>
                    </a:cubicBezTo>
                    <a:cubicBezTo>
                      <a:pt x="13032" y="13390"/>
                      <a:pt x="13203" y="13655"/>
                      <a:pt x="13032" y="13624"/>
                    </a:cubicBezTo>
                    <a:cubicBezTo>
                      <a:pt x="13234" y="13718"/>
                      <a:pt x="12595" y="13983"/>
                      <a:pt x="12564" y="13874"/>
                    </a:cubicBezTo>
                    <a:cubicBezTo>
                      <a:pt x="12533" y="13764"/>
                      <a:pt x="12455" y="13874"/>
                      <a:pt x="12564" y="13874"/>
                    </a:cubicBezTo>
                    <a:cubicBezTo>
                      <a:pt x="12143" y="14232"/>
                      <a:pt x="11800" y="14279"/>
                      <a:pt x="11426" y="13983"/>
                    </a:cubicBezTo>
                    <a:cubicBezTo>
                      <a:pt x="11426" y="13983"/>
                      <a:pt x="11083" y="13983"/>
                      <a:pt x="11114" y="13842"/>
                    </a:cubicBezTo>
                    <a:cubicBezTo>
                      <a:pt x="10553" y="14185"/>
                      <a:pt x="10039" y="14544"/>
                      <a:pt x="9462" y="14856"/>
                    </a:cubicBezTo>
                    <a:cubicBezTo>
                      <a:pt x="9846" y="14695"/>
                      <a:pt x="10278" y="14695"/>
                      <a:pt x="10662" y="14856"/>
                    </a:cubicBezTo>
                    <a:cubicBezTo>
                      <a:pt x="10622" y="14910"/>
                      <a:pt x="10568" y="14953"/>
                      <a:pt x="10506" y="14980"/>
                    </a:cubicBezTo>
                    <a:cubicBezTo>
                      <a:pt x="10662" y="14980"/>
                      <a:pt x="10304" y="15323"/>
                      <a:pt x="10506" y="15370"/>
                    </a:cubicBezTo>
                    <a:cubicBezTo>
                      <a:pt x="10350" y="15448"/>
                      <a:pt x="10647" y="15666"/>
                      <a:pt x="10740" y="15542"/>
                    </a:cubicBezTo>
                    <a:cubicBezTo>
                      <a:pt x="10740" y="15542"/>
                      <a:pt x="10865" y="15666"/>
                      <a:pt x="10740" y="15651"/>
                    </a:cubicBezTo>
                    <a:cubicBezTo>
                      <a:pt x="10958" y="15651"/>
                      <a:pt x="10148" y="15900"/>
                      <a:pt x="10210" y="15760"/>
                    </a:cubicBezTo>
                    <a:cubicBezTo>
                      <a:pt x="10075" y="15886"/>
                      <a:pt x="9929" y="16001"/>
                      <a:pt x="9774" y="16103"/>
                    </a:cubicBezTo>
                    <a:lnTo>
                      <a:pt x="9774" y="16103"/>
                    </a:lnTo>
                    <a:cubicBezTo>
                      <a:pt x="9680" y="16103"/>
                      <a:pt x="9774" y="15962"/>
                      <a:pt x="9774" y="16009"/>
                    </a:cubicBezTo>
                    <a:cubicBezTo>
                      <a:pt x="9774" y="15807"/>
                      <a:pt x="10319" y="15417"/>
                      <a:pt x="10319" y="15682"/>
                    </a:cubicBezTo>
                    <a:cubicBezTo>
                      <a:pt x="10319" y="15588"/>
                      <a:pt x="10428" y="15682"/>
                      <a:pt x="10475" y="15604"/>
                    </a:cubicBezTo>
                    <a:cubicBezTo>
                      <a:pt x="10195" y="15495"/>
                      <a:pt x="10195" y="15604"/>
                      <a:pt x="10475" y="15401"/>
                    </a:cubicBezTo>
                    <a:lnTo>
                      <a:pt x="10475" y="15401"/>
                    </a:lnTo>
                    <a:lnTo>
                      <a:pt x="10475" y="15401"/>
                    </a:lnTo>
                    <a:cubicBezTo>
                      <a:pt x="10475" y="15495"/>
                      <a:pt x="10023" y="15651"/>
                      <a:pt x="10195" y="15401"/>
                    </a:cubicBezTo>
                    <a:cubicBezTo>
                      <a:pt x="10070" y="15542"/>
                      <a:pt x="10023" y="15495"/>
                      <a:pt x="9914" y="15401"/>
                    </a:cubicBezTo>
                    <a:cubicBezTo>
                      <a:pt x="9805" y="15308"/>
                      <a:pt x="9914" y="15510"/>
                      <a:pt x="9914" y="15573"/>
                    </a:cubicBezTo>
                    <a:cubicBezTo>
                      <a:pt x="9914" y="15635"/>
                      <a:pt x="9914" y="15729"/>
                      <a:pt x="9914" y="15573"/>
                    </a:cubicBezTo>
                    <a:cubicBezTo>
                      <a:pt x="9914" y="15417"/>
                      <a:pt x="9618" y="15713"/>
                      <a:pt x="9680" y="15573"/>
                    </a:cubicBezTo>
                    <a:cubicBezTo>
                      <a:pt x="9743" y="15432"/>
                      <a:pt x="9509" y="15651"/>
                      <a:pt x="9680" y="15573"/>
                    </a:cubicBezTo>
                    <a:cubicBezTo>
                      <a:pt x="9852" y="15495"/>
                      <a:pt x="9571" y="15697"/>
                      <a:pt x="9509" y="15729"/>
                    </a:cubicBezTo>
                    <a:lnTo>
                      <a:pt x="9509" y="15729"/>
                    </a:lnTo>
                    <a:cubicBezTo>
                      <a:pt x="9509" y="15729"/>
                      <a:pt x="9509" y="15807"/>
                      <a:pt x="9509" y="15729"/>
                    </a:cubicBezTo>
                    <a:cubicBezTo>
                      <a:pt x="9509" y="15651"/>
                      <a:pt x="9400" y="15853"/>
                      <a:pt x="9509" y="15729"/>
                    </a:cubicBezTo>
                    <a:cubicBezTo>
                      <a:pt x="9306" y="15729"/>
                      <a:pt x="8823" y="16648"/>
                      <a:pt x="9150" y="16337"/>
                    </a:cubicBezTo>
                    <a:cubicBezTo>
                      <a:pt x="9150" y="16461"/>
                      <a:pt x="8932" y="16633"/>
                      <a:pt x="8994" y="16414"/>
                    </a:cubicBezTo>
                    <a:cubicBezTo>
                      <a:pt x="8870" y="16570"/>
                      <a:pt x="8885" y="16555"/>
                      <a:pt x="8901" y="16414"/>
                    </a:cubicBezTo>
                    <a:cubicBezTo>
                      <a:pt x="8495" y="16565"/>
                      <a:pt x="8153" y="16851"/>
                      <a:pt x="7934" y="17225"/>
                    </a:cubicBezTo>
                    <a:lnTo>
                      <a:pt x="7934" y="17225"/>
                    </a:lnTo>
                    <a:lnTo>
                      <a:pt x="7934" y="17225"/>
                    </a:lnTo>
                    <a:cubicBezTo>
                      <a:pt x="7934" y="17225"/>
                      <a:pt x="7934" y="17085"/>
                      <a:pt x="7934" y="17007"/>
                    </a:cubicBezTo>
                    <a:cubicBezTo>
                      <a:pt x="7810" y="17225"/>
                      <a:pt x="7794" y="17506"/>
                      <a:pt x="7591" y="17693"/>
                    </a:cubicBezTo>
                    <a:lnTo>
                      <a:pt x="7591" y="17693"/>
                    </a:lnTo>
                    <a:lnTo>
                      <a:pt x="7498" y="17833"/>
                    </a:lnTo>
                    <a:cubicBezTo>
                      <a:pt x="7531" y="17730"/>
                      <a:pt x="7584" y="17635"/>
                      <a:pt x="7654" y="17552"/>
                    </a:cubicBezTo>
                    <a:cubicBezTo>
                      <a:pt x="7654" y="17552"/>
                      <a:pt x="7654" y="17474"/>
                      <a:pt x="7654" y="17443"/>
                    </a:cubicBezTo>
                    <a:lnTo>
                      <a:pt x="7654" y="17443"/>
                    </a:lnTo>
                    <a:cubicBezTo>
                      <a:pt x="7654" y="17256"/>
                      <a:pt x="7810" y="17116"/>
                      <a:pt x="7872" y="16944"/>
                    </a:cubicBezTo>
                    <a:cubicBezTo>
                      <a:pt x="7755" y="17096"/>
                      <a:pt x="7660" y="17264"/>
                      <a:pt x="7591" y="17443"/>
                    </a:cubicBezTo>
                    <a:cubicBezTo>
                      <a:pt x="7591" y="17350"/>
                      <a:pt x="7591" y="17272"/>
                      <a:pt x="7591" y="17178"/>
                    </a:cubicBezTo>
                    <a:cubicBezTo>
                      <a:pt x="7591" y="17085"/>
                      <a:pt x="7591" y="17771"/>
                      <a:pt x="7591" y="17537"/>
                    </a:cubicBezTo>
                    <a:cubicBezTo>
                      <a:pt x="7591" y="17537"/>
                      <a:pt x="7591" y="17786"/>
                      <a:pt x="7591" y="17724"/>
                    </a:cubicBezTo>
                    <a:cubicBezTo>
                      <a:pt x="7591" y="17662"/>
                      <a:pt x="7591" y="17802"/>
                      <a:pt x="7591" y="17833"/>
                    </a:cubicBezTo>
                    <a:cubicBezTo>
                      <a:pt x="7600" y="17792"/>
                      <a:pt x="7600" y="17749"/>
                      <a:pt x="7591" y="17708"/>
                    </a:cubicBezTo>
                    <a:cubicBezTo>
                      <a:pt x="7591" y="17833"/>
                      <a:pt x="7716" y="17895"/>
                      <a:pt x="7591" y="18020"/>
                    </a:cubicBezTo>
                    <a:lnTo>
                      <a:pt x="7591" y="18020"/>
                    </a:lnTo>
                    <a:cubicBezTo>
                      <a:pt x="7591" y="18145"/>
                      <a:pt x="7420" y="18285"/>
                      <a:pt x="7451" y="18129"/>
                    </a:cubicBezTo>
                    <a:cubicBezTo>
                      <a:pt x="7482" y="17973"/>
                      <a:pt x="7451" y="18223"/>
                      <a:pt x="7451" y="18238"/>
                    </a:cubicBezTo>
                    <a:cubicBezTo>
                      <a:pt x="7451" y="18254"/>
                      <a:pt x="7529" y="18238"/>
                      <a:pt x="7545" y="18363"/>
                    </a:cubicBezTo>
                    <a:cubicBezTo>
                      <a:pt x="7536" y="18332"/>
                      <a:pt x="7536" y="18300"/>
                      <a:pt x="7545" y="18269"/>
                    </a:cubicBezTo>
                    <a:cubicBezTo>
                      <a:pt x="7545" y="18363"/>
                      <a:pt x="7545" y="18410"/>
                      <a:pt x="7420" y="18472"/>
                    </a:cubicBezTo>
                    <a:cubicBezTo>
                      <a:pt x="7295" y="18534"/>
                      <a:pt x="7420" y="18472"/>
                      <a:pt x="7420" y="18379"/>
                    </a:cubicBezTo>
                    <a:cubicBezTo>
                      <a:pt x="7420" y="18285"/>
                      <a:pt x="7420" y="18379"/>
                      <a:pt x="7420" y="18379"/>
                    </a:cubicBezTo>
                    <a:cubicBezTo>
                      <a:pt x="7420" y="18379"/>
                      <a:pt x="7420" y="18581"/>
                      <a:pt x="7420" y="18503"/>
                    </a:cubicBezTo>
                    <a:lnTo>
                      <a:pt x="7420" y="18503"/>
                    </a:lnTo>
                    <a:lnTo>
                      <a:pt x="7420" y="18503"/>
                    </a:lnTo>
                    <a:lnTo>
                      <a:pt x="7420" y="18503"/>
                    </a:lnTo>
                    <a:cubicBezTo>
                      <a:pt x="6344" y="18503"/>
                      <a:pt x="5861" y="22681"/>
                      <a:pt x="5970" y="20857"/>
                    </a:cubicBezTo>
                    <a:cubicBezTo>
                      <a:pt x="5970" y="20857"/>
                      <a:pt x="5970" y="20857"/>
                      <a:pt x="5970" y="20857"/>
                    </a:cubicBezTo>
                    <a:cubicBezTo>
                      <a:pt x="5970" y="20857"/>
                      <a:pt x="5970" y="20857"/>
                      <a:pt x="5970" y="20857"/>
                    </a:cubicBezTo>
                    <a:lnTo>
                      <a:pt x="5970" y="20857"/>
                    </a:lnTo>
                    <a:cubicBezTo>
                      <a:pt x="5970" y="20764"/>
                      <a:pt x="5970" y="20608"/>
                      <a:pt x="5970" y="20514"/>
                    </a:cubicBezTo>
                    <a:cubicBezTo>
                      <a:pt x="5970" y="20421"/>
                      <a:pt x="5970" y="20514"/>
                      <a:pt x="5970" y="20608"/>
                    </a:cubicBezTo>
                    <a:cubicBezTo>
                      <a:pt x="5970" y="20701"/>
                      <a:pt x="6220" y="19766"/>
                      <a:pt x="5970" y="19735"/>
                    </a:cubicBezTo>
                    <a:cubicBezTo>
                      <a:pt x="5721" y="19704"/>
                      <a:pt x="5877" y="19828"/>
                      <a:pt x="5970" y="19735"/>
                    </a:cubicBezTo>
                    <a:lnTo>
                      <a:pt x="5970" y="19735"/>
                    </a:lnTo>
                    <a:lnTo>
                      <a:pt x="5970" y="19735"/>
                    </a:lnTo>
                    <a:cubicBezTo>
                      <a:pt x="5970" y="19735"/>
                      <a:pt x="5970" y="19579"/>
                      <a:pt x="5970" y="19641"/>
                    </a:cubicBezTo>
                    <a:cubicBezTo>
                      <a:pt x="5978" y="19605"/>
                      <a:pt x="5978" y="19568"/>
                      <a:pt x="5970" y="19532"/>
                    </a:cubicBezTo>
                    <a:lnTo>
                      <a:pt x="5970" y="19532"/>
                    </a:lnTo>
                    <a:cubicBezTo>
                      <a:pt x="5970" y="19532"/>
                      <a:pt x="5970" y="19454"/>
                      <a:pt x="5970" y="19407"/>
                    </a:cubicBezTo>
                    <a:lnTo>
                      <a:pt x="5970" y="19407"/>
                    </a:lnTo>
                    <a:cubicBezTo>
                      <a:pt x="5970" y="19407"/>
                      <a:pt x="5970" y="19407"/>
                      <a:pt x="5970" y="19407"/>
                    </a:cubicBezTo>
                    <a:cubicBezTo>
                      <a:pt x="5970" y="19407"/>
                      <a:pt x="5970" y="19407"/>
                      <a:pt x="5970" y="19407"/>
                    </a:cubicBezTo>
                    <a:cubicBezTo>
                      <a:pt x="5970" y="19407"/>
                      <a:pt x="5970" y="19314"/>
                      <a:pt x="5970" y="19267"/>
                    </a:cubicBezTo>
                    <a:lnTo>
                      <a:pt x="5970" y="19361"/>
                    </a:lnTo>
                    <a:cubicBezTo>
                      <a:pt x="5970" y="19267"/>
                      <a:pt x="5799" y="19361"/>
                      <a:pt x="5783" y="19470"/>
                    </a:cubicBezTo>
                    <a:lnTo>
                      <a:pt x="5783" y="19470"/>
                    </a:lnTo>
                    <a:cubicBezTo>
                      <a:pt x="5783" y="19641"/>
                      <a:pt x="5783" y="19750"/>
                      <a:pt x="5783" y="19828"/>
                    </a:cubicBezTo>
                    <a:cubicBezTo>
                      <a:pt x="5783" y="19906"/>
                      <a:pt x="5783" y="19485"/>
                      <a:pt x="5783" y="19750"/>
                    </a:cubicBezTo>
                    <a:lnTo>
                      <a:pt x="5783" y="19657"/>
                    </a:lnTo>
                    <a:cubicBezTo>
                      <a:pt x="5783" y="19548"/>
                      <a:pt x="5783" y="19485"/>
                      <a:pt x="5783" y="19376"/>
                    </a:cubicBezTo>
                    <a:cubicBezTo>
                      <a:pt x="5783" y="19267"/>
                      <a:pt x="5783" y="19376"/>
                      <a:pt x="5783" y="19376"/>
                    </a:cubicBezTo>
                    <a:cubicBezTo>
                      <a:pt x="5783" y="19594"/>
                      <a:pt x="5783" y="19127"/>
                      <a:pt x="5612" y="19376"/>
                    </a:cubicBezTo>
                    <a:cubicBezTo>
                      <a:pt x="5612" y="19376"/>
                      <a:pt x="5612" y="19236"/>
                      <a:pt x="5612" y="19174"/>
                    </a:cubicBezTo>
                    <a:cubicBezTo>
                      <a:pt x="5612" y="19111"/>
                      <a:pt x="5612" y="19283"/>
                      <a:pt x="5612" y="19174"/>
                    </a:cubicBezTo>
                    <a:cubicBezTo>
                      <a:pt x="5621" y="19251"/>
                      <a:pt x="5621" y="19330"/>
                      <a:pt x="5612" y="19407"/>
                    </a:cubicBezTo>
                    <a:lnTo>
                      <a:pt x="5612" y="19407"/>
                    </a:lnTo>
                    <a:lnTo>
                      <a:pt x="5612" y="19517"/>
                    </a:lnTo>
                    <a:lnTo>
                      <a:pt x="5612" y="19517"/>
                    </a:lnTo>
                    <a:cubicBezTo>
                      <a:pt x="5612" y="19594"/>
                      <a:pt x="5612" y="19517"/>
                      <a:pt x="5612" y="19517"/>
                    </a:cubicBezTo>
                    <a:lnTo>
                      <a:pt x="5612" y="19517"/>
                    </a:lnTo>
                    <a:cubicBezTo>
                      <a:pt x="5612" y="19517"/>
                      <a:pt x="5612" y="19517"/>
                      <a:pt x="5612" y="19517"/>
                    </a:cubicBezTo>
                    <a:lnTo>
                      <a:pt x="5612" y="19517"/>
                    </a:lnTo>
                    <a:cubicBezTo>
                      <a:pt x="5612" y="19517"/>
                      <a:pt x="5612" y="19610"/>
                      <a:pt x="5612" y="19610"/>
                    </a:cubicBezTo>
                    <a:lnTo>
                      <a:pt x="5612" y="19610"/>
                    </a:lnTo>
                    <a:cubicBezTo>
                      <a:pt x="5523" y="19891"/>
                      <a:pt x="5450" y="20178"/>
                      <a:pt x="5393" y="20467"/>
                    </a:cubicBezTo>
                    <a:cubicBezTo>
                      <a:pt x="5393" y="20467"/>
                      <a:pt x="5393" y="20358"/>
                      <a:pt x="5393" y="20327"/>
                    </a:cubicBezTo>
                    <a:cubicBezTo>
                      <a:pt x="5393" y="20296"/>
                      <a:pt x="5300" y="20748"/>
                      <a:pt x="5393" y="20530"/>
                    </a:cubicBezTo>
                    <a:cubicBezTo>
                      <a:pt x="5298" y="20978"/>
                      <a:pt x="5225" y="21430"/>
                      <a:pt x="5175" y="21886"/>
                    </a:cubicBezTo>
                    <a:cubicBezTo>
                      <a:pt x="5144" y="22306"/>
                      <a:pt x="5144" y="22728"/>
                      <a:pt x="5175" y="23149"/>
                    </a:cubicBezTo>
                    <a:cubicBezTo>
                      <a:pt x="5175" y="23149"/>
                      <a:pt x="5175" y="23149"/>
                      <a:pt x="5175" y="23149"/>
                    </a:cubicBezTo>
                    <a:cubicBezTo>
                      <a:pt x="5181" y="23123"/>
                      <a:pt x="5181" y="23096"/>
                      <a:pt x="5175" y="23071"/>
                    </a:cubicBezTo>
                    <a:lnTo>
                      <a:pt x="5175" y="23071"/>
                    </a:lnTo>
                    <a:cubicBezTo>
                      <a:pt x="5175" y="23071"/>
                      <a:pt x="5175" y="23071"/>
                      <a:pt x="5175" y="23071"/>
                    </a:cubicBezTo>
                    <a:lnTo>
                      <a:pt x="5175" y="23071"/>
                    </a:lnTo>
                    <a:cubicBezTo>
                      <a:pt x="5175" y="23071"/>
                      <a:pt x="5175" y="23195"/>
                      <a:pt x="5175" y="23258"/>
                    </a:cubicBezTo>
                    <a:lnTo>
                      <a:pt x="5175" y="23258"/>
                    </a:lnTo>
                    <a:lnTo>
                      <a:pt x="5175" y="23258"/>
                    </a:lnTo>
                    <a:cubicBezTo>
                      <a:pt x="5183" y="23190"/>
                      <a:pt x="5183" y="23122"/>
                      <a:pt x="5175" y="23055"/>
                    </a:cubicBezTo>
                    <a:lnTo>
                      <a:pt x="5175" y="23055"/>
                    </a:lnTo>
                    <a:cubicBezTo>
                      <a:pt x="5316" y="22915"/>
                      <a:pt x="5175" y="22244"/>
                      <a:pt x="5440" y="22385"/>
                    </a:cubicBezTo>
                    <a:cubicBezTo>
                      <a:pt x="5440" y="22385"/>
                      <a:pt x="5440" y="22291"/>
                      <a:pt x="5440" y="22385"/>
                    </a:cubicBezTo>
                    <a:cubicBezTo>
                      <a:pt x="5440" y="22478"/>
                      <a:pt x="5440" y="22385"/>
                      <a:pt x="5440" y="22385"/>
                    </a:cubicBezTo>
                    <a:cubicBezTo>
                      <a:pt x="5440" y="22385"/>
                      <a:pt x="5440" y="22525"/>
                      <a:pt x="5440" y="22385"/>
                    </a:cubicBezTo>
                    <a:cubicBezTo>
                      <a:pt x="5534" y="22650"/>
                      <a:pt x="5269" y="22946"/>
                      <a:pt x="5316" y="23227"/>
                    </a:cubicBezTo>
                    <a:cubicBezTo>
                      <a:pt x="5316" y="23227"/>
                      <a:pt x="5316" y="23476"/>
                      <a:pt x="5316" y="23523"/>
                    </a:cubicBezTo>
                    <a:cubicBezTo>
                      <a:pt x="5277" y="23863"/>
                      <a:pt x="4970" y="24107"/>
                      <a:pt x="4630" y="24068"/>
                    </a:cubicBezTo>
                    <a:cubicBezTo>
                      <a:pt x="4290" y="24029"/>
                      <a:pt x="4045" y="23723"/>
                      <a:pt x="4084" y="23382"/>
                    </a:cubicBezTo>
                    <a:cubicBezTo>
                      <a:pt x="4084" y="23554"/>
                      <a:pt x="4084" y="23912"/>
                      <a:pt x="3991" y="24193"/>
                    </a:cubicBezTo>
                    <a:lnTo>
                      <a:pt x="3991" y="24193"/>
                    </a:lnTo>
                    <a:cubicBezTo>
                      <a:pt x="3975" y="24254"/>
                      <a:pt x="3975" y="24319"/>
                      <a:pt x="3991" y="24380"/>
                    </a:cubicBezTo>
                    <a:lnTo>
                      <a:pt x="3991" y="24380"/>
                    </a:lnTo>
                    <a:cubicBezTo>
                      <a:pt x="3991" y="24380"/>
                      <a:pt x="3991" y="24380"/>
                      <a:pt x="3991" y="24458"/>
                    </a:cubicBezTo>
                    <a:cubicBezTo>
                      <a:pt x="3991" y="24536"/>
                      <a:pt x="4178" y="24629"/>
                      <a:pt x="4162" y="24458"/>
                    </a:cubicBezTo>
                    <a:cubicBezTo>
                      <a:pt x="4162" y="24552"/>
                      <a:pt x="4162" y="24598"/>
                      <a:pt x="4287" y="24676"/>
                    </a:cubicBezTo>
                    <a:lnTo>
                      <a:pt x="4287" y="24676"/>
                    </a:lnTo>
                    <a:cubicBezTo>
                      <a:pt x="4300" y="24722"/>
                      <a:pt x="4300" y="24771"/>
                      <a:pt x="4287" y="24817"/>
                    </a:cubicBezTo>
                    <a:cubicBezTo>
                      <a:pt x="4287" y="24692"/>
                      <a:pt x="4287" y="24817"/>
                      <a:pt x="4287" y="24910"/>
                    </a:cubicBezTo>
                    <a:lnTo>
                      <a:pt x="4287" y="24910"/>
                    </a:lnTo>
                    <a:cubicBezTo>
                      <a:pt x="4326" y="25121"/>
                      <a:pt x="4326" y="25338"/>
                      <a:pt x="4287" y="25549"/>
                    </a:cubicBezTo>
                    <a:lnTo>
                      <a:pt x="4287" y="25549"/>
                    </a:lnTo>
                    <a:cubicBezTo>
                      <a:pt x="4295" y="25689"/>
                      <a:pt x="4295" y="25830"/>
                      <a:pt x="4287" y="25970"/>
                    </a:cubicBezTo>
                    <a:cubicBezTo>
                      <a:pt x="4287" y="25970"/>
                      <a:pt x="4287" y="25877"/>
                      <a:pt x="4287" y="25814"/>
                    </a:cubicBezTo>
                    <a:cubicBezTo>
                      <a:pt x="4279" y="25923"/>
                      <a:pt x="4279" y="26033"/>
                      <a:pt x="4287" y="26142"/>
                    </a:cubicBezTo>
                    <a:cubicBezTo>
                      <a:pt x="4296" y="26116"/>
                      <a:pt x="4296" y="26089"/>
                      <a:pt x="4287" y="26064"/>
                    </a:cubicBezTo>
                    <a:cubicBezTo>
                      <a:pt x="4262" y="26192"/>
                      <a:pt x="4262" y="26325"/>
                      <a:pt x="4287" y="26453"/>
                    </a:cubicBezTo>
                    <a:cubicBezTo>
                      <a:pt x="4287" y="26375"/>
                      <a:pt x="4489" y="27264"/>
                      <a:pt x="4474" y="26983"/>
                    </a:cubicBezTo>
                    <a:cubicBezTo>
                      <a:pt x="4661" y="27467"/>
                      <a:pt x="4692" y="26438"/>
                      <a:pt x="5113" y="27654"/>
                    </a:cubicBezTo>
                    <a:cubicBezTo>
                      <a:pt x="5113" y="27560"/>
                      <a:pt x="5113" y="26625"/>
                      <a:pt x="5409" y="26859"/>
                    </a:cubicBezTo>
                    <a:cubicBezTo>
                      <a:pt x="5409" y="27061"/>
                      <a:pt x="5409" y="26859"/>
                      <a:pt x="5409" y="26749"/>
                    </a:cubicBezTo>
                    <a:cubicBezTo>
                      <a:pt x="5409" y="26640"/>
                      <a:pt x="5674" y="26594"/>
                      <a:pt x="5768" y="26531"/>
                    </a:cubicBezTo>
                    <a:cubicBezTo>
                      <a:pt x="5877" y="26734"/>
                      <a:pt x="5768" y="27077"/>
                      <a:pt x="5768" y="27357"/>
                    </a:cubicBezTo>
                    <a:cubicBezTo>
                      <a:pt x="6017" y="28043"/>
                      <a:pt x="5768" y="26937"/>
                      <a:pt x="6048" y="26921"/>
                    </a:cubicBezTo>
                    <a:cubicBezTo>
                      <a:pt x="6329" y="26905"/>
                      <a:pt x="5923" y="26812"/>
                      <a:pt x="6048" y="26718"/>
                    </a:cubicBezTo>
                    <a:cubicBezTo>
                      <a:pt x="6173" y="26625"/>
                      <a:pt x="6048" y="26921"/>
                      <a:pt x="6157" y="26983"/>
                    </a:cubicBezTo>
                    <a:cubicBezTo>
                      <a:pt x="6292" y="26991"/>
                      <a:pt x="6399" y="27098"/>
                      <a:pt x="6407" y="27233"/>
                    </a:cubicBezTo>
                    <a:cubicBezTo>
                      <a:pt x="6298" y="27420"/>
                      <a:pt x="6672" y="27357"/>
                      <a:pt x="6781" y="27404"/>
                    </a:cubicBezTo>
                    <a:cubicBezTo>
                      <a:pt x="6859" y="27825"/>
                      <a:pt x="7342" y="27264"/>
                      <a:pt x="7498" y="27591"/>
                    </a:cubicBezTo>
                    <a:cubicBezTo>
                      <a:pt x="7264" y="27591"/>
                      <a:pt x="7326" y="27591"/>
                      <a:pt x="7498" y="27809"/>
                    </a:cubicBezTo>
                    <a:cubicBezTo>
                      <a:pt x="7498" y="27654"/>
                      <a:pt x="8043" y="28230"/>
                      <a:pt x="7654" y="28230"/>
                    </a:cubicBezTo>
                    <a:cubicBezTo>
                      <a:pt x="8064" y="28271"/>
                      <a:pt x="8367" y="28630"/>
                      <a:pt x="8340" y="29041"/>
                    </a:cubicBezTo>
                    <a:cubicBezTo>
                      <a:pt x="8340" y="28745"/>
                      <a:pt x="8667" y="29181"/>
                      <a:pt x="8667" y="29322"/>
                    </a:cubicBezTo>
                    <a:cubicBezTo>
                      <a:pt x="8589" y="29134"/>
                      <a:pt x="9493" y="29322"/>
                      <a:pt x="9275" y="29524"/>
                    </a:cubicBezTo>
                    <a:cubicBezTo>
                      <a:pt x="9478" y="29368"/>
                      <a:pt x="9961" y="29976"/>
                      <a:pt x="9852" y="30085"/>
                    </a:cubicBezTo>
                    <a:cubicBezTo>
                      <a:pt x="9992" y="29852"/>
                      <a:pt x="10101" y="30615"/>
                      <a:pt x="10257" y="30787"/>
                    </a:cubicBezTo>
                    <a:cubicBezTo>
                      <a:pt x="10413" y="30958"/>
                      <a:pt x="9961" y="31364"/>
                      <a:pt x="10023" y="31644"/>
                    </a:cubicBezTo>
                    <a:cubicBezTo>
                      <a:pt x="10023" y="31410"/>
                      <a:pt x="10195" y="31426"/>
                      <a:pt x="10117" y="31644"/>
                    </a:cubicBezTo>
                    <a:cubicBezTo>
                      <a:pt x="10117" y="31644"/>
                      <a:pt x="10226" y="31364"/>
                      <a:pt x="10288" y="31519"/>
                    </a:cubicBezTo>
                    <a:cubicBezTo>
                      <a:pt x="10350" y="31675"/>
                      <a:pt x="10288" y="31519"/>
                      <a:pt x="10288" y="31519"/>
                    </a:cubicBezTo>
                    <a:cubicBezTo>
                      <a:pt x="10288" y="31052"/>
                      <a:pt x="11255" y="31894"/>
                      <a:pt x="10288" y="31847"/>
                    </a:cubicBezTo>
                    <a:cubicBezTo>
                      <a:pt x="10662" y="31847"/>
                      <a:pt x="10475" y="32049"/>
                      <a:pt x="10600" y="32330"/>
                    </a:cubicBezTo>
                    <a:cubicBezTo>
                      <a:pt x="10475" y="31831"/>
                      <a:pt x="10958" y="31379"/>
                      <a:pt x="11270" y="31831"/>
                    </a:cubicBezTo>
                    <a:cubicBezTo>
                      <a:pt x="11270" y="31831"/>
                      <a:pt x="11442" y="31925"/>
                      <a:pt x="11473" y="32003"/>
                    </a:cubicBezTo>
                    <a:cubicBezTo>
                      <a:pt x="11504" y="32081"/>
                      <a:pt x="11785" y="32096"/>
                      <a:pt x="11691" y="32190"/>
                    </a:cubicBezTo>
                    <a:cubicBezTo>
                      <a:pt x="11598" y="32283"/>
                      <a:pt x="11691" y="32424"/>
                      <a:pt x="11769" y="32517"/>
                    </a:cubicBezTo>
                    <a:cubicBezTo>
                      <a:pt x="11847" y="32611"/>
                      <a:pt x="11769" y="32205"/>
                      <a:pt x="11769" y="32408"/>
                    </a:cubicBezTo>
                    <a:cubicBezTo>
                      <a:pt x="11769" y="32268"/>
                      <a:pt x="11894" y="32314"/>
                      <a:pt x="11769" y="32221"/>
                    </a:cubicBezTo>
                    <a:cubicBezTo>
                      <a:pt x="11644" y="32127"/>
                      <a:pt x="12128" y="32455"/>
                      <a:pt x="12128" y="32346"/>
                    </a:cubicBezTo>
                    <a:cubicBezTo>
                      <a:pt x="12128" y="32237"/>
                      <a:pt x="12128" y="32346"/>
                      <a:pt x="12221" y="32439"/>
                    </a:cubicBezTo>
                    <a:cubicBezTo>
                      <a:pt x="12315" y="32533"/>
                      <a:pt x="12221" y="32439"/>
                      <a:pt x="12221" y="32439"/>
                    </a:cubicBezTo>
                    <a:lnTo>
                      <a:pt x="12221" y="32439"/>
                    </a:lnTo>
                    <a:lnTo>
                      <a:pt x="12221" y="32439"/>
                    </a:lnTo>
                    <a:cubicBezTo>
                      <a:pt x="13468" y="32813"/>
                      <a:pt x="14918" y="33998"/>
                      <a:pt x="13546" y="35323"/>
                    </a:cubicBezTo>
                    <a:cubicBezTo>
                      <a:pt x="13546" y="35245"/>
                      <a:pt x="13546" y="35105"/>
                      <a:pt x="13546" y="35229"/>
                    </a:cubicBezTo>
                    <a:cubicBezTo>
                      <a:pt x="13546" y="35354"/>
                      <a:pt x="13453" y="35229"/>
                      <a:pt x="13437" y="35229"/>
                    </a:cubicBezTo>
                    <a:lnTo>
                      <a:pt x="13437" y="35229"/>
                    </a:lnTo>
                    <a:cubicBezTo>
                      <a:pt x="13733" y="35744"/>
                      <a:pt x="14263" y="37770"/>
                      <a:pt x="13437" y="37614"/>
                    </a:cubicBezTo>
                    <a:cubicBezTo>
                      <a:pt x="13437" y="37614"/>
                      <a:pt x="13172" y="37614"/>
                      <a:pt x="13437" y="37614"/>
                    </a:cubicBezTo>
                    <a:cubicBezTo>
                      <a:pt x="13702" y="37614"/>
                      <a:pt x="13297" y="37614"/>
                      <a:pt x="13250" y="37614"/>
                    </a:cubicBezTo>
                    <a:cubicBezTo>
                      <a:pt x="13203" y="37614"/>
                      <a:pt x="13250" y="37692"/>
                      <a:pt x="13250" y="37833"/>
                    </a:cubicBezTo>
                    <a:cubicBezTo>
                      <a:pt x="13032" y="37661"/>
                      <a:pt x="12938" y="38113"/>
                      <a:pt x="12845" y="38082"/>
                    </a:cubicBezTo>
                    <a:cubicBezTo>
                      <a:pt x="12751" y="38051"/>
                      <a:pt x="12845" y="38082"/>
                      <a:pt x="12845" y="38082"/>
                    </a:cubicBezTo>
                    <a:cubicBezTo>
                      <a:pt x="12845" y="38082"/>
                      <a:pt x="12969" y="38160"/>
                      <a:pt x="12845" y="38160"/>
                    </a:cubicBezTo>
                    <a:cubicBezTo>
                      <a:pt x="12720" y="38160"/>
                      <a:pt x="12845" y="38160"/>
                      <a:pt x="12845" y="38160"/>
                    </a:cubicBezTo>
                    <a:cubicBezTo>
                      <a:pt x="12845" y="38160"/>
                      <a:pt x="13110" y="38503"/>
                      <a:pt x="13078" y="38597"/>
                    </a:cubicBezTo>
                    <a:cubicBezTo>
                      <a:pt x="13047" y="38690"/>
                      <a:pt x="13078" y="39657"/>
                      <a:pt x="13078" y="39329"/>
                    </a:cubicBezTo>
                    <a:cubicBezTo>
                      <a:pt x="13078" y="39329"/>
                      <a:pt x="13078" y="39329"/>
                      <a:pt x="13078" y="39251"/>
                    </a:cubicBezTo>
                    <a:cubicBezTo>
                      <a:pt x="13078" y="39173"/>
                      <a:pt x="13078" y="39127"/>
                      <a:pt x="13078" y="39127"/>
                    </a:cubicBezTo>
                    <a:cubicBezTo>
                      <a:pt x="13012" y="39062"/>
                      <a:pt x="12939" y="39004"/>
                      <a:pt x="12860" y="38955"/>
                    </a:cubicBezTo>
                    <a:cubicBezTo>
                      <a:pt x="12915" y="39005"/>
                      <a:pt x="12962" y="39063"/>
                      <a:pt x="13000" y="39127"/>
                    </a:cubicBezTo>
                    <a:cubicBezTo>
                      <a:pt x="13000" y="39127"/>
                      <a:pt x="13110" y="39345"/>
                      <a:pt x="13000" y="39251"/>
                    </a:cubicBezTo>
                    <a:cubicBezTo>
                      <a:pt x="13484" y="39968"/>
                      <a:pt x="13000" y="40171"/>
                      <a:pt x="12564" y="39766"/>
                    </a:cubicBezTo>
                    <a:lnTo>
                      <a:pt x="13203" y="40311"/>
                    </a:lnTo>
                    <a:lnTo>
                      <a:pt x="13203" y="40311"/>
                    </a:lnTo>
                    <a:cubicBezTo>
                      <a:pt x="13283" y="40379"/>
                      <a:pt x="13347" y="40464"/>
                      <a:pt x="13390" y="40561"/>
                    </a:cubicBezTo>
                    <a:lnTo>
                      <a:pt x="13390" y="40561"/>
                    </a:lnTo>
                    <a:cubicBezTo>
                      <a:pt x="13390" y="40561"/>
                      <a:pt x="13562" y="40794"/>
                      <a:pt x="13390" y="40732"/>
                    </a:cubicBezTo>
                    <a:cubicBezTo>
                      <a:pt x="13219" y="40670"/>
                      <a:pt x="13063" y="40732"/>
                      <a:pt x="12969" y="40732"/>
                    </a:cubicBezTo>
                    <a:cubicBezTo>
                      <a:pt x="12876" y="40732"/>
                      <a:pt x="13141" y="40872"/>
                      <a:pt x="13219" y="40950"/>
                    </a:cubicBezTo>
                    <a:lnTo>
                      <a:pt x="13219" y="40950"/>
                    </a:lnTo>
                    <a:cubicBezTo>
                      <a:pt x="13530" y="41262"/>
                      <a:pt x="13608" y="41356"/>
                      <a:pt x="13125" y="41106"/>
                    </a:cubicBezTo>
                    <a:cubicBezTo>
                      <a:pt x="13269" y="41259"/>
                      <a:pt x="13438" y="41385"/>
                      <a:pt x="13624" y="41480"/>
                    </a:cubicBezTo>
                    <a:cubicBezTo>
                      <a:pt x="13624" y="41480"/>
                      <a:pt x="13624" y="41480"/>
                      <a:pt x="13624" y="41480"/>
                    </a:cubicBezTo>
                    <a:lnTo>
                      <a:pt x="13624" y="41480"/>
                    </a:lnTo>
                    <a:cubicBezTo>
                      <a:pt x="13889" y="41683"/>
                      <a:pt x="13733" y="41699"/>
                      <a:pt x="14263" y="42073"/>
                    </a:cubicBezTo>
                    <a:lnTo>
                      <a:pt x="14263" y="42073"/>
                    </a:lnTo>
                    <a:lnTo>
                      <a:pt x="14263" y="42073"/>
                    </a:lnTo>
                    <a:lnTo>
                      <a:pt x="14263" y="42073"/>
                    </a:lnTo>
                    <a:cubicBezTo>
                      <a:pt x="14513" y="42353"/>
                      <a:pt x="14918" y="42416"/>
                      <a:pt x="15183" y="42665"/>
                    </a:cubicBezTo>
                    <a:lnTo>
                      <a:pt x="15183" y="42665"/>
                    </a:lnTo>
                    <a:lnTo>
                      <a:pt x="15183" y="42665"/>
                    </a:lnTo>
                    <a:lnTo>
                      <a:pt x="15183" y="42665"/>
                    </a:lnTo>
                    <a:lnTo>
                      <a:pt x="15323" y="42774"/>
                    </a:lnTo>
                    <a:lnTo>
                      <a:pt x="15323" y="42774"/>
                    </a:lnTo>
                    <a:lnTo>
                      <a:pt x="15510" y="42899"/>
                    </a:lnTo>
                    <a:cubicBezTo>
                      <a:pt x="15510" y="42899"/>
                      <a:pt x="15510" y="42899"/>
                      <a:pt x="15417" y="42899"/>
                    </a:cubicBezTo>
                    <a:cubicBezTo>
                      <a:pt x="15680" y="43066"/>
                      <a:pt x="15956" y="43212"/>
                      <a:pt x="16243" y="43335"/>
                    </a:cubicBezTo>
                    <a:lnTo>
                      <a:pt x="16243" y="43335"/>
                    </a:lnTo>
                    <a:cubicBezTo>
                      <a:pt x="16149" y="43335"/>
                      <a:pt x="16243" y="43335"/>
                      <a:pt x="16243" y="43335"/>
                    </a:cubicBezTo>
                    <a:lnTo>
                      <a:pt x="16243" y="43335"/>
                    </a:lnTo>
                    <a:cubicBezTo>
                      <a:pt x="16389" y="43422"/>
                      <a:pt x="16539" y="43501"/>
                      <a:pt x="16695" y="43569"/>
                    </a:cubicBezTo>
                    <a:lnTo>
                      <a:pt x="16492" y="43569"/>
                    </a:lnTo>
                    <a:close/>
                    <a:moveTo>
                      <a:pt x="18659" y="9182"/>
                    </a:moveTo>
                    <a:cubicBezTo>
                      <a:pt x="18410" y="9446"/>
                      <a:pt x="18659" y="9088"/>
                      <a:pt x="18659" y="9057"/>
                    </a:cubicBezTo>
                    <a:cubicBezTo>
                      <a:pt x="18659" y="9026"/>
                      <a:pt x="18534" y="9197"/>
                      <a:pt x="18410" y="9369"/>
                    </a:cubicBezTo>
                    <a:cubicBezTo>
                      <a:pt x="17989" y="9150"/>
                      <a:pt x="17770" y="9961"/>
                      <a:pt x="17505" y="9899"/>
                    </a:cubicBezTo>
                    <a:cubicBezTo>
                      <a:pt x="17724" y="10132"/>
                      <a:pt x="17334" y="9899"/>
                      <a:pt x="17381" y="10132"/>
                    </a:cubicBezTo>
                    <a:cubicBezTo>
                      <a:pt x="17256" y="9945"/>
                      <a:pt x="17381" y="10132"/>
                      <a:pt x="17381" y="10132"/>
                    </a:cubicBezTo>
                    <a:cubicBezTo>
                      <a:pt x="17381" y="9899"/>
                      <a:pt x="17381" y="10397"/>
                      <a:pt x="17240" y="10132"/>
                    </a:cubicBezTo>
                    <a:cubicBezTo>
                      <a:pt x="16960" y="10132"/>
                      <a:pt x="17240" y="10507"/>
                      <a:pt x="16866" y="10507"/>
                    </a:cubicBezTo>
                    <a:cubicBezTo>
                      <a:pt x="16866" y="10507"/>
                      <a:pt x="16633" y="10912"/>
                      <a:pt x="16570" y="10803"/>
                    </a:cubicBezTo>
                    <a:cubicBezTo>
                      <a:pt x="16508" y="10694"/>
                      <a:pt x="16196" y="11302"/>
                      <a:pt x="16336" y="10990"/>
                    </a:cubicBezTo>
                    <a:cubicBezTo>
                      <a:pt x="15915" y="11255"/>
                      <a:pt x="16430" y="10834"/>
                      <a:pt x="16103" y="10896"/>
                    </a:cubicBezTo>
                    <a:cubicBezTo>
                      <a:pt x="16492" y="10600"/>
                      <a:pt x="16399" y="10662"/>
                      <a:pt x="15884" y="10694"/>
                    </a:cubicBezTo>
                    <a:cubicBezTo>
                      <a:pt x="15962" y="10267"/>
                      <a:pt x="16121" y="9860"/>
                      <a:pt x="16352" y="9493"/>
                    </a:cubicBezTo>
                    <a:cubicBezTo>
                      <a:pt x="16352" y="9275"/>
                      <a:pt x="16539" y="9493"/>
                      <a:pt x="16742" y="9197"/>
                    </a:cubicBezTo>
                    <a:cubicBezTo>
                      <a:pt x="16321" y="9353"/>
                      <a:pt x="16321" y="9197"/>
                      <a:pt x="16742" y="8839"/>
                    </a:cubicBezTo>
                    <a:cubicBezTo>
                      <a:pt x="16648" y="8839"/>
                      <a:pt x="16523" y="8839"/>
                      <a:pt x="16648" y="8839"/>
                    </a:cubicBezTo>
                    <a:cubicBezTo>
                      <a:pt x="16773" y="8839"/>
                      <a:pt x="16648" y="8745"/>
                      <a:pt x="17209" y="8480"/>
                    </a:cubicBezTo>
                    <a:cubicBezTo>
                      <a:pt x="16071" y="8901"/>
                      <a:pt x="17599" y="8137"/>
                      <a:pt x="17038" y="8262"/>
                    </a:cubicBezTo>
                    <a:cubicBezTo>
                      <a:pt x="17490" y="7856"/>
                      <a:pt x="17381" y="8433"/>
                      <a:pt x="17537" y="8262"/>
                    </a:cubicBezTo>
                    <a:cubicBezTo>
                      <a:pt x="17240" y="8262"/>
                      <a:pt x="17848" y="8044"/>
                      <a:pt x="17537" y="8137"/>
                    </a:cubicBezTo>
                    <a:cubicBezTo>
                      <a:pt x="17646" y="8028"/>
                      <a:pt x="17396" y="8137"/>
                      <a:pt x="17194" y="8137"/>
                    </a:cubicBezTo>
                    <a:cubicBezTo>
                      <a:pt x="17630" y="7747"/>
                      <a:pt x="17459" y="8246"/>
                      <a:pt x="17786" y="7872"/>
                    </a:cubicBezTo>
                    <a:cubicBezTo>
                      <a:pt x="17505" y="8028"/>
                      <a:pt x="17552" y="7763"/>
                      <a:pt x="17786" y="7872"/>
                    </a:cubicBezTo>
                    <a:cubicBezTo>
                      <a:pt x="17976" y="7744"/>
                      <a:pt x="18154" y="7598"/>
                      <a:pt x="18316" y="7436"/>
                    </a:cubicBezTo>
                    <a:cubicBezTo>
                      <a:pt x="18145" y="7436"/>
                      <a:pt x="18316" y="6594"/>
                      <a:pt x="18472" y="7217"/>
                    </a:cubicBezTo>
                    <a:cubicBezTo>
                      <a:pt x="18472" y="7217"/>
                      <a:pt x="18612" y="6999"/>
                      <a:pt x="18659" y="7046"/>
                    </a:cubicBezTo>
                    <a:cubicBezTo>
                      <a:pt x="18706" y="7093"/>
                      <a:pt x="19189" y="6344"/>
                      <a:pt x="18768" y="6703"/>
                    </a:cubicBezTo>
                    <a:cubicBezTo>
                      <a:pt x="18347" y="7061"/>
                      <a:pt x="19205" y="6282"/>
                      <a:pt x="19735" y="5752"/>
                    </a:cubicBezTo>
                    <a:cubicBezTo>
                      <a:pt x="21013" y="4770"/>
                      <a:pt x="19735" y="4988"/>
                      <a:pt x="20795" y="4521"/>
                    </a:cubicBezTo>
                    <a:cubicBezTo>
                      <a:pt x="20950" y="4521"/>
                      <a:pt x="21060" y="4599"/>
                      <a:pt x="21169" y="4396"/>
                    </a:cubicBezTo>
                    <a:cubicBezTo>
                      <a:pt x="23897" y="3227"/>
                      <a:pt x="23211" y="3866"/>
                      <a:pt x="24286" y="3351"/>
                    </a:cubicBezTo>
                    <a:cubicBezTo>
                      <a:pt x="23974" y="3523"/>
                      <a:pt x="24286" y="3351"/>
                      <a:pt x="24395" y="3351"/>
                    </a:cubicBezTo>
                    <a:cubicBezTo>
                      <a:pt x="24052" y="3585"/>
                      <a:pt x="24239" y="3351"/>
                      <a:pt x="24146" y="3585"/>
                    </a:cubicBezTo>
                    <a:cubicBezTo>
                      <a:pt x="24286" y="3757"/>
                      <a:pt x="23382" y="3850"/>
                      <a:pt x="23787" y="3819"/>
                    </a:cubicBezTo>
                    <a:cubicBezTo>
                      <a:pt x="24193" y="3788"/>
                      <a:pt x="23647" y="3944"/>
                      <a:pt x="23787" y="3928"/>
                    </a:cubicBezTo>
                    <a:cubicBezTo>
                      <a:pt x="24099" y="3679"/>
                      <a:pt x="23787" y="4069"/>
                      <a:pt x="23663" y="4084"/>
                    </a:cubicBezTo>
                    <a:cubicBezTo>
                      <a:pt x="22946" y="4645"/>
                      <a:pt x="24536" y="3398"/>
                      <a:pt x="23943" y="4193"/>
                    </a:cubicBezTo>
                    <a:cubicBezTo>
                      <a:pt x="23694" y="4396"/>
                      <a:pt x="23429" y="4411"/>
                      <a:pt x="23647" y="4489"/>
                    </a:cubicBezTo>
                    <a:cubicBezTo>
                      <a:pt x="23298" y="4794"/>
                      <a:pt x="23057" y="5205"/>
                      <a:pt x="22961" y="5659"/>
                    </a:cubicBezTo>
                    <a:cubicBezTo>
                      <a:pt x="22868" y="5331"/>
                      <a:pt x="22462" y="5830"/>
                      <a:pt x="22790" y="5783"/>
                    </a:cubicBezTo>
                    <a:cubicBezTo>
                      <a:pt x="22540" y="5986"/>
                      <a:pt x="22790" y="5783"/>
                      <a:pt x="22696" y="5986"/>
                    </a:cubicBezTo>
                    <a:cubicBezTo>
                      <a:pt x="22603" y="6189"/>
                      <a:pt x="22540" y="5986"/>
                      <a:pt x="22462" y="5986"/>
                    </a:cubicBezTo>
                    <a:cubicBezTo>
                      <a:pt x="22385" y="5986"/>
                      <a:pt x="22462" y="6313"/>
                      <a:pt x="22462" y="6142"/>
                    </a:cubicBezTo>
                    <a:cubicBezTo>
                      <a:pt x="22462" y="6235"/>
                      <a:pt x="22743" y="6469"/>
                      <a:pt x="22462" y="6516"/>
                    </a:cubicBezTo>
                    <a:cubicBezTo>
                      <a:pt x="22026" y="6126"/>
                      <a:pt x="22462" y="6874"/>
                      <a:pt x="22182" y="6796"/>
                    </a:cubicBezTo>
                    <a:cubicBezTo>
                      <a:pt x="21745" y="7015"/>
                      <a:pt x="22182" y="6407"/>
                      <a:pt x="21901" y="6796"/>
                    </a:cubicBezTo>
                    <a:cubicBezTo>
                      <a:pt x="21901" y="6609"/>
                      <a:pt x="21605" y="6906"/>
                      <a:pt x="21543" y="6921"/>
                    </a:cubicBezTo>
                    <a:cubicBezTo>
                      <a:pt x="21917" y="6921"/>
                      <a:pt x="21543" y="7046"/>
                      <a:pt x="21543" y="7061"/>
                    </a:cubicBezTo>
                    <a:cubicBezTo>
                      <a:pt x="21995" y="7061"/>
                      <a:pt x="21543" y="7186"/>
                      <a:pt x="21621" y="7249"/>
                    </a:cubicBezTo>
                    <a:cubicBezTo>
                      <a:pt x="22182" y="7342"/>
                      <a:pt x="21340" y="8807"/>
                      <a:pt x="21402" y="7498"/>
                    </a:cubicBezTo>
                    <a:cubicBezTo>
                      <a:pt x="20904" y="7171"/>
                      <a:pt x="21761" y="7856"/>
                      <a:pt x="20997" y="7732"/>
                    </a:cubicBezTo>
                    <a:cubicBezTo>
                      <a:pt x="21137" y="7841"/>
                      <a:pt x="20576" y="7966"/>
                      <a:pt x="20810" y="7919"/>
                    </a:cubicBezTo>
                    <a:cubicBezTo>
                      <a:pt x="21044" y="7872"/>
                      <a:pt x="21169" y="8090"/>
                      <a:pt x="20810" y="8028"/>
                    </a:cubicBezTo>
                    <a:cubicBezTo>
                      <a:pt x="20452" y="7966"/>
                      <a:pt x="21855" y="8028"/>
                      <a:pt x="21278" y="8277"/>
                    </a:cubicBezTo>
                    <a:cubicBezTo>
                      <a:pt x="21278" y="8277"/>
                      <a:pt x="21028" y="8464"/>
                      <a:pt x="20997" y="8418"/>
                    </a:cubicBezTo>
                    <a:cubicBezTo>
                      <a:pt x="20966" y="8371"/>
                      <a:pt x="19844" y="8948"/>
                      <a:pt x="19922" y="8527"/>
                    </a:cubicBezTo>
                    <a:cubicBezTo>
                      <a:pt x="20000" y="8106"/>
                      <a:pt x="19922" y="8745"/>
                      <a:pt x="19812" y="8761"/>
                    </a:cubicBezTo>
                    <a:cubicBezTo>
                      <a:pt x="19407" y="8792"/>
                      <a:pt x="18706" y="9556"/>
                      <a:pt x="18659" y="9182"/>
                    </a:cubicBezTo>
                    <a:close/>
                    <a:moveTo>
                      <a:pt x="21480" y="10382"/>
                    </a:moveTo>
                    <a:cubicBezTo>
                      <a:pt x="21480" y="10507"/>
                      <a:pt x="21293" y="10475"/>
                      <a:pt x="21247" y="10382"/>
                    </a:cubicBezTo>
                    <a:cubicBezTo>
                      <a:pt x="21200" y="10288"/>
                      <a:pt x="21075" y="10382"/>
                      <a:pt x="21122" y="10273"/>
                    </a:cubicBezTo>
                    <a:cubicBezTo>
                      <a:pt x="21169" y="10164"/>
                      <a:pt x="21044" y="10273"/>
                      <a:pt x="21122" y="10273"/>
                    </a:cubicBezTo>
                    <a:cubicBezTo>
                      <a:pt x="21030" y="10296"/>
                      <a:pt x="20933" y="10296"/>
                      <a:pt x="20841" y="10273"/>
                    </a:cubicBezTo>
                    <a:cubicBezTo>
                      <a:pt x="20841" y="10273"/>
                      <a:pt x="20841" y="10273"/>
                      <a:pt x="20841" y="10273"/>
                    </a:cubicBezTo>
                    <a:cubicBezTo>
                      <a:pt x="20841" y="10273"/>
                      <a:pt x="20841" y="10273"/>
                      <a:pt x="20841" y="10195"/>
                    </a:cubicBezTo>
                    <a:cubicBezTo>
                      <a:pt x="20841" y="10117"/>
                      <a:pt x="20841" y="10195"/>
                      <a:pt x="20841" y="10195"/>
                    </a:cubicBezTo>
                    <a:cubicBezTo>
                      <a:pt x="20841" y="10195"/>
                      <a:pt x="20982" y="10070"/>
                      <a:pt x="21060" y="10117"/>
                    </a:cubicBezTo>
                    <a:cubicBezTo>
                      <a:pt x="21137" y="10164"/>
                      <a:pt x="20826" y="10210"/>
                      <a:pt x="21060" y="10008"/>
                    </a:cubicBezTo>
                    <a:cubicBezTo>
                      <a:pt x="21060" y="10086"/>
                      <a:pt x="20919" y="10008"/>
                      <a:pt x="21060" y="9930"/>
                    </a:cubicBezTo>
                    <a:cubicBezTo>
                      <a:pt x="21200" y="9852"/>
                      <a:pt x="20826" y="9930"/>
                      <a:pt x="20826" y="9821"/>
                    </a:cubicBezTo>
                    <a:cubicBezTo>
                      <a:pt x="20826" y="9711"/>
                      <a:pt x="21060" y="9743"/>
                      <a:pt x="21075" y="9821"/>
                    </a:cubicBezTo>
                    <a:cubicBezTo>
                      <a:pt x="21091" y="9899"/>
                      <a:pt x="21231" y="9821"/>
                      <a:pt x="21247" y="9727"/>
                    </a:cubicBezTo>
                    <a:cubicBezTo>
                      <a:pt x="21262" y="9634"/>
                      <a:pt x="21137" y="9727"/>
                      <a:pt x="21247" y="9727"/>
                    </a:cubicBezTo>
                    <a:cubicBezTo>
                      <a:pt x="21356" y="9727"/>
                      <a:pt x="21137" y="9727"/>
                      <a:pt x="21247" y="9649"/>
                    </a:cubicBezTo>
                    <a:cubicBezTo>
                      <a:pt x="21356" y="9571"/>
                      <a:pt x="21247" y="9649"/>
                      <a:pt x="21247" y="9649"/>
                    </a:cubicBezTo>
                    <a:cubicBezTo>
                      <a:pt x="21247" y="9649"/>
                      <a:pt x="21247" y="9727"/>
                      <a:pt x="21247" y="9649"/>
                    </a:cubicBezTo>
                    <a:cubicBezTo>
                      <a:pt x="21247" y="9571"/>
                      <a:pt x="21247" y="9649"/>
                      <a:pt x="21247" y="9649"/>
                    </a:cubicBezTo>
                    <a:cubicBezTo>
                      <a:pt x="21075" y="9867"/>
                      <a:pt x="20982" y="9509"/>
                      <a:pt x="21137" y="9649"/>
                    </a:cubicBezTo>
                    <a:cubicBezTo>
                      <a:pt x="21293" y="9789"/>
                      <a:pt x="21137" y="9509"/>
                      <a:pt x="21137" y="9649"/>
                    </a:cubicBezTo>
                    <a:cubicBezTo>
                      <a:pt x="21137" y="9789"/>
                      <a:pt x="21137" y="9649"/>
                      <a:pt x="21137" y="9649"/>
                    </a:cubicBezTo>
                    <a:cubicBezTo>
                      <a:pt x="21137" y="9649"/>
                      <a:pt x="21137" y="9556"/>
                      <a:pt x="21137" y="9649"/>
                    </a:cubicBezTo>
                    <a:cubicBezTo>
                      <a:pt x="21137" y="9743"/>
                      <a:pt x="21137" y="9509"/>
                      <a:pt x="21137" y="9649"/>
                    </a:cubicBezTo>
                    <a:cubicBezTo>
                      <a:pt x="21137" y="9789"/>
                      <a:pt x="21247" y="9649"/>
                      <a:pt x="21137" y="9649"/>
                    </a:cubicBezTo>
                    <a:cubicBezTo>
                      <a:pt x="21028" y="9649"/>
                      <a:pt x="21231" y="9649"/>
                      <a:pt x="21137" y="9649"/>
                    </a:cubicBezTo>
                    <a:cubicBezTo>
                      <a:pt x="21044" y="9649"/>
                      <a:pt x="20982" y="9509"/>
                      <a:pt x="21137" y="9509"/>
                    </a:cubicBezTo>
                    <a:cubicBezTo>
                      <a:pt x="20872" y="9415"/>
                      <a:pt x="21231" y="9415"/>
                      <a:pt x="21137" y="9602"/>
                    </a:cubicBezTo>
                    <a:cubicBezTo>
                      <a:pt x="21137" y="9602"/>
                      <a:pt x="21137" y="9602"/>
                      <a:pt x="21137" y="9602"/>
                    </a:cubicBezTo>
                    <a:cubicBezTo>
                      <a:pt x="21137" y="9602"/>
                      <a:pt x="21137" y="9711"/>
                      <a:pt x="21137" y="9602"/>
                    </a:cubicBezTo>
                    <a:cubicBezTo>
                      <a:pt x="21147" y="9627"/>
                      <a:pt x="21147" y="9655"/>
                      <a:pt x="21137" y="9680"/>
                    </a:cubicBezTo>
                    <a:cubicBezTo>
                      <a:pt x="21137" y="9680"/>
                      <a:pt x="21137" y="9758"/>
                      <a:pt x="21137" y="9789"/>
                    </a:cubicBezTo>
                    <a:cubicBezTo>
                      <a:pt x="21137" y="9821"/>
                      <a:pt x="21137" y="9789"/>
                      <a:pt x="21137" y="9867"/>
                    </a:cubicBezTo>
                    <a:cubicBezTo>
                      <a:pt x="21156" y="9800"/>
                      <a:pt x="21201" y="9744"/>
                      <a:pt x="21262" y="9711"/>
                    </a:cubicBezTo>
                    <a:cubicBezTo>
                      <a:pt x="21262" y="9899"/>
                      <a:pt x="21262" y="9509"/>
                      <a:pt x="21418" y="9493"/>
                    </a:cubicBezTo>
                    <a:cubicBezTo>
                      <a:pt x="21574" y="9478"/>
                      <a:pt x="21418" y="9602"/>
                      <a:pt x="21418" y="9618"/>
                    </a:cubicBezTo>
                    <a:cubicBezTo>
                      <a:pt x="21418" y="9634"/>
                      <a:pt x="21496" y="9493"/>
                      <a:pt x="21590" y="9509"/>
                    </a:cubicBezTo>
                    <a:cubicBezTo>
                      <a:pt x="21628" y="9598"/>
                      <a:pt x="21628" y="9700"/>
                      <a:pt x="21590" y="9789"/>
                    </a:cubicBezTo>
                    <a:cubicBezTo>
                      <a:pt x="21683" y="9711"/>
                      <a:pt x="21590" y="9493"/>
                      <a:pt x="21745" y="9540"/>
                    </a:cubicBezTo>
                    <a:cubicBezTo>
                      <a:pt x="21901" y="9587"/>
                      <a:pt x="21886" y="9415"/>
                      <a:pt x="21870" y="9540"/>
                    </a:cubicBezTo>
                    <a:cubicBezTo>
                      <a:pt x="21855" y="9665"/>
                      <a:pt x="22104" y="9275"/>
                      <a:pt x="22073" y="9540"/>
                    </a:cubicBezTo>
                    <a:cubicBezTo>
                      <a:pt x="22042" y="9805"/>
                      <a:pt x="22182" y="9400"/>
                      <a:pt x="22260" y="9540"/>
                    </a:cubicBezTo>
                    <a:cubicBezTo>
                      <a:pt x="22338" y="9680"/>
                      <a:pt x="22104" y="9680"/>
                      <a:pt x="22260" y="9649"/>
                    </a:cubicBezTo>
                    <a:cubicBezTo>
                      <a:pt x="22416" y="9618"/>
                      <a:pt x="22166" y="9649"/>
                      <a:pt x="22260" y="9805"/>
                    </a:cubicBezTo>
                    <a:cubicBezTo>
                      <a:pt x="22353" y="9961"/>
                      <a:pt x="22260" y="9805"/>
                      <a:pt x="22260" y="9805"/>
                    </a:cubicBezTo>
                    <a:cubicBezTo>
                      <a:pt x="22462" y="9805"/>
                      <a:pt x="22338" y="9805"/>
                      <a:pt x="22260" y="9914"/>
                    </a:cubicBezTo>
                    <a:cubicBezTo>
                      <a:pt x="22182" y="10023"/>
                      <a:pt x="22260" y="10054"/>
                      <a:pt x="22260" y="10117"/>
                    </a:cubicBezTo>
                    <a:cubicBezTo>
                      <a:pt x="22120" y="9914"/>
                      <a:pt x="22260" y="10382"/>
                      <a:pt x="22042" y="10117"/>
                    </a:cubicBezTo>
                    <a:cubicBezTo>
                      <a:pt x="22042" y="10226"/>
                      <a:pt x="21839" y="10226"/>
                      <a:pt x="21761" y="10335"/>
                    </a:cubicBezTo>
                    <a:lnTo>
                      <a:pt x="21761" y="10335"/>
                    </a:lnTo>
                    <a:cubicBezTo>
                      <a:pt x="21761" y="10335"/>
                      <a:pt x="21636" y="10335"/>
                      <a:pt x="21590" y="10335"/>
                    </a:cubicBezTo>
                    <a:cubicBezTo>
                      <a:pt x="21543" y="10335"/>
                      <a:pt x="21590" y="10335"/>
                      <a:pt x="21590" y="10335"/>
                    </a:cubicBezTo>
                    <a:cubicBezTo>
                      <a:pt x="21590" y="10335"/>
                      <a:pt x="21543" y="10522"/>
                      <a:pt x="21480" y="10382"/>
                    </a:cubicBezTo>
                    <a:close/>
                    <a:moveTo>
                      <a:pt x="34652" y="37692"/>
                    </a:moveTo>
                    <a:cubicBezTo>
                      <a:pt x="34543" y="37412"/>
                      <a:pt x="35011" y="37100"/>
                      <a:pt x="35214" y="36882"/>
                    </a:cubicBezTo>
                    <a:cubicBezTo>
                      <a:pt x="35416" y="36664"/>
                      <a:pt x="35416" y="36056"/>
                      <a:pt x="35884" y="35869"/>
                    </a:cubicBezTo>
                    <a:lnTo>
                      <a:pt x="35884" y="35869"/>
                    </a:lnTo>
                    <a:cubicBezTo>
                      <a:pt x="35884" y="35869"/>
                      <a:pt x="35884" y="35869"/>
                      <a:pt x="35884" y="35869"/>
                    </a:cubicBezTo>
                    <a:cubicBezTo>
                      <a:pt x="35884" y="35869"/>
                      <a:pt x="35977" y="35869"/>
                      <a:pt x="36102" y="35744"/>
                    </a:cubicBezTo>
                    <a:cubicBezTo>
                      <a:pt x="35993" y="36009"/>
                      <a:pt x="36367" y="35463"/>
                      <a:pt x="36258" y="35744"/>
                    </a:cubicBezTo>
                    <a:cubicBezTo>
                      <a:pt x="36149" y="36024"/>
                      <a:pt x="36258" y="35744"/>
                      <a:pt x="36258" y="35744"/>
                    </a:cubicBezTo>
                    <a:cubicBezTo>
                      <a:pt x="36258" y="35744"/>
                      <a:pt x="36258" y="35744"/>
                      <a:pt x="36258" y="35619"/>
                    </a:cubicBezTo>
                    <a:cubicBezTo>
                      <a:pt x="36258" y="35494"/>
                      <a:pt x="36367" y="35619"/>
                      <a:pt x="36258" y="35619"/>
                    </a:cubicBezTo>
                    <a:lnTo>
                      <a:pt x="36258" y="35619"/>
                    </a:lnTo>
                    <a:cubicBezTo>
                      <a:pt x="36258" y="35619"/>
                      <a:pt x="36258" y="35619"/>
                      <a:pt x="36258" y="35728"/>
                    </a:cubicBezTo>
                    <a:cubicBezTo>
                      <a:pt x="36258" y="35837"/>
                      <a:pt x="36383" y="35572"/>
                      <a:pt x="36398" y="35635"/>
                    </a:cubicBezTo>
                    <a:cubicBezTo>
                      <a:pt x="36414" y="35697"/>
                      <a:pt x="36398" y="35635"/>
                      <a:pt x="36398" y="35526"/>
                    </a:cubicBezTo>
                    <a:cubicBezTo>
                      <a:pt x="36398" y="35417"/>
                      <a:pt x="36538" y="35526"/>
                      <a:pt x="36398" y="35432"/>
                    </a:cubicBezTo>
                    <a:cubicBezTo>
                      <a:pt x="36258" y="35339"/>
                      <a:pt x="36398" y="35526"/>
                      <a:pt x="36538" y="35339"/>
                    </a:cubicBezTo>
                    <a:cubicBezTo>
                      <a:pt x="36679" y="35152"/>
                      <a:pt x="36788" y="35152"/>
                      <a:pt x="36741" y="34996"/>
                    </a:cubicBezTo>
                    <a:cubicBezTo>
                      <a:pt x="36694" y="34840"/>
                      <a:pt x="36835" y="34996"/>
                      <a:pt x="36913" y="34887"/>
                    </a:cubicBezTo>
                    <a:cubicBezTo>
                      <a:pt x="36991" y="34777"/>
                      <a:pt x="36913" y="35089"/>
                      <a:pt x="36913" y="35089"/>
                    </a:cubicBezTo>
                    <a:cubicBezTo>
                      <a:pt x="37521" y="35323"/>
                      <a:pt x="34044" y="39532"/>
                      <a:pt x="34652" y="37692"/>
                    </a:cubicBezTo>
                    <a:close/>
                    <a:moveTo>
                      <a:pt x="44613" y="24131"/>
                    </a:moveTo>
                    <a:cubicBezTo>
                      <a:pt x="44613" y="24131"/>
                      <a:pt x="44613" y="24131"/>
                      <a:pt x="44613" y="24131"/>
                    </a:cubicBezTo>
                    <a:cubicBezTo>
                      <a:pt x="44296" y="25340"/>
                      <a:pt x="44062" y="26569"/>
                      <a:pt x="43912" y="27809"/>
                    </a:cubicBezTo>
                    <a:cubicBezTo>
                      <a:pt x="43912" y="27716"/>
                      <a:pt x="43756" y="27934"/>
                      <a:pt x="43756" y="27997"/>
                    </a:cubicBezTo>
                    <a:cubicBezTo>
                      <a:pt x="43584" y="28651"/>
                      <a:pt x="43179" y="24380"/>
                      <a:pt x="43210" y="24006"/>
                    </a:cubicBezTo>
                    <a:cubicBezTo>
                      <a:pt x="43070" y="24006"/>
                      <a:pt x="43210" y="23834"/>
                      <a:pt x="43210" y="23741"/>
                    </a:cubicBezTo>
                    <a:cubicBezTo>
                      <a:pt x="43210" y="23647"/>
                      <a:pt x="43132" y="23741"/>
                      <a:pt x="43132" y="23741"/>
                    </a:cubicBezTo>
                    <a:cubicBezTo>
                      <a:pt x="43132" y="24099"/>
                      <a:pt x="42992" y="24832"/>
                      <a:pt x="42743" y="24146"/>
                    </a:cubicBezTo>
                    <a:cubicBezTo>
                      <a:pt x="42743" y="24146"/>
                      <a:pt x="42571" y="23897"/>
                      <a:pt x="42649" y="23944"/>
                    </a:cubicBezTo>
                    <a:lnTo>
                      <a:pt x="42649" y="23944"/>
                    </a:lnTo>
                    <a:cubicBezTo>
                      <a:pt x="42649" y="24084"/>
                      <a:pt x="42649" y="23944"/>
                      <a:pt x="42649" y="23944"/>
                    </a:cubicBezTo>
                    <a:cubicBezTo>
                      <a:pt x="42649" y="23944"/>
                      <a:pt x="42836" y="23663"/>
                      <a:pt x="42727" y="23632"/>
                    </a:cubicBezTo>
                    <a:cubicBezTo>
                      <a:pt x="42727" y="23944"/>
                      <a:pt x="42275" y="23632"/>
                      <a:pt x="42478" y="23445"/>
                    </a:cubicBezTo>
                    <a:cubicBezTo>
                      <a:pt x="42478" y="23445"/>
                      <a:pt x="42478" y="23538"/>
                      <a:pt x="42368" y="23569"/>
                    </a:cubicBezTo>
                    <a:cubicBezTo>
                      <a:pt x="42259" y="23601"/>
                      <a:pt x="42368" y="23492"/>
                      <a:pt x="42244" y="23569"/>
                    </a:cubicBezTo>
                    <a:cubicBezTo>
                      <a:pt x="42119" y="23647"/>
                      <a:pt x="42244" y="23320"/>
                      <a:pt x="42135" y="23195"/>
                    </a:cubicBezTo>
                    <a:cubicBezTo>
                      <a:pt x="41963" y="23351"/>
                      <a:pt x="42135" y="22977"/>
                      <a:pt x="41854" y="23086"/>
                    </a:cubicBezTo>
                    <a:cubicBezTo>
                      <a:pt x="41854" y="23086"/>
                      <a:pt x="41714" y="23164"/>
                      <a:pt x="41667" y="23242"/>
                    </a:cubicBezTo>
                    <a:cubicBezTo>
                      <a:pt x="41620" y="23320"/>
                      <a:pt x="41573" y="23242"/>
                      <a:pt x="41511" y="23242"/>
                    </a:cubicBezTo>
                    <a:cubicBezTo>
                      <a:pt x="41449" y="23242"/>
                      <a:pt x="41386" y="23242"/>
                      <a:pt x="41340" y="23382"/>
                    </a:cubicBezTo>
                    <a:cubicBezTo>
                      <a:pt x="41293" y="23523"/>
                      <a:pt x="41340" y="23382"/>
                      <a:pt x="41231" y="23382"/>
                    </a:cubicBezTo>
                    <a:cubicBezTo>
                      <a:pt x="41121" y="23382"/>
                      <a:pt x="41075" y="23492"/>
                      <a:pt x="41028" y="23304"/>
                    </a:cubicBezTo>
                    <a:cubicBezTo>
                      <a:pt x="41028" y="23398"/>
                      <a:pt x="40669" y="23304"/>
                      <a:pt x="40591" y="23304"/>
                    </a:cubicBezTo>
                    <a:cubicBezTo>
                      <a:pt x="40513" y="23304"/>
                      <a:pt x="40451" y="23304"/>
                      <a:pt x="40342" y="23304"/>
                    </a:cubicBezTo>
                    <a:cubicBezTo>
                      <a:pt x="40093" y="22400"/>
                      <a:pt x="40061" y="23180"/>
                      <a:pt x="39625" y="23055"/>
                    </a:cubicBezTo>
                    <a:cubicBezTo>
                      <a:pt x="39531" y="23055"/>
                      <a:pt x="39251" y="22946"/>
                      <a:pt x="39282" y="22821"/>
                    </a:cubicBezTo>
                    <a:cubicBezTo>
                      <a:pt x="39313" y="22697"/>
                      <a:pt x="38877" y="22821"/>
                      <a:pt x="38846" y="22509"/>
                    </a:cubicBezTo>
                    <a:cubicBezTo>
                      <a:pt x="38846" y="22509"/>
                      <a:pt x="38736" y="22509"/>
                      <a:pt x="38846" y="22509"/>
                    </a:cubicBezTo>
                    <a:cubicBezTo>
                      <a:pt x="38690" y="22509"/>
                      <a:pt x="38627" y="21948"/>
                      <a:pt x="38456" y="22167"/>
                    </a:cubicBezTo>
                    <a:cubicBezTo>
                      <a:pt x="38456" y="22089"/>
                      <a:pt x="38316" y="22167"/>
                      <a:pt x="38362" y="22026"/>
                    </a:cubicBezTo>
                    <a:cubicBezTo>
                      <a:pt x="38409" y="21886"/>
                      <a:pt x="38362" y="22026"/>
                      <a:pt x="38362" y="22026"/>
                    </a:cubicBezTo>
                    <a:cubicBezTo>
                      <a:pt x="38362" y="22026"/>
                      <a:pt x="38362" y="22229"/>
                      <a:pt x="38362" y="22026"/>
                    </a:cubicBezTo>
                    <a:cubicBezTo>
                      <a:pt x="38362" y="21824"/>
                      <a:pt x="38362" y="22307"/>
                      <a:pt x="38206" y="22322"/>
                    </a:cubicBezTo>
                    <a:lnTo>
                      <a:pt x="38316" y="22322"/>
                    </a:lnTo>
                    <a:lnTo>
                      <a:pt x="38316" y="22322"/>
                    </a:lnTo>
                    <a:cubicBezTo>
                      <a:pt x="38316" y="22322"/>
                      <a:pt x="38316" y="22416"/>
                      <a:pt x="38316" y="22447"/>
                    </a:cubicBezTo>
                    <a:cubicBezTo>
                      <a:pt x="38316" y="22478"/>
                      <a:pt x="38316" y="22541"/>
                      <a:pt x="38316" y="22447"/>
                    </a:cubicBezTo>
                    <a:cubicBezTo>
                      <a:pt x="38351" y="22594"/>
                      <a:pt x="38447" y="22719"/>
                      <a:pt x="38581" y="22790"/>
                    </a:cubicBezTo>
                    <a:cubicBezTo>
                      <a:pt x="38581" y="22790"/>
                      <a:pt x="38861" y="23086"/>
                      <a:pt x="38814" y="23242"/>
                    </a:cubicBezTo>
                    <a:lnTo>
                      <a:pt x="38814" y="23242"/>
                    </a:lnTo>
                    <a:cubicBezTo>
                      <a:pt x="39017" y="23460"/>
                      <a:pt x="39048" y="23881"/>
                      <a:pt x="39064" y="23398"/>
                    </a:cubicBezTo>
                    <a:cubicBezTo>
                      <a:pt x="39064" y="23273"/>
                      <a:pt x="39064" y="23086"/>
                      <a:pt x="39173" y="23258"/>
                    </a:cubicBezTo>
                    <a:cubicBezTo>
                      <a:pt x="39144" y="23402"/>
                      <a:pt x="39144" y="23550"/>
                      <a:pt x="39173" y="23694"/>
                    </a:cubicBezTo>
                    <a:cubicBezTo>
                      <a:pt x="39173" y="23694"/>
                      <a:pt x="39173" y="23866"/>
                      <a:pt x="39173" y="23788"/>
                    </a:cubicBezTo>
                    <a:lnTo>
                      <a:pt x="39173" y="23928"/>
                    </a:lnTo>
                    <a:cubicBezTo>
                      <a:pt x="39360" y="23757"/>
                      <a:pt x="39609" y="23928"/>
                      <a:pt x="39718" y="23679"/>
                    </a:cubicBezTo>
                    <a:lnTo>
                      <a:pt x="39718" y="23679"/>
                    </a:lnTo>
                    <a:cubicBezTo>
                      <a:pt x="39718" y="23445"/>
                      <a:pt x="39952" y="23227"/>
                      <a:pt x="39983" y="22977"/>
                    </a:cubicBezTo>
                    <a:lnTo>
                      <a:pt x="39983" y="22977"/>
                    </a:lnTo>
                    <a:cubicBezTo>
                      <a:pt x="39983" y="22977"/>
                      <a:pt x="39983" y="22821"/>
                      <a:pt x="39983" y="22884"/>
                    </a:cubicBezTo>
                    <a:cubicBezTo>
                      <a:pt x="39983" y="22946"/>
                      <a:pt x="39983" y="23195"/>
                      <a:pt x="39983" y="23149"/>
                    </a:cubicBezTo>
                    <a:cubicBezTo>
                      <a:pt x="39983" y="23460"/>
                      <a:pt x="40155" y="23850"/>
                      <a:pt x="40513" y="23679"/>
                    </a:cubicBezTo>
                    <a:cubicBezTo>
                      <a:pt x="40790" y="23996"/>
                      <a:pt x="40790" y="24468"/>
                      <a:pt x="40513" y="24785"/>
                    </a:cubicBezTo>
                    <a:cubicBezTo>
                      <a:pt x="40513" y="24598"/>
                      <a:pt x="40373" y="25191"/>
                      <a:pt x="40513" y="25300"/>
                    </a:cubicBezTo>
                    <a:cubicBezTo>
                      <a:pt x="40139" y="25300"/>
                      <a:pt x="40389" y="25674"/>
                      <a:pt x="40030" y="25752"/>
                    </a:cubicBezTo>
                    <a:cubicBezTo>
                      <a:pt x="40030" y="25861"/>
                      <a:pt x="40030" y="25954"/>
                      <a:pt x="40030" y="26064"/>
                    </a:cubicBezTo>
                    <a:cubicBezTo>
                      <a:pt x="39792" y="26098"/>
                      <a:pt x="39579" y="26227"/>
                      <a:pt x="39438" y="26422"/>
                    </a:cubicBezTo>
                    <a:cubicBezTo>
                      <a:pt x="39438" y="26749"/>
                      <a:pt x="38955" y="26859"/>
                      <a:pt x="38736" y="27014"/>
                    </a:cubicBezTo>
                    <a:cubicBezTo>
                      <a:pt x="38518" y="27170"/>
                      <a:pt x="38565" y="27264"/>
                      <a:pt x="38440" y="27217"/>
                    </a:cubicBezTo>
                    <a:cubicBezTo>
                      <a:pt x="38341" y="27402"/>
                      <a:pt x="38130" y="27497"/>
                      <a:pt x="37926" y="27451"/>
                    </a:cubicBezTo>
                    <a:cubicBezTo>
                      <a:pt x="37797" y="27641"/>
                      <a:pt x="37592" y="27766"/>
                      <a:pt x="37365" y="27794"/>
                    </a:cubicBezTo>
                    <a:cubicBezTo>
                      <a:pt x="37240" y="27513"/>
                      <a:pt x="37365" y="27139"/>
                      <a:pt x="37115" y="26890"/>
                    </a:cubicBezTo>
                    <a:cubicBezTo>
                      <a:pt x="37349" y="26329"/>
                      <a:pt x="36538" y="25596"/>
                      <a:pt x="36164" y="25144"/>
                    </a:cubicBezTo>
                    <a:cubicBezTo>
                      <a:pt x="36164" y="24770"/>
                      <a:pt x="36071" y="24131"/>
                      <a:pt x="35650" y="24146"/>
                    </a:cubicBezTo>
                    <a:cubicBezTo>
                      <a:pt x="35494" y="23414"/>
                      <a:pt x="34637" y="23024"/>
                      <a:pt x="34793" y="22463"/>
                    </a:cubicBezTo>
                    <a:cubicBezTo>
                      <a:pt x="34684" y="22665"/>
                      <a:pt x="34793" y="22915"/>
                      <a:pt x="34668" y="23086"/>
                    </a:cubicBezTo>
                    <a:cubicBezTo>
                      <a:pt x="34438" y="22899"/>
                      <a:pt x="34238" y="22679"/>
                      <a:pt x="34076" y="22432"/>
                    </a:cubicBezTo>
                    <a:cubicBezTo>
                      <a:pt x="34341" y="23024"/>
                      <a:pt x="34761" y="23616"/>
                      <a:pt x="35104" y="24224"/>
                    </a:cubicBezTo>
                    <a:lnTo>
                      <a:pt x="35104" y="24224"/>
                    </a:lnTo>
                    <a:cubicBezTo>
                      <a:pt x="35138" y="24273"/>
                      <a:pt x="35180" y="24316"/>
                      <a:pt x="35229" y="24349"/>
                    </a:cubicBezTo>
                    <a:cubicBezTo>
                      <a:pt x="35229" y="24349"/>
                      <a:pt x="35136" y="24349"/>
                      <a:pt x="35120" y="24349"/>
                    </a:cubicBezTo>
                    <a:cubicBezTo>
                      <a:pt x="35120" y="24801"/>
                      <a:pt x="35603" y="24785"/>
                      <a:pt x="35681" y="25253"/>
                    </a:cubicBezTo>
                    <a:cubicBezTo>
                      <a:pt x="35556" y="25253"/>
                      <a:pt x="35775" y="25580"/>
                      <a:pt x="35681" y="25752"/>
                    </a:cubicBezTo>
                    <a:cubicBezTo>
                      <a:pt x="35588" y="25923"/>
                      <a:pt x="35977" y="26064"/>
                      <a:pt x="36040" y="26219"/>
                    </a:cubicBezTo>
                    <a:cubicBezTo>
                      <a:pt x="36102" y="26375"/>
                      <a:pt x="36196" y="26827"/>
                      <a:pt x="36320" y="26968"/>
                    </a:cubicBezTo>
                    <a:cubicBezTo>
                      <a:pt x="36445" y="27108"/>
                      <a:pt x="36429" y="27233"/>
                      <a:pt x="36320" y="27046"/>
                    </a:cubicBezTo>
                    <a:cubicBezTo>
                      <a:pt x="36211" y="26859"/>
                      <a:pt x="36320" y="27264"/>
                      <a:pt x="36476" y="27170"/>
                    </a:cubicBezTo>
                    <a:cubicBezTo>
                      <a:pt x="36819" y="27170"/>
                      <a:pt x="36944" y="27763"/>
                      <a:pt x="37146" y="27794"/>
                    </a:cubicBezTo>
                    <a:cubicBezTo>
                      <a:pt x="37349" y="27825"/>
                      <a:pt x="37146" y="27903"/>
                      <a:pt x="37240" y="27903"/>
                    </a:cubicBezTo>
                    <a:cubicBezTo>
                      <a:pt x="37242" y="28033"/>
                      <a:pt x="37150" y="28145"/>
                      <a:pt x="37022" y="28168"/>
                    </a:cubicBezTo>
                    <a:cubicBezTo>
                      <a:pt x="37240" y="28168"/>
                      <a:pt x="37287" y="28464"/>
                      <a:pt x="37505" y="28542"/>
                    </a:cubicBezTo>
                    <a:cubicBezTo>
                      <a:pt x="37918" y="28320"/>
                      <a:pt x="38358" y="28152"/>
                      <a:pt x="38814" y="28043"/>
                    </a:cubicBezTo>
                    <a:cubicBezTo>
                      <a:pt x="38894" y="27982"/>
                      <a:pt x="38962" y="27909"/>
                      <a:pt x="39017" y="27825"/>
                    </a:cubicBezTo>
                    <a:cubicBezTo>
                      <a:pt x="39173" y="27825"/>
                      <a:pt x="39017" y="28152"/>
                      <a:pt x="39017" y="28324"/>
                    </a:cubicBezTo>
                    <a:cubicBezTo>
                      <a:pt x="39017" y="28495"/>
                      <a:pt x="39017" y="28324"/>
                      <a:pt x="39017" y="28324"/>
                    </a:cubicBezTo>
                    <a:cubicBezTo>
                      <a:pt x="38736" y="30475"/>
                      <a:pt x="35541" y="31753"/>
                      <a:pt x="35323" y="33608"/>
                    </a:cubicBezTo>
                    <a:cubicBezTo>
                      <a:pt x="35323" y="33608"/>
                      <a:pt x="35136" y="33764"/>
                      <a:pt x="35214" y="33858"/>
                    </a:cubicBezTo>
                    <a:cubicBezTo>
                      <a:pt x="35291" y="33951"/>
                      <a:pt x="35026" y="34372"/>
                      <a:pt x="35214" y="34497"/>
                    </a:cubicBezTo>
                    <a:cubicBezTo>
                      <a:pt x="35058" y="34855"/>
                      <a:pt x="34933" y="35385"/>
                      <a:pt x="34808" y="35619"/>
                    </a:cubicBezTo>
                    <a:cubicBezTo>
                      <a:pt x="34684" y="35853"/>
                      <a:pt x="34621" y="35728"/>
                      <a:pt x="34808" y="35713"/>
                    </a:cubicBezTo>
                    <a:cubicBezTo>
                      <a:pt x="34543" y="36102"/>
                      <a:pt x="34044" y="36212"/>
                      <a:pt x="33686" y="36477"/>
                    </a:cubicBezTo>
                    <a:lnTo>
                      <a:pt x="33686" y="36477"/>
                    </a:lnTo>
                    <a:cubicBezTo>
                      <a:pt x="33489" y="36693"/>
                      <a:pt x="33235" y="36850"/>
                      <a:pt x="32953" y="36929"/>
                    </a:cubicBezTo>
                    <a:cubicBezTo>
                      <a:pt x="32979" y="36983"/>
                      <a:pt x="32979" y="37046"/>
                      <a:pt x="32953" y="37100"/>
                    </a:cubicBezTo>
                    <a:cubicBezTo>
                      <a:pt x="32953" y="37100"/>
                      <a:pt x="32953" y="37209"/>
                      <a:pt x="32953" y="37240"/>
                    </a:cubicBezTo>
                    <a:cubicBezTo>
                      <a:pt x="32953" y="37272"/>
                      <a:pt x="32953" y="37474"/>
                      <a:pt x="32953" y="37568"/>
                    </a:cubicBezTo>
                    <a:cubicBezTo>
                      <a:pt x="32953" y="37661"/>
                      <a:pt x="32953" y="37490"/>
                      <a:pt x="32953" y="37474"/>
                    </a:cubicBezTo>
                    <a:lnTo>
                      <a:pt x="32953" y="37474"/>
                    </a:lnTo>
                    <a:lnTo>
                      <a:pt x="32953" y="37474"/>
                    </a:lnTo>
                    <a:cubicBezTo>
                      <a:pt x="32953" y="37614"/>
                      <a:pt x="32782" y="37724"/>
                      <a:pt x="32719" y="37848"/>
                    </a:cubicBezTo>
                    <a:lnTo>
                      <a:pt x="32719" y="37848"/>
                    </a:lnTo>
                    <a:cubicBezTo>
                      <a:pt x="32548" y="38222"/>
                      <a:pt x="31878" y="38113"/>
                      <a:pt x="31769" y="38472"/>
                    </a:cubicBezTo>
                    <a:lnTo>
                      <a:pt x="31878" y="38472"/>
                    </a:lnTo>
                    <a:cubicBezTo>
                      <a:pt x="31839" y="38544"/>
                      <a:pt x="31786" y="38608"/>
                      <a:pt x="31722" y="38659"/>
                    </a:cubicBezTo>
                    <a:lnTo>
                      <a:pt x="31722" y="38659"/>
                    </a:lnTo>
                    <a:cubicBezTo>
                      <a:pt x="31003" y="39409"/>
                      <a:pt x="30091" y="39948"/>
                      <a:pt x="29087" y="40218"/>
                    </a:cubicBezTo>
                    <a:cubicBezTo>
                      <a:pt x="28667" y="40077"/>
                      <a:pt x="28246" y="40342"/>
                      <a:pt x="27825" y="40311"/>
                    </a:cubicBezTo>
                    <a:cubicBezTo>
                      <a:pt x="27825" y="40233"/>
                      <a:pt x="27825" y="40311"/>
                      <a:pt x="27825" y="40311"/>
                    </a:cubicBezTo>
                    <a:cubicBezTo>
                      <a:pt x="27825" y="40311"/>
                      <a:pt x="27731" y="40233"/>
                      <a:pt x="27825" y="40311"/>
                    </a:cubicBezTo>
                    <a:cubicBezTo>
                      <a:pt x="27918" y="40389"/>
                      <a:pt x="27949" y="40140"/>
                      <a:pt x="27825" y="40015"/>
                    </a:cubicBezTo>
                    <a:cubicBezTo>
                      <a:pt x="28121" y="39875"/>
                      <a:pt x="27825" y="39485"/>
                      <a:pt x="27825" y="39204"/>
                    </a:cubicBezTo>
                    <a:cubicBezTo>
                      <a:pt x="27342" y="38472"/>
                      <a:pt x="27622" y="37381"/>
                      <a:pt x="27077" y="36570"/>
                    </a:cubicBezTo>
                    <a:cubicBezTo>
                      <a:pt x="27077" y="35728"/>
                      <a:pt x="28324" y="35354"/>
                      <a:pt x="27762" y="34528"/>
                    </a:cubicBezTo>
                    <a:cubicBezTo>
                      <a:pt x="28012" y="34341"/>
                      <a:pt x="27762" y="33967"/>
                      <a:pt x="27653" y="33764"/>
                    </a:cubicBezTo>
                    <a:lnTo>
                      <a:pt x="27747" y="33764"/>
                    </a:lnTo>
                    <a:cubicBezTo>
                      <a:pt x="27747" y="33764"/>
                      <a:pt x="27529" y="33764"/>
                      <a:pt x="27638" y="33624"/>
                    </a:cubicBezTo>
                    <a:cubicBezTo>
                      <a:pt x="27451" y="33078"/>
                      <a:pt x="26827" y="32891"/>
                      <a:pt x="26702" y="32314"/>
                    </a:cubicBezTo>
                    <a:cubicBezTo>
                      <a:pt x="26843" y="32314"/>
                      <a:pt x="26874" y="32205"/>
                      <a:pt x="26889" y="32034"/>
                    </a:cubicBezTo>
                    <a:cubicBezTo>
                      <a:pt x="26905" y="31862"/>
                      <a:pt x="27014" y="32034"/>
                      <a:pt x="27061" y="32034"/>
                    </a:cubicBezTo>
                    <a:cubicBezTo>
                      <a:pt x="26990" y="32037"/>
                      <a:pt x="26926" y="31992"/>
                      <a:pt x="26905" y="31925"/>
                    </a:cubicBezTo>
                    <a:cubicBezTo>
                      <a:pt x="27014" y="31925"/>
                      <a:pt x="26999" y="31816"/>
                      <a:pt x="26905" y="31800"/>
                    </a:cubicBezTo>
                    <a:cubicBezTo>
                      <a:pt x="27132" y="31576"/>
                      <a:pt x="27200" y="31237"/>
                      <a:pt x="27077" y="30943"/>
                    </a:cubicBezTo>
                    <a:cubicBezTo>
                      <a:pt x="26936" y="31036"/>
                      <a:pt x="26874" y="30943"/>
                      <a:pt x="26874" y="30771"/>
                    </a:cubicBezTo>
                    <a:cubicBezTo>
                      <a:pt x="26826" y="30817"/>
                      <a:pt x="26751" y="30817"/>
                      <a:pt x="26702" y="30771"/>
                    </a:cubicBezTo>
                    <a:cubicBezTo>
                      <a:pt x="26562" y="30943"/>
                      <a:pt x="26110" y="30927"/>
                      <a:pt x="25861" y="30896"/>
                    </a:cubicBezTo>
                    <a:cubicBezTo>
                      <a:pt x="25518" y="29774"/>
                      <a:pt x="24302" y="30428"/>
                      <a:pt x="23538" y="30693"/>
                    </a:cubicBezTo>
                    <a:cubicBezTo>
                      <a:pt x="21979" y="30226"/>
                      <a:pt x="21745" y="31301"/>
                      <a:pt x="20420" y="29664"/>
                    </a:cubicBezTo>
                    <a:cubicBezTo>
                      <a:pt x="20265" y="29664"/>
                      <a:pt x="20296" y="29431"/>
                      <a:pt x="20171" y="29368"/>
                    </a:cubicBezTo>
                    <a:cubicBezTo>
                      <a:pt x="20046" y="29306"/>
                      <a:pt x="20171" y="29259"/>
                      <a:pt x="20171" y="29166"/>
                    </a:cubicBezTo>
                    <a:cubicBezTo>
                      <a:pt x="20171" y="29072"/>
                      <a:pt x="19859" y="28947"/>
                      <a:pt x="19953" y="28885"/>
                    </a:cubicBezTo>
                    <a:cubicBezTo>
                      <a:pt x="19610" y="28885"/>
                      <a:pt x="19797" y="28573"/>
                      <a:pt x="19594" y="28620"/>
                    </a:cubicBezTo>
                    <a:cubicBezTo>
                      <a:pt x="19392" y="28667"/>
                      <a:pt x="19594" y="28542"/>
                      <a:pt x="19454" y="28542"/>
                    </a:cubicBezTo>
                    <a:lnTo>
                      <a:pt x="19454" y="28542"/>
                    </a:lnTo>
                    <a:lnTo>
                      <a:pt x="19454" y="28542"/>
                    </a:lnTo>
                    <a:cubicBezTo>
                      <a:pt x="19454" y="28542"/>
                      <a:pt x="19454" y="28542"/>
                      <a:pt x="19454" y="28449"/>
                    </a:cubicBezTo>
                    <a:cubicBezTo>
                      <a:pt x="19454" y="28355"/>
                      <a:pt x="19625" y="28449"/>
                      <a:pt x="19641" y="28449"/>
                    </a:cubicBezTo>
                    <a:cubicBezTo>
                      <a:pt x="19657" y="28449"/>
                      <a:pt x="19127" y="28449"/>
                      <a:pt x="19282" y="28277"/>
                    </a:cubicBezTo>
                    <a:cubicBezTo>
                      <a:pt x="19158" y="28277"/>
                      <a:pt x="19127" y="28277"/>
                      <a:pt x="19095" y="28121"/>
                    </a:cubicBezTo>
                    <a:cubicBezTo>
                      <a:pt x="19064" y="27965"/>
                      <a:pt x="19205" y="28121"/>
                      <a:pt x="19251" y="28121"/>
                    </a:cubicBezTo>
                    <a:cubicBezTo>
                      <a:pt x="19298" y="28121"/>
                      <a:pt x="19127" y="28121"/>
                      <a:pt x="19080" y="28121"/>
                    </a:cubicBezTo>
                    <a:cubicBezTo>
                      <a:pt x="19033" y="28121"/>
                      <a:pt x="19080" y="27997"/>
                      <a:pt x="19080" y="27934"/>
                    </a:cubicBezTo>
                    <a:cubicBezTo>
                      <a:pt x="19080" y="27872"/>
                      <a:pt x="19220" y="28074"/>
                      <a:pt x="19329" y="27934"/>
                    </a:cubicBezTo>
                    <a:cubicBezTo>
                      <a:pt x="19438" y="27794"/>
                      <a:pt x="19080" y="27856"/>
                      <a:pt x="19189" y="27794"/>
                    </a:cubicBezTo>
                    <a:lnTo>
                      <a:pt x="19189" y="27794"/>
                    </a:lnTo>
                    <a:cubicBezTo>
                      <a:pt x="19189" y="27794"/>
                      <a:pt x="19049" y="27560"/>
                      <a:pt x="18986" y="27498"/>
                    </a:cubicBezTo>
                    <a:cubicBezTo>
                      <a:pt x="19389" y="27087"/>
                      <a:pt x="19533" y="26488"/>
                      <a:pt x="19360" y="25939"/>
                    </a:cubicBezTo>
                    <a:cubicBezTo>
                      <a:pt x="19485" y="25939"/>
                      <a:pt x="19360" y="25767"/>
                      <a:pt x="19454" y="25736"/>
                    </a:cubicBezTo>
                    <a:cubicBezTo>
                      <a:pt x="19547" y="25705"/>
                      <a:pt x="19298" y="25643"/>
                      <a:pt x="19282" y="25534"/>
                    </a:cubicBezTo>
                    <a:lnTo>
                      <a:pt x="19282" y="25612"/>
                    </a:lnTo>
                    <a:cubicBezTo>
                      <a:pt x="19265" y="25345"/>
                      <a:pt x="19382" y="25087"/>
                      <a:pt x="19594" y="24926"/>
                    </a:cubicBezTo>
                    <a:cubicBezTo>
                      <a:pt x="19922" y="23866"/>
                      <a:pt x="20966" y="23445"/>
                      <a:pt x="21714" y="22728"/>
                    </a:cubicBezTo>
                    <a:cubicBezTo>
                      <a:pt x="21722" y="22582"/>
                      <a:pt x="21722" y="22437"/>
                      <a:pt x="21714" y="22291"/>
                    </a:cubicBezTo>
                    <a:cubicBezTo>
                      <a:pt x="21714" y="22120"/>
                      <a:pt x="22042" y="22042"/>
                      <a:pt x="21901" y="21855"/>
                    </a:cubicBezTo>
                    <a:cubicBezTo>
                      <a:pt x="22394" y="21610"/>
                      <a:pt x="22814" y="21239"/>
                      <a:pt x="23117" y="20779"/>
                    </a:cubicBezTo>
                    <a:cubicBezTo>
                      <a:pt x="23117" y="21091"/>
                      <a:pt x="23600" y="21075"/>
                      <a:pt x="23772" y="20966"/>
                    </a:cubicBezTo>
                    <a:cubicBezTo>
                      <a:pt x="24068" y="21325"/>
                      <a:pt x="24707" y="20717"/>
                      <a:pt x="25034" y="20623"/>
                    </a:cubicBezTo>
                    <a:cubicBezTo>
                      <a:pt x="25362" y="20530"/>
                      <a:pt x="26110" y="20623"/>
                      <a:pt x="26375" y="20499"/>
                    </a:cubicBezTo>
                    <a:cubicBezTo>
                      <a:pt x="26640" y="20374"/>
                      <a:pt x="26578" y="20717"/>
                      <a:pt x="26656" y="20499"/>
                    </a:cubicBezTo>
                    <a:cubicBezTo>
                      <a:pt x="26905" y="20717"/>
                      <a:pt x="27170" y="20374"/>
                      <a:pt x="27373" y="20499"/>
                    </a:cubicBezTo>
                    <a:cubicBezTo>
                      <a:pt x="27373" y="20327"/>
                      <a:pt x="27497" y="20623"/>
                      <a:pt x="27575" y="20670"/>
                    </a:cubicBezTo>
                    <a:cubicBezTo>
                      <a:pt x="27903" y="20343"/>
                      <a:pt x="27669" y="20748"/>
                      <a:pt x="27575" y="20888"/>
                    </a:cubicBezTo>
                    <a:cubicBezTo>
                      <a:pt x="28152" y="21278"/>
                      <a:pt x="27186" y="21434"/>
                      <a:pt x="27575" y="21699"/>
                    </a:cubicBezTo>
                    <a:cubicBezTo>
                      <a:pt x="27575" y="21699"/>
                      <a:pt x="27575" y="21699"/>
                      <a:pt x="27684" y="21699"/>
                    </a:cubicBezTo>
                    <a:cubicBezTo>
                      <a:pt x="27794" y="21699"/>
                      <a:pt x="27684" y="21621"/>
                      <a:pt x="27684" y="21699"/>
                    </a:cubicBezTo>
                    <a:cubicBezTo>
                      <a:pt x="27840" y="22073"/>
                      <a:pt x="28417" y="21792"/>
                      <a:pt x="28698" y="21995"/>
                    </a:cubicBezTo>
                    <a:cubicBezTo>
                      <a:pt x="31628" y="24022"/>
                      <a:pt x="29352" y="21387"/>
                      <a:pt x="31285" y="21995"/>
                    </a:cubicBezTo>
                    <a:cubicBezTo>
                      <a:pt x="31613" y="22307"/>
                      <a:pt x="32345" y="22213"/>
                      <a:pt x="32844" y="22416"/>
                    </a:cubicBezTo>
                    <a:cubicBezTo>
                      <a:pt x="33343" y="22619"/>
                      <a:pt x="33327" y="22322"/>
                      <a:pt x="33655" y="22229"/>
                    </a:cubicBezTo>
                    <a:cubicBezTo>
                      <a:pt x="33436" y="22307"/>
                      <a:pt x="33655" y="22229"/>
                      <a:pt x="33748" y="22229"/>
                    </a:cubicBezTo>
                    <a:cubicBezTo>
                      <a:pt x="33842" y="22229"/>
                      <a:pt x="33748" y="22229"/>
                      <a:pt x="33748" y="22229"/>
                    </a:cubicBezTo>
                    <a:cubicBezTo>
                      <a:pt x="33748" y="22229"/>
                      <a:pt x="33951" y="22229"/>
                      <a:pt x="33998" y="22229"/>
                    </a:cubicBezTo>
                    <a:cubicBezTo>
                      <a:pt x="34044" y="22229"/>
                      <a:pt x="34091" y="22338"/>
                      <a:pt x="34091" y="22385"/>
                    </a:cubicBezTo>
                    <a:cubicBezTo>
                      <a:pt x="34091" y="22432"/>
                      <a:pt x="34091" y="22291"/>
                      <a:pt x="34091" y="22229"/>
                    </a:cubicBezTo>
                    <a:cubicBezTo>
                      <a:pt x="35151" y="22587"/>
                      <a:pt x="34793" y="20670"/>
                      <a:pt x="34855" y="20312"/>
                    </a:cubicBezTo>
                    <a:cubicBezTo>
                      <a:pt x="34684" y="20452"/>
                      <a:pt x="34387" y="20312"/>
                      <a:pt x="34341" y="20561"/>
                    </a:cubicBezTo>
                    <a:cubicBezTo>
                      <a:pt x="34029" y="20919"/>
                      <a:pt x="33374" y="20062"/>
                      <a:pt x="33374" y="20561"/>
                    </a:cubicBezTo>
                    <a:cubicBezTo>
                      <a:pt x="33234" y="20561"/>
                      <a:pt x="32875" y="20717"/>
                      <a:pt x="32922" y="20452"/>
                    </a:cubicBezTo>
                    <a:cubicBezTo>
                      <a:pt x="32922" y="20452"/>
                      <a:pt x="32922" y="20452"/>
                      <a:pt x="32797" y="20452"/>
                    </a:cubicBezTo>
                    <a:cubicBezTo>
                      <a:pt x="32673" y="20452"/>
                      <a:pt x="32626" y="20592"/>
                      <a:pt x="32610" y="20452"/>
                    </a:cubicBezTo>
                    <a:lnTo>
                      <a:pt x="32423" y="20452"/>
                    </a:lnTo>
                    <a:cubicBezTo>
                      <a:pt x="32423" y="20374"/>
                      <a:pt x="32626" y="20452"/>
                      <a:pt x="32626" y="20327"/>
                    </a:cubicBezTo>
                    <a:cubicBezTo>
                      <a:pt x="32626" y="20202"/>
                      <a:pt x="32267" y="20421"/>
                      <a:pt x="32454" y="20327"/>
                    </a:cubicBezTo>
                    <a:cubicBezTo>
                      <a:pt x="32236" y="20187"/>
                      <a:pt x="32454" y="20062"/>
                      <a:pt x="32127" y="19984"/>
                    </a:cubicBezTo>
                    <a:cubicBezTo>
                      <a:pt x="31800" y="19906"/>
                      <a:pt x="32127" y="19859"/>
                      <a:pt x="32127" y="19813"/>
                    </a:cubicBezTo>
                    <a:cubicBezTo>
                      <a:pt x="32127" y="19766"/>
                      <a:pt x="32127" y="19922"/>
                      <a:pt x="32283" y="19813"/>
                    </a:cubicBezTo>
                    <a:lnTo>
                      <a:pt x="32283" y="19813"/>
                    </a:lnTo>
                    <a:cubicBezTo>
                      <a:pt x="32283" y="19813"/>
                      <a:pt x="32408" y="19813"/>
                      <a:pt x="32376" y="19688"/>
                    </a:cubicBezTo>
                    <a:cubicBezTo>
                      <a:pt x="32345" y="19563"/>
                      <a:pt x="32221" y="19532"/>
                      <a:pt x="32376" y="19501"/>
                    </a:cubicBezTo>
                    <a:cubicBezTo>
                      <a:pt x="31940" y="19657"/>
                      <a:pt x="32158" y="19002"/>
                      <a:pt x="32470" y="19220"/>
                    </a:cubicBezTo>
                    <a:cubicBezTo>
                      <a:pt x="32470" y="19096"/>
                      <a:pt x="32735" y="19220"/>
                      <a:pt x="32875" y="19220"/>
                    </a:cubicBezTo>
                    <a:cubicBezTo>
                      <a:pt x="32595" y="19111"/>
                      <a:pt x="33000" y="19127"/>
                      <a:pt x="33031" y="19049"/>
                    </a:cubicBezTo>
                    <a:cubicBezTo>
                      <a:pt x="32376" y="18846"/>
                      <a:pt x="33374" y="18940"/>
                      <a:pt x="33421" y="18862"/>
                    </a:cubicBezTo>
                    <a:cubicBezTo>
                      <a:pt x="33546" y="18519"/>
                      <a:pt x="34013" y="18566"/>
                      <a:pt x="34294" y="18488"/>
                    </a:cubicBezTo>
                    <a:cubicBezTo>
                      <a:pt x="34294" y="18644"/>
                      <a:pt x="34450" y="18659"/>
                      <a:pt x="34543" y="18488"/>
                    </a:cubicBezTo>
                    <a:cubicBezTo>
                      <a:pt x="34637" y="18316"/>
                      <a:pt x="34668" y="18753"/>
                      <a:pt x="34746" y="18628"/>
                    </a:cubicBezTo>
                    <a:cubicBezTo>
                      <a:pt x="36991" y="19080"/>
                      <a:pt x="35385" y="17537"/>
                      <a:pt x="34356" y="17287"/>
                    </a:cubicBezTo>
                    <a:cubicBezTo>
                      <a:pt x="34356" y="17287"/>
                      <a:pt x="34356" y="17287"/>
                      <a:pt x="34356" y="17163"/>
                    </a:cubicBezTo>
                    <a:cubicBezTo>
                      <a:pt x="34356" y="17038"/>
                      <a:pt x="34543" y="17163"/>
                      <a:pt x="34465" y="17054"/>
                    </a:cubicBezTo>
                    <a:cubicBezTo>
                      <a:pt x="34387" y="16944"/>
                      <a:pt x="34668" y="16913"/>
                      <a:pt x="34465" y="16835"/>
                    </a:cubicBezTo>
                    <a:cubicBezTo>
                      <a:pt x="34263" y="16757"/>
                      <a:pt x="34372" y="16835"/>
                      <a:pt x="34356" y="16742"/>
                    </a:cubicBezTo>
                    <a:cubicBezTo>
                      <a:pt x="34341" y="16648"/>
                      <a:pt x="34512" y="16742"/>
                      <a:pt x="34512" y="16742"/>
                    </a:cubicBezTo>
                    <a:cubicBezTo>
                      <a:pt x="34512" y="16742"/>
                      <a:pt x="34637" y="16617"/>
                      <a:pt x="34606" y="16539"/>
                    </a:cubicBezTo>
                    <a:cubicBezTo>
                      <a:pt x="34574" y="16461"/>
                      <a:pt x="34169" y="16539"/>
                      <a:pt x="34076" y="16789"/>
                    </a:cubicBezTo>
                    <a:cubicBezTo>
                      <a:pt x="34076" y="16789"/>
                      <a:pt x="33982" y="16867"/>
                      <a:pt x="33904" y="16789"/>
                    </a:cubicBezTo>
                    <a:cubicBezTo>
                      <a:pt x="33826" y="16711"/>
                      <a:pt x="33811" y="16789"/>
                      <a:pt x="33764" y="16789"/>
                    </a:cubicBezTo>
                    <a:cubicBezTo>
                      <a:pt x="33717" y="16789"/>
                      <a:pt x="33764" y="17038"/>
                      <a:pt x="33764" y="16976"/>
                    </a:cubicBezTo>
                    <a:cubicBezTo>
                      <a:pt x="33764" y="16913"/>
                      <a:pt x="33764" y="16867"/>
                      <a:pt x="33764" y="16851"/>
                    </a:cubicBezTo>
                    <a:cubicBezTo>
                      <a:pt x="33764" y="16835"/>
                      <a:pt x="33546" y="16991"/>
                      <a:pt x="33468" y="17054"/>
                    </a:cubicBezTo>
                    <a:cubicBezTo>
                      <a:pt x="33390" y="17116"/>
                      <a:pt x="33733" y="17054"/>
                      <a:pt x="33701" y="17194"/>
                    </a:cubicBezTo>
                    <a:cubicBezTo>
                      <a:pt x="33670" y="17334"/>
                      <a:pt x="33701" y="17194"/>
                      <a:pt x="33701" y="17194"/>
                    </a:cubicBezTo>
                    <a:cubicBezTo>
                      <a:pt x="33701" y="17194"/>
                      <a:pt x="33701" y="17303"/>
                      <a:pt x="33873" y="17287"/>
                    </a:cubicBezTo>
                    <a:cubicBezTo>
                      <a:pt x="34044" y="17272"/>
                      <a:pt x="33592" y="17085"/>
                      <a:pt x="33655" y="16976"/>
                    </a:cubicBezTo>
                    <a:cubicBezTo>
                      <a:pt x="33717" y="16867"/>
                      <a:pt x="33826" y="17225"/>
                      <a:pt x="33935" y="17256"/>
                    </a:cubicBezTo>
                    <a:cubicBezTo>
                      <a:pt x="34044" y="17287"/>
                      <a:pt x="33935" y="17256"/>
                      <a:pt x="34044" y="17256"/>
                    </a:cubicBezTo>
                    <a:cubicBezTo>
                      <a:pt x="34154" y="17256"/>
                      <a:pt x="34138" y="17178"/>
                      <a:pt x="34200" y="17178"/>
                    </a:cubicBezTo>
                    <a:cubicBezTo>
                      <a:pt x="34263" y="17178"/>
                      <a:pt x="34200" y="17381"/>
                      <a:pt x="33998" y="17334"/>
                    </a:cubicBezTo>
                    <a:cubicBezTo>
                      <a:pt x="33795" y="17287"/>
                      <a:pt x="33452" y="17833"/>
                      <a:pt x="33499" y="17334"/>
                    </a:cubicBezTo>
                    <a:cubicBezTo>
                      <a:pt x="33374" y="17225"/>
                      <a:pt x="33094" y="17334"/>
                      <a:pt x="33359" y="17116"/>
                    </a:cubicBezTo>
                    <a:cubicBezTo>
                      <a:pt x="33624" y="16898"/>
                      <a:pt x="33234" y="16882"/>
                      <a:pt x="33125" y="17007"/>
                    </a:cubicBezTo>
                    <a:cubicBezTo>
                      <a:pt x="33016" y="17132"/>
                      <a:pt x="32953" y="17007"/>
                      <a:pt x="33016" y="16898"/>
                    </a:cubicBezTo>
                    <a:cubicBezTo>
                      <a:pt x="33078" y="16789"/>
                      <a:pt x="32844" y="16898"/>
                      <a:pt x="32813" y="16898"/>
                    </a:cubicBezTo>
                    <a:cubicBezTo>
                      <a:pt x="32782" y="16898"/>
                      <a:pt x="33016" y="16898"/>
                      <a:pt x="33078" y="16898"/>
                    </a:cubicBezTo>
                    <a:cubicBezTo>
                      <a:pt x="33030" y="16943"/>
                      <a:pt x="32955" y="16943"/>
                      <a:pt x="32906" y="16898"/>
                    </a:cubicBezTo>
                    <a:cubicBezTo>
                      <a:pt x="32906" y="17054"/>
                      <a:pt x="32782" y="16898"/>
                      <a:pt x="32751" y="17007"/>
                    </a:cubicBezTo>
                    <a:cubicBezTo>
                      <a:pt x="32719" y="17116"/>
                      <a:pt x="32751" y="17178"/>
                      <a:pt x="32595" y="17194"/>
                    </a:cubicBezTo>
                    <a:cubicBezTo>
                      <a:pt x="32439" y="17209"/>
                      <a:pt x="32595" y="17443"/>
                      <a:pt x="32486" y="17319"/>
                    </a:cubicBezTo>
                    <a:cubicBezTo>
                      <a:pt x="32595" y="17599"/>
                      <a:pt x="32486" y="17615"/>
                      <a:pt x="32314" y="17786"/>
                    </a:cubicBezTo>
                    <a:cubicBezTo>
                      <a:pt x="32143" y="17958"/>
                      <a:pt x="32314" y="18020"/>
                      <a:pt x="32314" y="18145"/>
                    </a:cubicBezTo>
                    <a:cubicBezTo>
                      <a:pt x="32314" y="18269"/>
                      <a:pt x="32127" y="18238"/>
                      <a:pt x="32189" y="18379"/>
                    </a:cubicBezTo>
                    <a:cubicBezTo>
                      <a:pt x="32252" y="18519"/>
                      <a:pt x="32314" y="18550"/>
                      <a:pt x="32314" y="18784"/>
                    </a:cubicBezTo>
                    <a:cubicBezTo>
                      <a:pt x="32314" y="19018"/>
                      <a:pt x="32719" y="18909"/>
                      <a:pt x="32579" y="19049"/>
                    </a:cubicBezTo>
                    <a:cubicBezTo>
                      <a:pt x="32439" y="19189"/>
                      <a:pt x="32158" y="19189"/>
                      <a:pt x="31956" y="19361"/>
                    </a:cubicBezTo>
                    <a:cubicBezTo>
                      <a:pt x="31956" y="19267"/>
                      <a:pt x="31956" y="19220"/>
                      <a:pt x="32049" y="19189"/>
                    </a:cubicBezTo>
                    <a:cubicBezTo>
                      <a:pt x="31862" y="19189"/>
                      <a:pt x="31628" y="18955"/>
                      <a:pt x="31519" y="19189"/>
                    </a:cubicBezTo>
                    <a:cubicBezTo>
                      <a:pt x="31363" y="19189"/>
                      <a:pt x="31410" y="19189"/>
                      <a:pt x="31301" y="19267"/>
                    </a:cubicBezTo>
                    <a:cubicBezTo>
                      <a:pt x="31192" y="19345"/>
                      <a:pt x="31301" y="19361"/>
                      <a:pt x="31410" y="19407"/>
                    </a:cubicBezTo>
                    <a:cubicBezTo>
                      <a:pt x="31519" y="19454"/>
                      <a:pt x="31239" y="19329"/>
                      <a:pt x="31254" y="19407"/>
                    </a:cubicBezTo>
                    <a:cubicBezTo>
                      <a:pt x="31270" y="19485"/>
                      <a:pt x="31363" y="19407"/>
                      <a:pt x="31254" y="19485"/>
                    </a:cubicBezTo>
                    <a:cubicBezTo>
                      <a:pt x="31145" y="19563"/>
                      <a:pt x="31005" y="19376"/>
                      <a:pt x="31254" y="19485"/>
                    </a:cubicBezTo>
                    <a:cubicBezTo>
                      <a:pt x="31129" y="19485"/>
                      <a:pt x="31083" y="19361"/>
                      <a:pt x="31005" y="19314"/>
                    </a:cubicBezTo>
                    <a:cubicBezTo>
                      <a:pt x="30927" y="19267"/>
                      <a:pt x="30786" y="19423"/>
                      <a:pt x="31005" y="19532"/>
                    </a:cubicBezTo>
                    <a:cubicBezTo>
                      <a:pt x="31223" y="19641"/>
                      <a:pt x="31348" y="19953"/>
                      <a:pt x="31005" y="19719"/>
                    </a:cubicBezTo>
                    <a:cubicBezTo>
                      <a:pt x="31005" y="19719"/>
                      <a:pt x="31005" y="19719"/>
                      <a:pt x="31005" y="19719"/>
                    </a:cubicBezTo>
                    <a:cubicBezTo>
                      <a:pt x="31005" y="19719"/>
                      <a:pt x="31005" y="19828"/>
                      <a:pt x="31005" y="19813"/>
                    </a:cubicBezTo>
                    <a:cubicBezTo>
                      <a:pt x="31176" y="19937"/>
                      <a:pt x="31472" y="19984"/>
                      <a:pt x="31457" y="20234"/>
                    </a:cubicBezTo>
                    <a:cubicBezTo>
                      <a:pt x="31348" y="20234"/>
                      <a:pt x="31285" y="20124"/>
                      <a:pt x="31161" y="20234"/>
                    </a:cubicBezTo>
                    <a:cubicBezTo>
                      <a:pt x="31036" y="20343"/>
                      <a:pt x="31441" y="20452"/>
                      <a:pt x="31270" y="20389"/>
                    </a:cubicBezTo>
                    <a:cubicBezTo>
                      <a:pt x="31098" y="20327"/>
                      <a:pt x="31270" y="20389"/>
                      <a:pt x="31270" y="20389"/>
                    </a:cubicBezTo>
                    <a:cubicBezTo>
                      <a:pt x="31270" y="20389"/>
                      <a:pt x="31270" y="20608"/>
                      <a:pt x="31270" y="20670"/>
                    </a:cubicBezTo>
                    <a:cubicBezTo>
                      <a:pt x="31270" y="20732"/>
                      <a:pt x="31051" y="20499"/>
                      <a:pt x="31083" y="20670"/>
                    </a:cubicBezTo>
                    <a:cubicBezTo>
                      <a:pt x="31083" y="20530"/>
                      <a:pt x="30989" y="20545"/>
                      <a:pt x="30927" y="20436"/>
                    </a:cubicBezTo>
                    <a:cubicBezTo>
                      <a:pt x="30864" y="20327"/>
                      <a:pt x="30927" y="20514"/>
                      <a:pt x="30927" y="20561"/>
                    </a:cubicBezTo>
                    <a:cubicBezTo>
                      <a:pt x="30845" y="20514"/>
                      <a:pt x="30806" y="20417"/>
                      <a:pt x="30833" y="20327"/>
                    </a:cubicBezTo>
                    <a:cubicBezTo>
                      <a:pt x="30724" y="20234"/>
                      <a:pt x="30553" y="20171"/>
                      <a:pt x="30724" y="20047"/>
                    </a:cubicBezTo>
                    <a:cubicBezTo>
                      <a:pt x="30896" y="19922"/>
                      <a:pt x="31036" y="20202"/>
                      <a:pt x="31176" y="20047"/>
                    </a:cubicBezTo>
                    <a:cubicBezTo>
                      <a:pt x="31051" y="20047"/>
                      <a:pt x="30911" y="19891"/>
                      <a:pt x="30818" y="20047"/>
                    </a:cubicBezTo>
                    <a:cubicBezTo>
                      <a:pt x="30724" y="20202"/>
                      <a:pt x="30709" y="19937"/>
                      <a:pt x="30662" y="20047"/>
                    </a:cubicBezTo>
                    <a:cubicBezTo>
                      <a:pt x="30444" y="19828"/>
                      <a:pt x="30288" y="19485"/>
                      <a:pt x="30007" y="19345"/>
                    </a:cubicBezTo>
                    <a:cubicBezTo>
                      <a:pt x="30007" y="19174"/>
                      <a:pt x="30007" y="18987"/>
                      <a:pt x="30007" y="18815"/>
                    </a:cubicBezTo>
                    <a:cubicBezTo>
                      <a:pt x="29820" y="18815"/>
                      <a:pt x="29711" y="18566"/>
                      <a:pt x="29571" y="18441"/>
                    </a:cubicBezTo>
                    <a:cubicBezTo>
                      <a:pt x="29430" y="18316"/>
                      <a:pt x="29337" y="18441"/>
                      <a:pt x="29290" y="18441"/>
                    </a:cubicBezTo>
                    <a:cubicBezTo>
                      <a:pt x="29243" y="18441"/>
                      <a:pt x="29290" y="18441"/>
                      <a:pt x="29399" y="18441"/>
                    </a:cubicBezTo>
                    <a:cubicBezTo>
                      <a:pt x="29508" y="18441"/>
                      <a:pt x="29134" y="18207"/>
                      <a:pt x="28978" y="18269"/>
                    </a:cubicBezTo>
                    <a:cubicBezTo>
                      <a:pt x="28822" y="18332"/>
                      <a:pt x="28511" y="18004"/>
                      <a:pt x="28807" y="18020"/>
                    </a:cubicBezTo>
                    <a:cubicBezTo>
                      <a:pt x="28448" y="17802"/>
                      <a:pt x="28620" y="17365"/>
                      <a:pt x="28292" y="17817"/>
                    </a:cubicBezTo>
                    <a:cubicBezTo>
                      <a:pt x="28292" y="17724"/>
                      <a:pt x="28168" y="17615"/>
                      <a:pt x="28292" y="17521"/>
                    </a:cubicBezTo>
                    <a:cubicBezTo>
                      <a:pt x="28417" y="17428"/>
                      <a:pt x="27981" y="17521"/>
                      <a:pt x="27903" y="17630"/>
                    </a:cubicBezTo>
                    <a:cubicBezTo>
                      <a:pt x="27903" y="18098"/>
                      <a:pt x="28448" y="18394"/>
                      <a:pt x="28729" y="18768"/>
                    </a:cubicBezTo>
                    <a:cubicBezTo>
                      <a:pt x="28869" y="18768"/>
                      <a:pt x="29243" y="18768"/>
                      <a:pt x="29025" y="18955"/>
                    </a:cubicBezTo>
                    <a:cubicBezTo>
                      <a:pt x="29243" y="19080"/>
                      <a:pt x="29929" y="19205"/>
                      <a:pt x="29773" y="19548"/>
                    </a:cubicBezTo>
                    <a:cubicBezTo>
                      <a:pt x="29633" y="19548"/>
                      <a:pt x="29773" y="19314"/>
                      <a:pt x="29524" y="19361"/>
                    </a:cubicBezTo>
                    <a:cubicBezTo>
                      <a:pt x="29274" y="19407"/>
                      <a:pt x="29274" y="19548"/>
                      <a:pt x="29321" y="19626"/>
                    </a:cubicBezTo>
                    <a:cubicBezTo>
                      <a:pt x="29649" y="19719"/>
                      <a:pt x="29321" y="19906"/>
                      <a:pt x="29321" y="20093"/>
                    </a:cubicBezTo>
                    <a:cubicBezTo>
                      <a:pt x="29321" y="20280"/>
                      <a:pt x="28900" y="20343"/>
                      <a:pt x="29119" y="20093"/>
                    </a:cubicBezTo>
                    <a:cubicBezTo>
                      <a:pt x="29219" y="19835"/>
                      <a:pt x="29104" y="19543"/>
                      <a:pt x="28854" y="19423"/>
                    </a:cubicBezTo>
                    <a:cubicBezTo>
                      <a:pt x="28713" y="19423"/>
                      <a:pt x="28854" y="19314"/>
                      <a:pt x="28729" y="19267"/>
                    </a:cubicBezTo>
                    <a:cubicBezTo>
                      <a:pt x="28603" y="19264"/>
                      <a:pt x="28490" y="19192"/>
                      <a:pt x="28433" y="19080"/>
                    </a:cubicBezTo>
                    <a:cubicBezTo>
                      <a:pt x="27513" y="19080"/>
                      <a:pt x="27357" y="17225"/>
                      <a:pt x="26391" y="18347"/>
                    </a:cubicBezTo>
                    <a:cubicBezTo>
                      <a:pt x="26391" y="18534"/>
                      <a:pt x="26079" y="18347"/>
                      <a:pt x="25985" y="18254"/>
                    </a:cubicBezTo>
                    <a:cubicBezTo>
                      <a:pt x="25019" y="18145"/>
                      <a:pt x="25985" y="18987"/>
                      <a:pt x="24910" y="19142"/>
                    </a:cubicBezTo>
                    <a:cubicBezTo>
                      <a:pt x="24988" y="19142"/>
                      <a:pt x="24910" y="19298"/>
                      <a:pt x="24910" y="19252"/>
                    </a:cubicBezTo>
                    <a:cubicBezTo>
                      <a:pt x="24271" y="19750"/>
                      <a:pt x="24910" y="19719"/>
                      <a:pt x="24676" y="19969"/>
                    </a:cubicBezTo>
                    <a:cubicBezTo>
                      <a:pt x="24458" y="19969"/>
                      <a:pt x="24567" y="20374"/>
                      <a:pt x="24364" y="20327"/>
                    </a:cubicBezTo>
                    <a:cubicBezTo>
                      <a:pt x="23974" y="20748"/>
                      <a:pt x="23522" y="20327"/>
                      <a:pt x="23070" y="20779"/>
                    </a:cubicBezTo>
                    <a:cubicBezTo>
                      <a:pt x="22774" y="20779"/>
                      <a:pt x="22821" y="20140"/>
                      <a:pt x="22416" y="20421"/>
                    </a:cubicBezTo>
                    <a:cubicBezTo>
                      <a:pt x="22416" y="20421"/>
                      <a:pt x="22229" y="20296"/>
                      <a:pt x="22151" y="20421"/>
                    </a:cubicBezTo>
                    <a:cubicBezTo>
                      <a:pt x="22167" y="20247"/>
                      <a:pt x="22198" y="20075"/>
                      <a:pt x="22244" y="19906"/>
                    </a:cubicBezTo>
                    <a:cubicBezTo>
                      <a:pt x="21948" y="19906"/>
                      <a:pt x="22244" y="19906"/>
                      <a:pt x="22244" y="19750"/>
                    </a:cubicBezTo>
                    <a:cubicBezTo>
                      <a:pt x="21870" y="19984"/>
                      <a:pt x="22338" y="19329"/>
                      <a:pt x="22353" y="19189"/>
                    </a:cubicBezTo>
                    <a:cubicBezTo>
                      <a:pt x="22369" y="19049"/>
                      <a:pt x="22353" y="18690"/>
                      <a:pt x="22447" y="18566"/>
                    </a:cubicBezTo>
                    <a:lnTo>
                      <a:pt x="22447" y="18566"/>
                    </a:lnTo>
                    <a:cubicBezTo>
                      <a:pt x="22447" y="18566"/>
                      <a:pt x="22447" y="18566"/>
                      <a:pt x="22447" y="18457"/>
                    </a:cubicBezTo>
                    <a:cubicBezTo>
                      <a:pt x="22447" y="18347"/>
                      <a:pt x="22447" y="18457"/>
                      <a:pt x="22447" y="18363"/>
                    </a:cubicBezTo>
                    <a:cubicBezTo>
                      <a:pt x="22447" y="18269"/>
                      <a:pt x="22634" y="18238"/>
                      <a:pt x="22712" y="18192"/>
                    </a:cubicBezTo>
                    <a:cubicBezTo>
                      <a:pt x="22790" y="18145"/>
                      <a:pt x="23055" y="18192"/>
                      <a:pt x="23133" y="18192"/>
                    </a:cubicBezTo>
                    <a:cubicBezTo>
                      <a:pt x="23460" y="18192"/>
                      <a:pt x="23819" y="18347"/>
                      <a:pt x="24146" y="18269"/>
                    </a:cubicBezTo>
                    <a:cubicBezTo>
                      <a:pt x="24723" y="18722"/>
                      <a:pt x="24364" y="17163"/>
                      <a:pt x="24754" y="17755"/>
                    </a:cubicBezTo>
                    <a:cubicBezTo>
                      <a:pt x="24754" y="17662"/>
                      <a:pt x="24660" y="17521"/>
                      <a:pt x="24551" y="17506"/>
                    </a:cubicBezTo>
                    <a:cubicBezTo>
                      <a:pt x="24707" y="17303"/>
                      <a:pt x="24411" y="17256"/>
                      <a:pt x="24333" y="17116"/>
                    </a:cubicBezTo>
                    <a:cubicBezTo>
                      <a:pt x="24255" y="16976"/>
                      <a:pt x="24333" y="16898"/>
                      <a:pt x="24458" y="16991"/>
                    </a:cubicBezTo>
                    <a:cubicBezTo>
                      <a:pt x="24364" y="16851"/>
                      <a:pt x="24255" y="17085"/>
                      <a:pt x="24255" y="16835"/>
                    </a:cubicBezTo>
                    <a:cubicBezTo>
                      <a:pt x="24146" y="16835"/>
                      <a:pt x="23959" y="16648"/>
                      <a:pt x="23803" y="16757"/>
                    </a:cubicBezTo>
                    <a:cubicBezTo>
                      <a:pt x="23647" y="16867"/>
                      <a:pt x="23803" y="16757"/>
                      <a:pt x="23803" y="16648"/>
                    </a:cubicBezTo>
                    <a:cubicBezTo>
                      <a:pt x="23803" y="16539"/>
                      <a:pt x="23897" y="16508"/>
                      <a:pt x="23803" y="16648"/>
                    </a:cubicBezTo>
                    <a:cubicBezTo>
                      <a:pt x="23709" y="16789"/>
                      <a:pt x="23803" y="16648"/>
                      <a:pt x="23803" y="16648"/>
                    </a:cubicBezTo>
                    <a:cubicBezTo>
                      <a:pt x="23460" y="16539"/>
                      <a:pt x="23990" y="16524"/>
                      <a:pt x="24099" y="16446"/>
                    </a:cubicBezTo>
                    <a:cubicBezTo>
                      <a:pt x="24224" y="16602"/>
                      <a:pt x="24317" y="16446"/>
                      <a:pt x="24520" y="16555"/>
                    </a:cubicBezTo>
                    <a:cubicBezTo>
                      <a:pt x="24493" y="16422"/>
                      <a:pt x="24457" y="16292"/>
                      <a:pt x="24411" y="16165"/>
                    </a:cubicBezTo>
                    <a:cubicBezTo>
                      <a:pt x="24411" y="16165"/>
                      <a:pt x="24551" y="16165"/>
                      <a:pt x="24598" y="16165"/>
                    </a:cubicBezTo>
                    <a:cubicBezTo>
                      <a:pt x="24645" y="16165"/>
                      <a:pt x="24863" y="16337"/>
                      <a:pt x="24957" y="16165"/>
                    </a:cubicBezTo>
                    <a:cubicBezTo>
                      <a:pt x="24738" y="15994"/>
                      <a:pt x="25206" y="16072"/>
                      <a:pt x="25206" y="15978"/>
                    </a:cubicBezTo>
                    <a:cubicBezTo>
                      <a:pt x="25206" y="15884"/>
                      <a:pt x="25284" y="15775"/>
                      <a:pt x="25315" y="15682"/>
                    </a:cubicBezTo>
                    <a:cubicBezTo>
                      <a:pt x="25346" y="15588"/>
                      <a:pt x="25596" y="15417"/>
                      <a:pt x="25814" y="15542"/>
                    </a:cubicBezTo>
                    <a:cubicBezTo>
                      <a:pt x="25658" y="15542"/>
                      <a:pt x="25611" y="15354"/>
                      <a:pt x="25814" y="15542"/>
                    </a:cubicBezTo>
                    <a:cubicBezTo>
                      <a:pt x="26017" y="15729"/>
                      <a:pt x="25705" y="15432"/>
                      <a:pt x="25907" y="15448"/>
                    </a:cubicBezTo>
                    <a:cubicBezTo>
                      <a:pt x="25580" y="15214"/>
                      <a:pt x="26250" y="14622"/>
                      <a:pt x="26578" y="14918"/>
                    </a:cubicBezTo>
                    <a:cubicBezTo>
                      <a:pt x="26344" y="14747"/>
                      <a:pt x="26671" y="14622"/>
                      <a:pt x="26734" y="14918"/>
                    </a:cubicBezTo>
                    <a:cubicBezTo>
                      <a:pt x="26734" y="14700"/>
                      <a:pt x="26734" y="14918"/>
                      <a:pt x="26858" y="14918"/>
                    </a:cubicBezTo>
                    <a:cubicBezTo>
                      <a:pt x="26718" y="14544"/>
                      <a:pt x="26999" y="14731"/>
                      <a:pt x="27186" y="14793"/>
                    </a:cubicBezTo>
                    <a:cubicBezTo>
                      <a:pt x="26671" y="14559"/>
                      <a:pt x="26812" y="14061"/>
                      <a:pt x="26671" y="13718"/>
                    </a:cubicBezTo>
                    <a:cubicBezTo>
                      <a:pt x="26889" y="13718"/>
                      <a:pt x="26796" y="13577"/>
                      <a:pt x="26921" y="13718"/>
                    </a:cubicBezTo>
                    <a:cubicBezTo>
                      <a:pt x="26921" y="13281"/>
                      <a:pt x="27077" y="13718"/>
                      <a:pt x="27248" y="13718"/>
                    </a:cubicBezTo>
                    <a:cubicBezTo>
                      <a:pt x="27248" y="13952"/>
                      <a:pt x="26796" y="14092"/>
                      <a:pt x="27154" y="14528"/>
                    </a:cubicBezTo>
                    <a:cubicBezTo>
                      <a:pt x="27154" y="14419"/>
                      <a:pt x="27529" y="14528"/>
                      <a:pt x="27279" y="14606"/>
                    </a:cubicBezTo>
                    <a:cubicBezTo>
                      <a:pt x="27762" y="14606"/>
                      <a:pt x="27575" y="14310"/>
                      <a:pt x="28027" y="14606"/>
                    </a:cubicBezTo>
                    <a:cubicBezTo>
                      <a:pt x="28246" y="14949"/>
                      <a:pt x="28729" y="13936"/>
                      <a:pt x="29134" y="14310"/>
                    </a:cubicBezTo>
                    <a:cubicBezTo>
                      <a:pt x="28885" y="14310"/>
                      <a:pt x="29134" y="14559"/>
                      <a:pt x="29337" y="14310"/>
                    </a:cubicBezTo>
                    <a:cubicBezTo>
                      <a:pt x="29312" y="14365"/>
                      <a:pt x="29267" y="14410"/>
                      <a:pt x="29212" y="14435"/>
                    </a:cubicBezTo>
                    <a:cubicBezTo>
                      <a:pt x="30927" y="14357"/>
                      <a:pt x="28729" y="13858"/>
                      <a:pt x="29680" y="13157"/>
                    </a:cubicBezTo>
                    <a:cubicBezTo>
                      <a:pt x="30023" y="13687"/>
                      <a:pt x="30132" y="13328"/>
                      <a:pt x="29976" y="12907"/>
                    </a:cubicBezTo>
                    <a:cubicBezTo>
                      <a:pt x="29976" y="13094"/>
                      <a:pt x="29711" y="12907"/>
                      <a:pt x="29804" y="12767"/>
                    </a:cubicBezTo>
                    <a:cubicBezTo>
                      <a:pt x="29524" y="12767"/>
                      <a:pt x="29804" y="12486"/>
                      <a:pt x="29804" y="12424"/>
                    </a:cubicBezTo>
                    <a:cubicBezTo>
                      <a:pt x="29804" y="12362"/>
                      <a:pt x="30023" y="12424"/>
                      <a:pt x="29929" y="12424"/>
                    </a:cubicBezTo>
                    <a:lnTo>
                      <a:pt x="30506" y="12517"/>
                    </a:lnTo>
                    <a:cubicBezTo>
                      <a:pt x="30334" y="12252"/>
                      <a:pt x="30506" y="12424"/>
                      <a:pt x="30631" y="12221"/>
                    </a:cubicBezTo>
                    <a:cubicBezTo>
                      <a:pt x="30755" y="12019"/>
                      <a:pt x="30225" y="12128"/>
                      <a:pt x="30444" y="11972"/>
                    </a:cubicBezTo>
                    <a:cubicBezTo>
                      <a:pt x="30444" y="11972"/>
                      <a:pt x="30334" y="12065"/>
                      <a:pt x="30319" y="11972"/>
                    </a:cubicBezTo>
                    <a:cubicBezTo>
                      <a:pt x="30319" y="12112"/>
                      <a:pt x="30038" y="12128"/>
                      <a:pt x="29976" y="12081"/>
                    </a:cubicBezTo>
                    <a:cubicBezTo>
                      <a:pt x="29914" y="12034"/>
                      <a:pt x="29976" y="12081"/>
                      <a:pt x="29976" y="12081"/>
                    </a:cubicBezTo>
                    <a:cubicBezTo>
                      <a:pt x="29976" y="12081"/>
                      <a:pt x="29976" y="12299"/>
                      <a:pt x="29976" y="12081"/>
                    </a:cubicBezTo>
                    <a:cubicBezTo>
                      <a:pt x="29976" y="12206"/>
                      <a:pt x="29586" y="12221"/>
                      <a:pt x="29555" y="12362"/>
                    </a:cubicBezTo>
                    <a:cubicBezTo>
                      <a:pt x="29555" y="12081"/>
                      <a:pt x="29415" y="12174"/>
                      <a:pt x="29197" y="12034"/>
                    </a:cubicBezTo>
                    <a:cubicBezTo>
                      <a:pt x="28978" y="11894"/>
                      <a:pt x="28760" y="11021"/>
                      <a:pt x="28963" y="10943"/>
                    </a:cubicBezTo>
                    <a:cubicBezTo>
                      <a:pt x="29165" y="10865"/>
                      <a:pt x="28963" y="10865"/>
                      <a:pt x="29056" y="10943"/>
                    </a:cubicBezTo>
                    <a:cubicBezTo>
                      <a:pt x="29150" y="11021"/>
                      <a:pt x="29056" y="10818"/>
                      <a:pt x="29056" y="10725"/>
                    </a:cubicBezTo>
                    <a:cubicBezTo>
                      <a:pt x="29056" y="10631"/>
                      <a:pt x="29259" y="10304"/>
                      <a:pt x="29321" y="10397"/>
                    </a:cubicBezTo>
                    <a:cubicBezTo>
                      <a:pt x="29134" y="9992"/>
                      <a:pt x="28776" y="10117"/>
                      <a:pt x="28589" y="10148"/>
                    </a:cubicBezTo>
                    <a:cubicBezTo>
                      <a:pt x="28698" y="10304"/>
                      <a:pt x="28589" y="10507"/>
                      <a:pt x="28729" y="10631"/>
                    </a:cubicBezTo>
                    <a:cubicBezTo>
                      <a:pt x="28616" y="10941"/>
                      <a:pt x="28422" y="11216"/>
                      <a:pt x="28168" y="11426"/>
                    </a:cubicBezTo>
                    <a:cubicBezTo>
                      <a:pt x="28277" y="11504"/>
                      <a:pt x="28168" y="11660"/>
                      <a:pt x="28292" y="11769"/>
                    </a:cubicBezTo>
                    <a:cubicBezTo>
                      <a:pt x="28027" y="11909"/>
                      <a:pt x="29212" y="12704"/>
                      <a:pt x="28479" y="12517"/>
                    </a:cubicBezTo>
                    <a:cubicBezTo>
                      <a:pt x="28479" y="12517"/>
                      <a:pt x="28043" y="12517"/>
                      <a:pt x="28324" y="12627"/>
                    </a:cubicBezTo>
                    <a:cubicBezTo>
                      <a:pt x="28604" y="12736"/>
                      <a:pt x="28869" y="12814"/>
                      <a:pt x="28573" y="12751"/>
                    </a:cubicBezTo>
                    <a:cubicBezTo>
                      <a:pt x="28573" y="12751"/>
                      <a:pt x="28573" y="12938"/>
                      <a:pt x="28464" y="12876"/>
                    </a:cubicBezTo>
                    <a:cubicBezTo>
                      <a:pt x="28355" y="12814"/>
                      <a:pt x="28557" y="13001"/>
                      <a:pt x="28464" y="13016"/>
                    </a:cubicBezTo>
                    <a:cubicBezTo>
                      <a:pt x="28573" y="13016"/>
                      <a:pt x="28604" y="13250"/>
                      <a:pt x="28464" y="13172"/>
                    </a:cubicBezTo>
                    <a:cubicBezTo>
                      <a:pt x="28589" y="13422"/>
                      <a:pt x="28604" y="14076"/>
                      <a:pt x="28214" y="13827"/>
                    </a:cubicBezTo>
                    <a:cubicBezTo>
                      <a:pt x="27965" y="14793"/>
                      <a:pt x="27279" y="12845"/>
                      <a:pt x="27373" y="12751"/>
                    </a:cubicBezTo>
                    <a:cubicBezTo>
                      <a:pt x="27217" y="12658"/>
                      <a:pt x="27170" y="12564"/>
                      <a:pt x="27170" y="12533"/>
                    </a:cubicBezTo>
                    <a:cubicBezTo>
                      <a:pt x="27188" y="12620"/>
                      <a:pt x="27188" y="12711"/>
                      <a:pt x="27170" y="12798"/>
                    </a:cubicBezTo>
                    <a:cubicBezTo>
                      <a:pt x="27170" y="12798"/>
                      <a:pt x="27170" y="12798"/>
                      <a:pt x="26983" y="12673"/>
                    </a:cubicBezTo>
                    <a:cubicBezTo>
                      <a:pt x="26983" y="12814"/>
                      <a:pt x="26983" y="13032"/>
                      <a:pt x="26858" y="12969"/>
                    </a:cubicBezTo>
                    <a:cubicBezTo>
                      <a:pt x="26983" y="13125"/>
                      <a:pt x="26578" y="13234"/>
                      <a:pt x="26484" y="13094"/>
                    </a:cubicBezTo>
                    <a:cubicBezTo>
                      <a:pt x="26391" y="13203"/>
                      <a:pt x="26001" y="12751"/>
                      <a:pt x="26484" y="12798"/>
                    </a:cubicBezTo>
                    <a:cubicBezTo>
                      <a:pt x="26282" y="12798"/>
                      <a:pt x="26484" y="12704"/>
                      <a:pt x="26328" y="12595"/>
                    </a:cubicBezTo>
                    <a:cubicBezTo>
                      <a:pt x="26328" y="12876"/>
                      <a:pt x="26110" y="12424"/>
                      <a:pt x="26328" y="12595"/>
                    </a:cubicBezTo>
                    <a:cubicBezTo>
                      <a:pt x="26547" y="12767"/>
                      <a:pt x="26328" y="12595"/>
                      <a:pt x="26469" y="12502"/>
                    </a:cubicBezTo>
                    <a:cubicBezTo>
                      <a:pt x="26282" y="12502"/>
                      <a:pt x="26469" y="12206"/>
                      <a:pt x="26469" y="12393"/>
                    </a:cubicBezTo>
                    <a:cubicBezTo>
                      <a:pt x="26426" y="12350"/>
                      <a:pt x="26425" y="12281"/>
                      <a:pt x="26467" y="12238"/>
                    </a:cubicBezTo>
                    <a:cubicBezTo>
                      <a:pt x="26467" y="12238"/>
                      <a:pt x="26468" y="12237"/>
                      <a:pt x="26469" y="12237"/>
                    </a:cubicBezTo>
                    <a:cubicBezTo>
                      <a:pt x="26266" y="12315"/>
                      <a:pt x="26157" y="12455"/>
                      <a:pt x="26266" y="12237"/>
                    </a:cubicBezTo>
                    <a:cubicBezTo>
                      <a:pt x="26126" y="12237"/>
                      <a:pt x="26079" y="12315"/>
                      <a:pt x="26266" y="12143"/>
                    </a:cubicBezTo>
                    <a:cubicBezTo>
                      <a:pt x="25954" y="12019"/>
                      <a:pt x="26812" y="12237"/>
                      <a:pt x="26640" y="11941"/>
                    </a:cubicBezTo>
                    <a:cubicBezTo>
                      <a:pt x="26640" y="12097"/>
                      <a:pt x="25939" y="12065"/>
                      <a:pt x="26313" y="11941"/>
                    </a:cubicBezTo>
                    <a:cubicBezTo>
                      <a:pt x="26001" y="11941"/>
                      <a:pt x="26313" y="11832"/>
                      <a:pt x="26484" y="11816"/>
                    </a:cubicBezTo>
                    <a:cubicBezTo>
                      <a:pt x="26157" y="11816"/>
                      <a:pt x="26094" y="11644"/>
                      <a:pt x="26359" y="11722"/>
                    </a:cubicBezTo>
                    <a:cubicBezTo>
                      <a:pt x="26282" y="11722"/>
                      <a:pt x="26359" y="11598"/>
                      <a:pt x="26484" y="11722"/>
                    </a:cubicBezTo>
                    <a:lnTo>
                      <a:pt x="26484" y="11613"/>
                    </a:lnTo>
                    <a:cubicBezTo>
                      <a:pt x="26484" y="11613"/>
                      <a:pt x="26484" y="11613"/>
                      <a:pt x="26718" y="11613"/>
                    </a:cubicBezTo>
                    <a:cubicBezTo>
                      <a:pt x="26422" y="11613"/>
                      <a:pt x="26593" y="11426"/>
                      <a:pt x="26843" y="11613"/>
                    </a:cubicBezTo>
                    <a:cubicBezTo>
                      <a:pt x="26515" y="11348"/>
                      <a:pt x="26843" y="11613"/>
                      <a:pt x="26843" y="11504"/>
                    </a:cubicBezTo>
                    <a:cubicBezTo>
                      <a:pt x="26843" y="11395"/>
                      <a:pt x="27154" y="11083"/>
                      <a:pt x="27014" y="11504"/>
                    </a:cubicBezTo>
                    <a:cubicBezTo>
                      <a:pt x="27232" y="11379"/>
                      <a:pt x="27201" y="11379"/>
                      <a:pt x="27279" y="11161"/>
                    </a:cubicBezTo>
                    <a:cubicBezTo>
                      <a:pt x="27357" y="10943"/>
                      <a:pt x="27030" y="11629"/>
                      <a:pt x="27045" y="11270"/>
                    </a:cubicBezTo>
                    <a:cubicBezTo>
                      <a:pt x="26921" y="11364"/>
                      <a:pt x="27045" y="11037"/>
                      <a:pt x="27045" y="11068"/>
                    </a:cubicBezTo>
                    <a:cubicBezTo>
                      <a:pt x="27045" y="11099"/>
                      <a:pt x="27217" y="10896"/>
                      <a:pt x="27357" y="10678"/>
                    </a:cubicBezTo>
                    <a:cubicBezTo>
                      <a:pt x="27217" y="10787"/>
                      <a:pt x="27279" y="10460"/>
                      <a:pt x="27357" y="10538"/>
                    </a:cubicBezTo>
                    <a:cubicBezTo>
                      <a:pt x="27435" y="10616"/>
                      <a:pt x="27357" y="10382"/>
                      <a:pt x="27357" y="10460"/>
                    </a:cubicBezTo>
                    <a:cubicBezTo>
                      <a:pt x="27264" y="10273"/>
                      <a:pt x="27357" y="10382"/>
                      <a:pt x="27357" y="10288"/>
                    </a:cubicBezTo>
                    <a:cubicBezTo>
                      <a:pt x="27170" y="10288"/>
                      <a:pt x="27357" y="10195"/>
                      <a:pt x="27248" y="10117"/>
                    </a:cubicBezTo>
                    <a:cubicBezTo>
                      <a:pt x="27139" y="10039"/>
                      <a:pt x="27248" y="9821"/>
                      <a:pt x="27529" y="9961"/>
                    </a:cubicBezTo>
                    <a:cubicBezTo>
                      <a:pt x="27388" y="9883"/>
                      <a:pt x="27326" y="9743"/>
                      <a:pt x="27529" y="9836"/>
                    </a:cubicBezTo>
                    <a:cubicBezTo>
                      <a:pt x="27731" y="9930"/>
                      <a:pt x="27373" y="9711"/>
                      <a:pt x="27529" y="9696"/>
                    </a:cubicBezTo>
                    <a:cubicBezTo>
                      <a:pt x="27264" y="9696"/>
                      <a:pt x="27529" y="9696"/>
                      <a:pt x="27529" y="9509"/>
                    </a:cubicBezTo>
                    <a:cubicBezTo>
                      <a:pt x="27700" y="9509"/>
                      <a:pt x="27669" y="9509"/>
                      <a:pt x="27684" y="9509"/>
                    </a:cubicBezTo>
                    <a:cubicBezTo>
                      <a:pt x="28059" y="9587"/>
                      <a:pt x="27419" y="9369"/>
                      <a:pt x="27684" y="9369"/>
                    </a:cubicBezTo>
                    <a:cubicBezTo>
                      <a:pt x="27684" y="9369"/>
                      <a:pt x="27684" y="9275"/>
                      <a:pt x="27684" y="9275"/>
                    </a:cubicBezTo>
                    <a:cubicBezTo>
                      <a:pt x="27684" y="9275"/>
                      <a:pt x="27684" y="8994"/>
                      <a:pt x="27778" y="9182"/>
                    </a:cubicBezTo>
                    <a:cubicBezTo>
                      <a:pt x="27872" y="9369"/>
                      <a:pt x="27778" y="9182"/>
                      <a:pt x="27778" y="9182"/>
                    </a:cubicBezTo>
                    <a:cubicBezTo>
                      <a:pt x="27575" y="9057"/>
                      <a:pt x="27778" y="9088"/>
                      <a:pt x="27778" y="9182"/>
                    </a:cubicBezTo>
                    <a:cubicBezTo>
                      <a:pt x="27778" y="9275"/>
                      <a:pt x="27778" y="8870"/>
                      <a:pt x="27778" y="9182"/>
                    </a:cubicBezTo>
                    <a:cubicBezTo>
                      <a:pt x="27778" y="8776"/>
                      <a:pt x="27778" y="9291"/>
                      <a:pt x="27949" y="9182"/>
                    </a:cubicBezTo>
                    <a:cubicBezTo>
                      <a:pt x="27778" y="8870"/>
                      <a:pt x="28152" y="9182"/>
                      <a:pt x="27949" y="8839"/>
                    </a:cubicBezTo>
                    <a:cubicBezTo>
                      <a:pt x="28043" y="8839"/>
                      <a:pt x="28168" y="8994"/>
                      <a:pt x="28246" y="8979"/>
                    </a:cubicBezTo>
                    <a:cubicBezTo>
                      <a:pt x="28324" y="8963"/>
                      <a:pt x="28246" y="8714"/>
                      <a:pt x="28246" y="8729"/>
                    </a:cubicBezTo>
                    <a:cubicBezTo>
                      <a:pt x="28246" y="8745"/>
                      <a:pt x="28105" y="8589"/>
                      <a:pt x="28246" y="8729"/>
                    </a:cubicBezTo>
                    <a:cubicBezTo>
                      <a:pt x="28386" y="8870"/>
                      <a:pt x="28246" y="8620"/>
                      <a:pt x="28246" y="8729"/>
                    </a:cubicBezTo>
                    <a:cubicBezTo>
                      <a:pt x="28355" y="8574"/>
                      <a:pt x="28386" y="9462"/>
                      <a:pt x="28370" y="8729"/>
                    </a:cubicBezTo>
                    <a:cubicBezTo>
                      <a:pt x="28620" y="9197"/>
                      <a:pt x="28370" y="8636"/>
                      <a:pt x="28542" y="8620"/>
                    </a:cubicBezTo>
                    <a:cubicBezTo>
                      <a:pt x="28713" y="8605"/>
                      <a:pt x="28542" y="8761"/>
                      <a:pt x="28635" y="8932"/>
                    </a:cubicBezTo>
                    <a:cubicBezTo>
                      <a:pt x="28729" y="9104"/>
                      <a:pt x="28713" y="8932"/>
                      <a:pt x="28744" y="8932"/>
                    </a:cubicBezTo>
                    <a:cubicBezTo>
                      <a:pt x="28589" y="8620"/>
                      <a:pt x="28916" y="8792"/>
                      <a:pt x="28900" y="8932"/>
                    </a:cubicBezTo>
                    <a:cubicBezTo>
                      <a:pt x="29197" y="8932"/>
                      <a:pt x="29087" y="9197"/>
                      <a:pt x="28807" y="9104"/>
                    </a:cubicBezTo>
                    <a:cubicBezTo>
                      <a:pt x="28900" y="9104"/>
                      <a:pt x="28994" y="9104"/>
                      <a:pt x="29041" y="9275"/>
                    </a:cubicBezTo>
                    <a:cubicBezTo>
                      <a:pt x="29087" y="9446"/>
                      <a:pt x="29150" y="9150"/>
                      <a:pt x="29290" y="9275"/>
                    </a:cubicBezTo>
                    <a:cubicBezTo>
                      <a:pt x="29290" y="9166"/>
                      <a:pt x="29290" y="9182"/>
                      <a:pt x="29290" y="9119"/>
                    </a:cubicBezTo>
                    <a:cubicBezTo>
                      <a:pt x="29290" y="9057"/>
                      <a:pt x="29633" y="9353"/>
                      <a:pt x="29384" y="9119"/>
                    </a:cubicBezTo>
                    <a:cubicBezTo>
                      <a:pt x="29384" y="9291"/>
                      <a:pt x="29555" y="9119"/>
                      <a:pt x="29571" y="9275"/>
                    </a:cubicBezTo>
                    <a:cubicBezTo>
                      <a:pt x="29586" y="9431"/>
                      <a:pt x="30147" y="9275"/>
                      <a:pt x="30568" y="9556"/>
                    </a:cubicBezTo>
                    <a:cubicBezTo>
                      <a:pt x="30459" y="9431"/>
                      <a:pt x="30896" y="9743"/>
                      <a:pt x="30677" y="9556"/>
                    </a:cubicBezTo>
                    <a:cubicBezTo>
                      <a:pt x="31488" y="9836"/>
                      <a:pt x="31410" y="10756"/>
                      <a:pt x="30490" y="10304"/>
                    </a:cubicBezTo>
                    <a:cubicBezTo>
                      <a:pt x="30381" y="10304"/>
                      <a:pt x="30381" y="10304"/>
                      <a:pt x="30334" y="10304"/>
                    </a:cubicBezTo>
                    <a:cubicBezTo>
                      <a:pt x="30288" y="10304"/>
                      <a:pt x="29867" y="10070"/>
                      <a:pt x="30007" y="10304"/>
                    </a:cubicBezTo>
                    <a:cubicBezTo>
                      <a:pt x="30147" y="10538"/>
                      <a:pt x="30366" y="10429"/>
                      <a:pt x="30272" y="10584"/>
                    </a:cubicBezTo>
                    <a:cubicBezTo>
                      <a:pt x="30521" y="10584"/>
                      <a:pt x="31613" y="12050"/>
                      <a:pt x="31379" y="11192"/>
                    </a:cubicBezTo>
                    <a:cubicBezTo>
                      <a:pt x="31207" y="11348"/>
                      <a:pt x="30958" y="10943"/>
                      <a:pt x="31083" y="10896"/>
                    </a:cubicBezTo>
                    <a:cubicBezTo>
                      <a:pt x="32392" y="11722"/>
                      <a:pt x="30833" y="10117"/>
                      <a:pt x="31737" y="10413"/>
                    </a:cubicBezTo>
                    <a:cubicBezTo>
                      <a:pt x="31737" y="10288"/>
                      <a:pt x="31846" y="10413"/>
                      <a:pt x="31893" y="10413"/>
                    </a:cubicBezTo>
                    <a:cubicBezTo>
                      <a:pt x="31668" y="10019"/>
                      <a:pt x="31372" y="9671"/>
                      <a:pt x="31020" y="9384"/>
                    </a:cubicBezTo>
                    <a:cubicBezTo>
                      <a:pt x="31301" y="9384"/>
                      <a:pt x="31737" y="9478"/>
                      <a:pt x="31581" y="9758"/>
                    </a:cubicBezTo>
                    <a:cubicBezTo>
                      <a:pt x="31940" y="10304"/>
                      <a:pt x="32080" y="9758"/>
                      <a:pt x="31893" y="9556"/>
                    </a:cubicBezTo>
                    <a:cubicBezTo>
                      <a:pt x="32049" y="9556"/>
                      <a:pt x="31893" y="9026"/>
                      <a:pt x="32127" y="9337"/>
                    </a:cubicBezTo>
                    <a:cubicBezTo>
                      <a:pt x="32127" y="9244"/>
                      <a:pt x="31924" y="9057"/>
                      <a:pt x="32127" y="9213"/>
                    </a:cubicBezTo>
                    <a:cubicBezTo>
                      <a:pt x="31971" y="8807"/>
                      <a:pt x="32236" y="9213"/>
                      <a:pt x="32423" y="9353"/>
                    </a:cubicBezTo>
                    <a:cubicBezTo>
                      <a:pt x="32423" y="9259"/>
                      <a:pt x="32423" y="9228"/>
                      <a:pt x="32423" y="9353"/>
                    </a:cubicBezTo>
                    <a:cubicBezTo>
                      <a:pt x="32221" y="9119"/>
                      <a:pt x="32564" y="9197"/>
                      <a:pt x="32517" y="8932"/>
                    </a:cubicBezTo>
                    <a:cubicBezTo>
                      <a:pt x="32626" y="9072"/>
                      <a:pt x="32953" y="9322"/>
                      <a:pt x="32688" y="9026"/>
                    </a:cubicBezTo>
                    <a:cubicBezTo>
                      <a:pt x="32844" y="9026"/>
                      <a:pt x="32595" y="8885"/>
                      <a:pt x="32782" y="9026"/>
                    </a:cubicBezTo>
                    <a:cubicBezTo>
                      <a:pt x="32702" y="8968"/>
                      <a:pt x="32619" y="8916"/>
                      <a:pt x="32532" y="8870"/>
                    </a:cubicBezTo>
                    <a:lnTo>
                      <a:pt x="32532" y="8870"/>
                    </a:lnTo>
                    <a:cubicBezTo>
                      <a:pt x="31815" y="8309"/>
                      <a:pt x="33203" y="8729"/>
                      <a:pt x="33561" y="8979"/>
                    </a:cubicBezTo>
                    <a:cubicBezTo>
                      <a:pt x="33390" y="8729"/>
                      <a:pt x="33140" y="8683"/>
                      <a:pt x="32906" y="8496"/>
                    </a:cubicBezTo>
                    <a:lnTo>
                      <a:pt x="32906" y="8496"/>
                    </a:lnTo>
                    <a:cubicBezTo>
                      <a:pt x="32906" y="8496"/>
                      <a:pt x="32906" y="8496"/>
                      <a:pt x="32797" y="8496"/>
                    </a:cubicBezTo>
                    <a:lnTo>
                      <a:pt x="32797" y="8496"/>
                    </a:lnTo>
                    <a:lnTo>
                      <a:pt x="32564" y="8309"/>
                    </a:lnTo>
                    <a:cubicBezTo>
                      <a:pt x="32688" y="8309"/>
                      <a:pt x="32330" y="8153"/>
                      <a:pt x="32423" y="8153"/>
                    </a:cubicBezTo>
                    <a:cubicBezTo>
                      <a:pt x="32221" y="8059"/>
                      <a:pt x="31176" y="7186"/>
                      <a:pt x="31394" y="7155"/>
                    </a:cubicBezTo>
                    <a:cubicBezTo>
                      <a:pt x="32158" y="7436"/>
                      <a:pt x="32953" y="8246"/>
                      <a:pt x="33701" y="8714"/>
                    </a:cubicBezTo>
                    <a:lnTo>
                      <a:pt x="33701" y="8714"/>
                    </a:lnTo>
                    <a:cubicBezTo>
                      <a:pt x="33931" y="8894"/>
                      <a:pt x="34135" y="9103"/>
                      <a:pt x="34309" y="9337"/>
                    </a:cubicBezTo>
                    <a:lnTo>
                      <a:pt x="34309" y="9337"/>
                    </a:lnTo>
                    <a:cubicBezTo>
                      <a:pt x="34481" y="9446"/>
                      <a:pt x="34465" y="9602"/>
                      <a:pt x="34309" y="9337"/>
                    </a:cubicBezTo>
                    <a:cubicBezTo>
                      <a:pt x="34309" y="9337"/>
                      <a:pt x="34013" y="9337"/>
                      <a:pt x="34216" y="9462"/>
                    </a:cubicBezTo>
                    <a:cubicBezTo>
                      <a:pt x="35338" y="9711"/>
                      <a:pt x="33811" y="8729"/>
                      <a:pt x="33670" y="8418"/>
                    </a:cubicBezTo>
                    <a:cubicBezTo>
                      <a:pt x="33670" y="8418"/>
                      <a:pt x="33670" y="8418"/>
                      <a:pt x="33670" y="8418"/>
                    </a:cubicBezTo>
                    <a:cubicBezTo>
                      <a:pt x="32928" y="8092"/>
                      <a:pt x="32240" y="7655"/>
                      <a:pt x="31628" y="7124"/>
                    </a:cubicBezTo>
                    <a:cubicBezTo>
                      <a:pt x="31971" y="7280"/>
                      <a:pt x="32283" y="7623"/>
                      <a:pt x="32610" y="7669"/>
                    </a:cubicBezTo>
                    <a:cubicBezTo>
                      <a:pt x="32486" y="7498"/>
                      <a:pt x="32860" y="7779"/>
                      <a:pt x="32766" y="7669"/>
                    </a:cubicBezTo>
                    <a:cubicBezTo>
                      <a:pt x="32514" y="7656"/>
                      <a:pt x="32275" y="7551"/>
                      <a:pt x="32096" y="7373"/>
                    </a:cubicBezTo>
                    <a:cubicBezTo>
                      <a:pt x="32423" y="7514"/>
                      <a:pt x="32096" y="7373"/>
                      <a:pt x="32096" y="7295"/>
                    </a:cubicBezTo>
                    <a:lnTo>
                      <a:pt x="32096" y="7295"/>
                    </a:lnTo>
                    <a:cubicBezTo>
                      <a:pt x="31659" y="6765"/>
                      <a:pt x="33655" y="8059"/>
                      <a:pt x="33000" y="7560"/>
                    </a:cubicBezTo>
                    <a:cubicBezTo>
                      <a:pt x="33249" y="7742"/>
                      <a:pt x="33522" y="7889"/>
                      <a:pt x="33811" y="7997"/>
                    </a:cubicBezTo>
                    <a:cubicBezTo>
                      <a:pt x="33530" y="7810"/>
                      <a:pt x="33811" y="7888"/>
                      <a:pt x="33966" y="7997"/>
                    </a:cubicBezTo>
                    <a:cubicBezTo>
                      <a:pt x="33873" y="7903"/>
                      <a:pt x="33608" y="7794"/>
                      <a:pt x="33670" y="7903"/>
                    </a:cubicBezTo>
                    <a:cubicBezTo>
                      <a:pt x="33187" y="7685"/>
                      <a:pt x="32688" y="7311"/>
                      <a:pt x="32111" y="7077"/>
                    </a:cubicBezTo>
                    <a:cubicBezTo>
                      <a:pt x="31956" y="7077"/>
                      <a:pt x="31223" y="6719"/>
                      <a:pt x="31332" y="6563"/>
                    </a:cubicBezTo>
                    <a:cubicBezTo>
                      <a:pt x="31114" y="6282"/>
                      <a:pt x="31488" y="6656"/>
                      <a:pt x="31628" y="6641"/>
                    </a:cubicBezTo>
                    <a:cubicBezTo>
                      <a:pt x="31426" y="6641"/>
                      <a:pt x="31301" y="6391"/>
                      <a:pt x="31098" y="6360"/>
                    </a:cubicBezTo>
                    <a:cubicBezTo>
                      <a:pt x="30896" y="6329"/>
                      <a:pt x="30911" y="6360"/>
                      <a:pt x="30880" y="6282"/>
                    </a:cubicBezTo>
                    <a:cubicBezTo>
                      <a:pt x="30849" y="6204"/>
                      <a:pt x="30974" y="6282"/>
                      <a:pt x="30880" y="6282"/>
                    </a:cubicBezTo>
                    <a:cubicBezTo>
                      <a:pt x="30786" y="6282"/>
                      <a:pt x="30709" y="6204"/>
                      <a:pt x="30740" y="6282"/>
                    </a:cubicBezTo>
                    <a:cubicBezTo>
                      <a:pt x="30771" y="6360"/>
                      <a:pt x="30568" y="6173"/>
                      <a:pt x="30740" y="6282"/>
                    </a:cubicBezTo>
                    <a:lnTo>
                      <a:pt x="30506" y="6142"/>
                    </a:lnTo>
                    <a:cubicBezTo>
                      <a:pt x="30506" y="6142"/>
                      <a:pt x="30506" y="6142"/>
                      <a:pt x="30506" y="6142"/>
                    </a:cubicBezTo>
                    <a:lnTo>
                      <a:pt x="30101" y="5861"/>
                    </a:lnTo>
                    <a:lnTo>
                      <a:pt x="30101" y="5861"/>
                    </a:lnTo>
                    <a:cubicBezTo>
                      <a:pt x="30026" y="5804"/>
                      <a:pt x="29948" y="5752"/>
                      <a:pt x="29867" y="5705"/>
                    </a:cubicBezTo>
                    <a:lnTo>
                      <a:pt x="29867" y="5705"/>
                    </a:lnTo>
                    <a:lnTo>
                      <a:pt x="29867" y="5705"/>
                    </a:lnTo>
                    <a:lnTo>
                      <a:pt x="29867" y="5705"/>
                    </a:lnTo>
                    <a:lnTo>
                      <a:pt x="29664" y="5612"/>
                    </a:lnTo>
                    <a:lnTo>
                      <a:pt x="29664" y="5612"/>
                    </a:lnTo>
                    <a:cubicBezTo>
                      <a:pt x="29664" y="5612"/>
                      <a:pt x="29508" y="5612"/>
                      <a:pt x="29664" y="5612"/>
                    </a:cubicBezTo>
                    <a:lnTo>
                      <a:pt x="29664" y="5612"/>
                    </a:lnTo>
                    <a:lnTo>
                      <a:pt x="29664" y="5612"/>
                    </a:lnTo>
                    <a:lnTo>
                      <a:pt x="29914" y="5705"/>
                    </a:lnTo>
                    <a:lnTo>
                      <a:pt x="29711" y="5612"/>
                    </a:lnTo>
                    <a:lnTo>
                      <a:pt x="29851" y="5612"/>
                    </a:lnTo>
                    <a:lnTo>
                      <a:pt x="29773" y="5612"/>
                    </a:lnTo>
                    <a:cubicBezTo>
                      <a:pt x="29732" y="5603"/>
                      <a:pt x="29690" y="5603"/>
                      <a:pt x="29649" y="5612"/>
                    </a:cubicBezTo>
                    <a:lnTo>
                      <a:pt x="29649" y="5612"/>
                    </a:lnTo>
                    <a:cubicBezTo>
                      <a:pt x="29607" y="5620"/>
                      <a:pt x="29565" y="5620"/>
                      <a:pt x="29524" y="5612"/>
                    </a:cubicBezTo>
                    <a:lnTo>
                      <a:pt x="29836" y="5721"/>
                    </a:lnTo>
                    <a:cubicBezTo>
                      <a:pt x="29722" y="5665"/>
                      <a:pt x="29601" y="5623"/>
                      <a:pt x="29477" y="5596"/>
                    </a:cubicBezTo>
                    <a:lnTo>
                      <a:pt x="29477" y="5596"/>
                    </a:lnTo>
                    <a:cubicBezTo>
                      <a:pt x="29477" y="5596"/>
                      <a:pt x="29306" y="5596"/>
                      <a:pt x="29352" y="5596"/>
                    </a:cubicBezTo>
                    <a:cubicBezTo>
                      <a:pt x="29399" y="5596"/>
                      <a:pt x="29352" y="5596"/>
                      <a:pt x="29352" y="5596"/>
                    </a:cubicBezTo>
                    <a:lnTo>
                      <a:pt x="29352" y="5596"/>
                    </a:lnTo>
                    <a:lnTo>
                      <a:pt x="29228" y="5596"/>
                    </a:lnTo>
                    <a:lnTo>
                      <a:pt x="29228" y="5596"/>
                    </a:lnTo>
                    <a:lnTo>
                      <a:pt x="28807" y="5471"/>
                    </a:lnTo>
                    <a:lnTo>
                      <a:pt x="28807" y="5471"/>
                    </a:lnTo>
                    <a:cubicBezTo>
                      <a:pt x="28651" y="5471"/>
                      <a:pt x="27918" y="5191"/>
                      <a:pt x="28090" y="5222"/>
                    </a:cubicBezTo>
                    <a:lnTo>
                      <a:pt x="28090" y="5222"/>
                    </a:lnTo>
                    <a:lnTo>
                      <a:pt x="28183" y="5222"/>
                    </a:lnTo>
                    <a:lnTo>
                      <a:pt x="28183" y="5222"/>
                    </a:lnTo>
                    <a:cubicBezTo>
                      <a:pt x="28355" y="5222"/>
                      <a:pt x="28511" y="5316"/>
                      <a:pt x="28682" y="5362"/>
                    </a:cubicBezTo>
                    <a:lnTo>
                      <a:pt x="28511" y="5362"/>
                    </a:lnTo>
                    <a:lnTo>
                      <a:pt x="28667" y="5362"/>
                    </a:lnTo>
                    <a:lnTo>
                      <a:pt x="28573" y="5362"/>
                    </a:lnTo>
                    <a:cubicBezTo>
                      <a:pt x="28667" y="5362"/>
                      <a:pt x="28464" y="5362"/>
                      <a:pt x="28573" y="5362"/>
                    </a:cubicBezTo>
                    <a:lnTo>
                      <a:pt x="28573" y="5362"/>
                    </a:lnTo>
                    <a:cubicBezTo>
                      <a:pt x="28854" y="5440"/>
                      <a:pt x="29477" y="5627"/>
                      <a:pt x="28869" y="5362"/>
                    </a:cubicBezTo>
                    <a:lnTo>
                      <a:pt x="28869" y="5362"/>
                    </a:lnTo>
                    <a:lnTo>
                      <a:pt x="28776" y="5362"/>
                    </a:lnTo>
                    <a:lnTo>
                      <a:pt x="28776" y="5362"/>
                    </a:lnTo>
                    <a:lnTo>
                      <a:pt x="28776" y="5362"/>
                    </a:lnTo>
                    <a:lnTo>
                      <a:pt x="28776" y="5362"/>
                    </a:lnTo>
                    <a:lnTo>
                      <a:pt x="28776" y="5362"/>
                    </a:lnTo>
                    <a:lnTo>
                      <a:pt x="29306" y="5487"/>
                    </a:lnTo>
                    <a:lnTo>
                      <a:pt x="29087" y="5487"/>
                    </a:lnTo>
                    <a:lnTo>
                      <a:pt x="29384" y="5487"/>
                    </a:lnTo>
                    <a:lnTo>
                      <a:pt x="29617" y="5487"/>
                    </a:lnTo>
                    <a:lnTo>
                      <a:pt x="29617" y="5487"/>
                    </a:lnTo>
                    <a:cubicBezTo>
                      <a:pt x="29415" y="5487"/>
                      <a:pt x="29617" y="5487"/>
                      <a:pt x="29742" y="5487"/>
                    </a:cubicBezTo>
                    <a:lnTo>
                      <a:pt x="29742" y="5487"/>
                    </a:lnTo>
                    <a:lnTo>
                      <a:pt x="29742" y="5487"/>
                    </a:lnTo>
                    <a:cubicBezTo>
                      <a:pt x="30128" y="5587"/>
                      <a:pt x="30504" y="5722"/>
                      <a:pt x="30864" y="5892"/>
                    </a:cubicBezTo>
                    <a:cubicBezTo>
                      <a:pt x="30864" y="5892"/>
                      <a:pt x="30864" y="5892"/>
                      <a:pt x="30864" y="5892"/>
                    </a:cubicBezTo>
                    <a:cubicBezTo>
                      <a:pt x="30864" y="5892"/>
                      <a:pt x="31270" y="6048"/>
                      <a:pt x="31441" y="6142"/>
                    </a:cubicBezTo>
                    <a:lnTo>
                      <a:pt x="31441" y="6142"/>
                    </a:lnTo>
                    <a:lnTo>
                      <a:pt x="32189" y="6500"/>
                    </a:lnTo>
                    <a:cubicBezTo>
                      <a:pt x="31956" y="6376"/>
                      <a:pt x="31722" y="6235"/>
                      <a:pt x="31457" y="6111"/>
                    </a:cubicBezTo>
                    <a:lnTo>
                      <a:pt x="31457" y="6111"/>
                    </a:lnTo>
                    <a:lnTo>
                      <a:pt x="31176" y="5986"/>
                    </a:lnTo>
                    <a:lnTo>
                      <a:pt x="31301" y="5986"/>
                    </a:lnTo>
                    <a:cubicBezTo>
                      <a:pt x="31301" y="5986"/>
                      <a:pt x="30896" y="5846"/>
                      <a:pt x="31083" y="5892"/>
                    </a:cubicBezTo>
                    <a:lnTo>
                      <a:pt x="30958" y="5892"/>
                    </a:lnTo>
                    <a:lnTo>
                      <a:pt x="31239" y="5986"/>
                    </a:lnTo>
                    <a:cubicBezTo>
                      <a:pt x="31152" y="5934"/>
                      <a:pt x="31057" y="5897"/>
                      <a:pt x="30958" y="5877"/>
                    </a:cubicBezTo>
                    <a:cubicBezTo>
                      <a:pt x="31116" y="5914"/>
                      <a:pt x="31273" y="5961"/>
                      <a:pt x="31426" y="6017"/>
                    </a:cubicBezTo>
                    <a:lnTo>
                      <a:pt x="31285" y="6017"/>
                    </a:lnTo>
                    <a:lnTo>
                      <a:pt x="31285" y="6017"/>
                    </a:lnTo>
                    <a:lnTo>
                      <a:pt x="30584" y="4380"/>
                    </a:lnTo>
                    <a:cubicBezTo>
                      <a:pt x="38732" y="7070"/>
                      <a:pt x="44371" y="14514"/>
                      <a:pt x="44753" y="23086"/>
                    </a:cubicBezTo>
                    <a:cubicBezTo>
                      <a:pt x="44742" y="23396"/>
                      <a:pt x="44700" y="23704"/>
                      <a:pt x="44629" y="24006"/>
                    </a:cubicBezTo>
                    <a:cubicBezTo>
                      <a:pt x="44691" y="23912"/>
                      <a:pt x="44613" y="24084"/>
                      <a:pt x="44613" y="24131"/>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6" name="Google Shape;96;p14"/>
              <p:cNvSpPr/>
              <p:nvPr/>
            </p:nvSpPr>
            <p:spPr>
              <a:xfrm rot="-5400000">
                <a:off x="10654635" y="7242900"/>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7" name="Google Shape;97;p14"/>
              <p:cNvSpPr/>
              <p:nvPr/>
            </p:nvSpPr>
            <p:spPr>
              <a:xfrm rot="-5400000">
                <a:off x="10647776" y="7212394"/>
                <a:ext cx="41027" cy="46516"/>
              </a:xfrm>
              <a:custGeom>
                <a:avLst/>
                <a:gdLst/>
                <a:ahLst/>
                <a:cxnLst/>
                <a:rect l="l" t="t" r="r" b="b"/>
                <a:pathLst>
                  <a:path w="41027" h="46516" extrusionOk="0">
                    <a:moveTo>
                      <a:pt x="36554" y="3664"/>
                    </a:moveTo>
                    <a:cubicBezTo>
                      <a:pt x="39537" y="6127"/>
                      <a:pt x="41028" y="10206"/>
                      <a:pt x="41028" y="15901"/>
                    </a:cubicBezTo>
                    <a:lnTo>
                      <a:pt x="41028" y="46517"/>
                    </a:lnTo>
                    <a:lnTo>
                      <a:pt x="28854" y="46517"/>
                    </a:lnTo>
                    <a:lnTo>
                      <a:pt x="28854" y="18863"/>
                    </a:lnTo>
                    <a:cubicBezTo>
                      <a:pt x="28943" y="16981"/>
                      <a:pt x="28618" y="15103"/>
                      <a:pt x="27903" y="13360"/>
                    </a:cubicBezTo>
                    <a:cubicBezTo>
                      <a:pt x="26734" y="11038"/>
                      <a:pt x="24536" y="9869"/>
                      <a:pt x="21278" y="9869"/>
                    </a:cubicBezTo>
                    <a:cubicBezTo>
                      <a:pt x="17705" y="9597"/>
                      <a:pt x="14368" y="11672"/>
                      <a:pt x="13032" y="14997"/>
                    </a:cubicBezTo>
                    <a:cubicBezTo>
                      <a:pt x="12195" y="17206"/>
                      <a:pt x="11803" y="19558"/>
                      <a:pt x="11878" y="21918"/>
                    </a:cubicBezTo>
                    <a:lnTo>
                      <a:pt x="11878" y="46517"/>
                    </a:lnTo>
                    <a:lnTo>
                      <a:pt x="0" y="46517"/>
                    </a:lnTo>
                    <a:lnTo>
                      <a:pt x="0" y="1155"/>
                    </a:lnTo>
                    <a:lnTo>
                      <a:pt x="11504" y="1155"/>
                    </a:lnTo>
                    <a:lnTo>
                      <a:pt x="11504" y="7811"/>
                    </a:lnTo>
                    <a:cubicBezTo>
                      <a:pt x="12650" y="5897"/>
                      <a:pt x="14110" y="4190"/>
                      <a:pt x="15822" y="2760"/>
                    </a:cubicBezTo>
                    <a:cubicBezTo>
                      <a:pt x="18522" y="851"/>
                      <a:pt x="21777" y="-114"/>
                      <a:pt x="25081" y="17"/>
                    </a:cubicBezTo>
                    <a:cubicBezTo>
                      <a:pt x="29217" y="-165"/>
                      <a:pt x="33283" y="1128"/>
                      <a:pt x="36554" y="366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 name="Google Shape;98;p14"/>
              <p:cNvSpPr/>
              <p:nvPr/>
            </p:nvSpPr>
            <p:spPr>
              <a:xfrm rot="-5400000">
                <a:off x="10647372" y="7164586"/>
                <a:ext cx="26265" cy="62088"/>
              </a:xfrm>
              <a:custGeom>
                <a:avLst/>
                <a:gdLst/>
                <a:ahLst/>
                <a:cxnLst/>
                <a:rect l="l" t="t" r="r" b="b"/>
                <a:pathLst>
                  <a:path w="26265" h="62088" extrusionOk="0">
                    <a:moveTo>
                      <a:pt x="23476" y="0"/>
                    </a:moveTo>
                    <a:lnTo>
                      <a:pt x="25970" y="187"/>
                    </a:lnTo>
                    <a:lnTo>
                      <a:pt x="25970" y="9930"/>
                    </a:lnTo>
                    <a:cubicBezTo>
                      <a:pt x="24857" y="9809"/>
                      <a:pt x="23738" y="9746"/>
                      <a:pt x="22618" y="9743"/>
                    </a:cubicBezTo>
                    <a:cubicBezTo>
                      <a:pt x="21432" y="9564"/>
                      <a:pt x="20229" y="9943"/>
                      <a:pt x="19360" y="10771"/>
                    </a:cubicBezTo>
                    <a:cubicBezTo>
                      <a:pt x="18789" y="11459"/>
                      <a:pt x="18475" y="12325"/>
                      <a:pt x="18472" y="13219"/>
                    </a:cubicBezTo>
                    <a:lnTo>
                      <a:pt x="18472" y="17054"/>
                    </a:lnTo>
                    <a:lnTo>
                      <a:pt x="26266" y="17054"/>
                    </a:lnTo>
                    <a:lnTo>
                      <a:pt x="26266" y="25440"/>
                    </a:lnTo>
                    <a:lnTo>
                      <a:pt x="18472" y="25440"/>
                    </a:lnTo>
                    <a:lnTo>
                      <a:pt x="18472" y="62088"/>
                    </a:lnTo>
                    <a:lnTo>
                      <a:pt x="6672" y="62088"/>
                    </a:lnTo>
                    <a:lnTo>
                      <a:pt x="6672" y="25440"/>
                    </a:lnTo>
                    <a:lnTo>
                      <a:pt x="0" y="25440"/>
                    </a:lnTo>
                    <a:lnTo>
                      <a:pt x="0" y="17054"/>
                    </a:lnTo>
                    <a:lnTo>
                      <a:pt x="6500" y="17054"/>
                    </a:lnTo>
                    <a:lnTo>
                      <a:pt x="6500" y="14139"/>
                    </a:lnTo>
                    <a:cubicBezTo>
                      <a:pt x="6500" y="9275"/>
                      <a:pt x="7321" y="5924"/>
                      <a:pt x="8963" y="4084"/>
                    </a:cubicBezTo>
                    <a:cubicBezTo>
                      <a:pt x="10693" y="1356"/>
                      <a:pt x="14840" y="0"/>
                      <a:pt x="21434" y="0"/>
                    </a:cubicBezTo>
                    <a:cubicBezTo>
                      <a:pt x="22182" y="0"/>
                      <a:pt x="22868" y="0"/>
                      <a:pt x="23476" y="0"/>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 name="Google Shape;99;p14"/>
              <p:cNvSpPr/>
              <p:nvPr/>
            </p:nvSpPr>
            <p:spPr>
              <a:xfrm rot="-5400000">
                <a:off x="10646133" y="6877843"/>
                <a:ext cx="44501" cy="46328"/>
              </a:xfrm>
              <a:custGeom>
                <a:avLst/>
                <a:gdLst/>
                <a:ahLst/>
                <a:cxnLst/>
                <a:rect l="l" t="t" r="r" b="b"/>
                <a:pathLst>
                  <a:path w="44501" h="46328" extrusionOk="0">
                    <a:moveTo>
                      <a:pt x="38977" y="39516"/>
                    </a:moveTo>
                    <a:cubicBezTo>
                      <a:pt x="35309" y="44047"/>
                      <a:pt x="29733" y="46318"/>
                      <a:pt x="22251" y="46328"/>
                    </a:cubicBezTo>
                    <a:cubicBezTo>
                      <a:pt x="14769" y="46339"/>
                      <a:pt x="9188" y="44068"/>
                      <a:pt x="5510" y="39516"/>
                    </a:cubicBezTo>
                    <a:cubicBezTo>
                      <a:pt x="1815" y="34897"/>
                      <a:pt x="-132" y="29124"/>
                      <a:pt x="7" y="23211"/>
                    </a:cubicBezTo>
                    <a:cubicBezTo>
                      <a:pt x="-118" y="17296"/>
                      <a:pt x="1829" y="11523"/>
                      <a:pt x="5510" y="6890"/>
                    </a:cubicBezTo>
                    <a:cubicBezTo>
                      <a:pt x="9188" y="2286"/>
                      <a:pt x="14769" y="-10"/>
                      <a:pt x="22251" y="0"/>
                    </a:cubicBezTo>
                    <a:cubicBezTo>
                      <a:pt x="29733" y="10"/>
                      <a:pt x="35309" y="2307"/>
                      <a:pt x="38977" y="6890"/>
                    </a:cubicBezTo>
                    <a:cubicBezTo>
                      <a:pt x="42662" y="11521"/>
                      <a:pt x="44614" y="17294"/>
                      <a:pt x="44495" y="23211"/>
                    </a:cubicBezTo>
                    <a:cubicBezTo>
                      <a:pt x="44629" y="29126"/>
                      <a:pt x="42675" y="34898"/>
                      <a:pt x="38977" y="39516"/>
                    </a:cubicBezTo>
                    <a:close/>
                    <a:moveTo>
                      <a:pt x="29874" y="33281"/>
                    </a:moveTo>
                    <a:cubicBezTo>
                      <a:pt x="31833" y="30303"/>
                      <a:pt x="32775" y="26769"/>
                      <a:pt x="32555" y="23211"/>
                    </a:cubicBezTo>
                    <a:cubicBezTo>
                      <a:pt x="32782" y="19652"/>
                      <a:pt x="31841" y="16116"/>
                      <a:pt x="29874" y="13141"/>
                    </a:cubicBezTo>
                    <a:cubicBezTo>
                      <a:pt x="26221" y="8901"/>
                      <a:pt x="19824" y="8424"/>
                      <a:pt x="15584" y="12076"/>
                    </a:cubicBezTo>
                    <a:cubicBezTo>
                      <a:pt x="15204" y="12404"/>
                      <a:pt x="14847" y="12760"/>
                      <a:pt x="14519" y="13141"/>
                    </a:cubicBezTo>
                    <a:cubicBezTo>
                      <a:pt x="12548" y="16114"/>
                      <a:pt x="11600" y="19650"/>
                      <a:pt x="11823" y="23211"/>
                    </a:cubicBezTo>
                    <a:cubicBezTo>
                      <a:pt x="11600" y="26782"/>
                      <a:pt x="12546" y="30328"/>
                      <a:pt x="14519" y="33312"/>
                    </a:cubicBezTo>
                    <a:cubicBezTo>
                      <a:pt x="18145" y="37552"/>
                      <a:pt x="24521" y="38050"/>
                      <a:pt x="28761" y="34425"/>
                    </a:cubicBezTo>
                    <a:cubicBezTo>
                      <a:pt x="29160" y="34083"/>
                      <a:pt x="29532" y="33711"/>
                      <a:pt x="29874" y="333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 name="Google Shape;100;p14"/>
              <p:cNvSpPr/>
              <p:nvPr/>
            </p:nvSpPr>
            <p:spPr>
              <a:xfrm rot="-5400000">
                <a:off x="10635737" y="7067825"/>
                <a:ext cx="65151" cy="46470"/>
              </a:xfrm>
              <a:custGeom>
                <a:avLst/>
                <a:gdLst/>
                <a:ahLst/>
                <a:cxnLst/>
                <a:rect l="l" t="t" r="r" b="b"/>
                <a:pathLst>
                  <a:path w="65151" h="46470" extrusionOk="0">
                    <a:moveTo>
                      <a:pt x="56850" y="1186"/>
                    </a:moveTo>
                    <a:cubicBezTo>
                      <a:pt x="58932" y="2071"/>
                      <a:pt x="60753" y="3478"/>
                      <a:pt x="62134" y="5271"/>
                    </a:cubicBezTo>
                    <a:cubicBezTo>
                      <a:pt x="63468" y="6974"/>
                      <a:pt x="64359" y="8983"/>
                      <a:pt x="64722" y="11116"/>
                    </a:cubicBezTo>
                    <a:cubicBezTo>
                      <a:pt x="65051" y="13335"/>
                      <a:pt x="65191" y="15577"/>
                      <a:pt x="65143" y="17819"/>
                    </a:cubicBezTo>
                    <a:lnTo>
                      <a:pt x="65143" y="46470"/>
                    </a:lnTo>
                    <a:lnTo>
                      <a:pt x="52953" y="46470"/>
                    </a:lnTo>
                    <a:lnTo>
                      <a:pt x="52953" y="17523"/>
                    </a:lnTo>
                    <a:cubicBezTo>
                      <a:pt x="53012" y="16064"/>
                      <a:pt x="52728" y="14612"/>
                      <a:pt x="52127" y="13283"/>
                    </a:cubicBezTo>
                    <a:cubicBezTo>
                      <a:pt x="50992" y="11152"/>
                      <a:pt x="48682" y="9920"/>
                      <a:pt x="46281" y="10165"/>
                    </a:cubicBezTo>
                    <a:cubicBezTo>
                      <a:pt x="43382" y="9944"/>
                      <a:pt x="40660" y="11583"/>
                      <a:pt x="39500" y="14249"/>
                    </a:cubicBezTo>
                    <a:cubicBezTo>
                      <a:pt x="38811" y="15902"/>
                      <a:pt x="38482" y="17682"/>
                      <a:pt x="38534" y="19471"/>
                    </a:cubicBezTo>
                    <a:lnTo>
                      <a:pt x="38534" y="46470"/>
                    </a:lnTo>
                    <a:lnTo>
                      <a:pt x="26562" y="46470"/>
                    </a:lnTo>
                    <a:lnTo>
                      <a:pt x="26562" y="19409"/>
                    </a:lnTo>
                    <a:cubicBezTo>
                      <a:pt x="26671" y="17415"/>
                      <a:pt x="26391" y="15419"/>
                      <a:pt x="25736" y="13532"/>
                    </a:cubicBezTo>
                    <a:cubicBezTo>
                      <a:pt x="24678" y="11295"/>
                      <a:pt x="22321" y="9970"/>
                      <a:pt x="19859" y="10228"/>
                    </a:cubicBezTo>
                    <a:cubicBezTo>
                      <a:pt x="16461" y="10228"/>
                      <a:pt x="14180" y="11329"/>
                      <a:pt x="13016" y="13532"/>
                    </a:cubicBezTo>
                    <a:cubicBezTo>
                      <a:pt x="12276" y="15295"/>
                      <a:pt x="11945" y="17204"/>
                      <a:pt x="12050" y="19113"/>
                    </a:cubicBezTo>
                    <a:lnTo>
                      <a:pt x="12050" y="46470"/>
                    </a:lnTo>
                    <a:lnTo>
                      <a:pt x="0" y="46470"/>
                    </a:lnTo>
                    <a:lnTo>
                      <a:pt x="0" y="1108"/>
                    </a:lnTo>
                    <a:lnTo>
                      <a:pt x="11551" y="1108"/>
                    </a:lnTo>
                    <a:lnTo>
                      <a:pt x="11551" y="7765"/>
                    </a:lnTo>
                    <a:cubicBezTo>
                      <a:pt x="12642" y="5853"/>
                      <a:pt x="14056" y="4144"/>
                      <a:pt x="15728" y="2714"/>
                    </a:cubicBezTo>
                    <a:cubicBezTo>
                      <a:pt x="20982" y="-698"/>
                      <a:pt x="27714" y="-843"/>
                      <a:pt x="33109" y="2340"/>
                    </a:cubicBezTo>
                    <a:cubicBezTo>
                      <a:pt x="34832" y="3792"/>
                      <a:pt x="36157" y="5659"/>
                      <a:pt x="36959" y="7765"/>
                    </a:cubicBezTo>
                    <a:cubicBezTo>
                      <a:pt x="38303" y="5303"/>
                      <a:pt x="40306" y="3263"/>
                      <a:pt x="42743" y="1872"/>
                    </a:cubicBezTo>
                    <a:cubicBezTo>
                      <a:pt x="45282" y="604"/>
                      <a:pt x="48088" y="-38"/>
                      <a:pt x="50926" y="2"/>
                    </a:cubicBezTo>
                    <a:cubicBezTo>
                      <a:pt x="52959" y="13"/>
                      <a:pt x="54970" y="415"/>
                      <a:pt x="56850" y="11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 name="Google Shape;101;p14"/>
              <p:cNvSpPr/>
              <p:nvPr/>
            </p:nvSpPr>
            <p:spPr>
              <a:xfrm rot="-5400000">
                <a:off x="10654635" y="7010498"/>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 name="Google Shape;102;p14"/>
              <p:cNvSpPr/>
              <p:nvPr/>
            </p:nvSpPr>
            <p:spPr>
              <a:xfrm rot="-5400000">
                <a:off x="10647776" y="6979991"/>
                <a:ext cx="41027" cy="46516"/>
              </a:xfrm>
              <a:custGeom>
                <a:avLst/>
                <a:gdLst/>
                <a:ahLst/>
                <a:cxnLst/>
                <a:rect l="l" t="t" r="r" b="b"/>
                <a:pathLst>
                  <a:path w="41027" h="46516" extrusionOk="0">
                    <a:moveTo>
                      <a:pt x="36570" y="3664"/>
                    </a:moveTo>
                    <a:cubicBezTo>
                      <a:pt x="39531" y="6127"/>
                      <a:pt x="41028" y="10211"/>
                      <a:pt x="41028" y="15901"/>
                    </a:cubicBezTo>
                    <a:lnTo>
                      <a:pt x="41028" y="46517"/>
                    </a:lnTo>
                    <a:lnTo>
                      <a:pt x="28854" y="46517"/>
                    </a:lnTo>
                    <a:lnTo>
                      <a:pt x="28854" y="18863"/>
                    </a:lnTo>
                    <a:cubicBezTo>
                      <a:pt x="28950" y="16981"/>
                      <a:pt x="28626" y="15101"/>
                      <a:pt x="27903" y="13360"/>
                    </a:cubicBezTo>
                    <a:cubicBezTo>
                      <a:pt x="26734" y="11038"/>
                      <a:pt x="24536" y="9869"/>
                      <a:pt x="21278" y="9869"/>
                    </a:cubicBezTo>
                    <a:cubicBezTo>
                      <a:pt x="17707" y="9588"/>
                      <a:pt x="14369" y="11668"/>
                      <a:pt x="13047" y="14997"/>
                    </a:cubicBezTo>
                    <a:cubicBezTo>
                      <a:pt x="12196" y="17202"/>
                      <a:pt x="11799" y="19556"/>
                      <a:pt x="11878" y="21918"/>
                    </a:cubicBezTo>
                    <a:lnTo>
                      <a:pt x="11878" y="46517"/>
                    </a:lnTo>
                    <a:lnTo>
                      <a:pt x="0" y="46517"/>
                    </a:lnTo>
                    <a:lnTo>
                      <a:pt x="0" y="1155"/>
                    </a:lnTo>
                    <a:lnTo>
                      <a:pt x="11504" y="1155"/>
                    </a:lnTo>
                    <a:lnTo>
                      <a:pt x="11504" y="7811"/>
                    </a:lnTo>
                    <a:cubicBezTo>
                      <a:pt x="12656" y="5901"/>
                      <a:pt x="14115" y="4195"/>
                      <a:pt x="15822" y="2760"/>
                    </a:cubicBezTo>
                    <a:cubicBezTo>
                      <a:pt x="18522" y="851"/>
                      <a:pt x="21777" y="-114"/>
                      <a:pt x="25081" y="17"/>
                    </a:cubicBezTo>
                    <a:cubicBezTo>
                      <a:pt x="29221" y="-164"/>
                      <a:pt x="33292" y="1128"/>
                      <a:pt x="36570"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 name="Google Shape;103;p14"/>
              <p:cNvSpPr/>
              <p:nvPr/>
            </p:nvSpPr>
            <p:spPr>
              <a:xfrm rot="-5400000">
                <a:off x="10646435" y="6930030"/>
                <a:ext cx="43636" cy="46747"/>
              </a:xfrm>
              <a:custGeom>
                <a:avLst/>
                <a:gdLst/>
                <a:ahLst/>
                <a:cxnLst/>
                <a:rect l="l" t="t" r="r" b="b"/>
                <a:pathLst>
                  <a:path w="43636" h="46747" extrusionOk="0">
                    <a:moveTo>
                      <a:pt x="32111" y="2070"/>
                    </a:moveTo>
                    <a:cubicBezTo>
                      <a:pt x="35215" y="3467"/>
                      <a:pt x="37854" y="5723"/>
                      <a:pt x="39718" y="8570"/>
                    </a:cubicBezTo>
                    <a:cubicBezTo>
                      <a:pt x="41567" y="11297"/>
                      <a:pt x="42768" y="14411"/>
                      <a:pt x="43226" y="17674"/>
                    </a:cubicBezTo>
                    <a:cubicBezTo>
                      <a:pt x="43580" y="20569"/>
                      <a:pt x="43706" y="23488"/>
                      <a:pt x="43600" y="26403"/>
                    </a:cubicBezTo>
                    <a:lnTo>
                      <a:pt x="11535" y="26403"/>
                    </a:lnTo>
                    <a:cubicBezTo>
                      <a:pt x="11707" y="30815"/>
                      <a:pt x="13250" y="33917"/>
                      <a:pt x="16134" y="35756"/>
                    </a:cubicBezTo>
                    <a:cubicBezTo>
                      <a:pt x="18045" y="36908"/>
                      <a:pt x="20247" y="37487"/>
                      <a:pt x="22478" y="37424"/>
                    </a:cubicBezTo>
                    <a:cubicBezTo>
                      <a:pt x="24782" y="37530"/>
                      <a:pt x="27047" y="36812"/>
                      <a:pt x="28869" y="35398"/>
                    </a:cubicBezTo>
                    <a:cubicBezTo>
                      <a:pt x="29850" y="34559"/>
                      <a:pt x="30651" y="33530"/>
                      <a:pt x="31223" y="32374"/>
                    </a:cubicBezTo>
                    <a:lnTo>
                      <a:pt x="43023" y="32374"/>
                    </a:lnTo>
                    <a:cubicBezTo>
                      <a:pt x="42488" y="35413"/>
                      <a:pt x="40992" y="38200"/>
                      <a:pt x="38752" y="40324"/>
                    </a:cubicBezTo>
                    <a:cubicBezTo>
                      <a:pt x="34808" y="44611"/>
                      <a:pt x="29306" y="46746"/>
                      <a:pt x="22197" y="46746"/>
                    </a:cubicBezTo>
                    <a:cubicBezTo>
                      <a:pt x="16558" y="46814"/>
                      <a:pt x="11074" y="44900"/>
                      <a:pt x="6703" y="41337"/>
                    </a:cubicBezTo>
                    <a:cubicBezTo>
                      <a:pt x="2234" y="37721"/>
                      <a:pt x="0" y="31849"/>
                      <a:pt x="0" y="23722"/>
                    </a:cubicBezTo>
                    <a:cubicBezTo>
                      <a:pt x="0" y="16105"/>
                      <a:pt x="2022" y="10259"/>
                      <a:pt x="6064" y="6185"/>
                    </a:cubicBezTo>
                    <a:cubicBezTo>
                      <a:pt x="10212" y="2046"/>
                      <a:pt x="15889" y="-189"/>
                      <a:pt x="21745" y="13"/>
                    </a:cubicBezTo>
                    <a:cubicBezTo>
                      <a:pt x="25307" y="-48"/>
                      <a:pt x="28843" y="654"/>
                      <a:pt x="32111" y="2070"/>
                    </a:cubicBezTo>
                    <a:close/>
                    <a:moveTo>
                      <a:pt x="14965" y="12000"/>
                    </a:moveTo>
                    <a:cubicBezTo>
                      <a:pt x="13208" y="13893"/>
                      <a:pt x="12115" y="16306"/>
                      <a:pt x="11847" y="18874"/>
                    </a:cubicBezTo>
                    <a:lnTo>
                      <a:pt x="31659" y="18874"/>
                    </a:lnTo>
                    <a:cubicBezTo>
                      <a:pt x="31622" y="16226"/>
                      <a:pt x="30493" y="13711"/>
                      <a:pt x="28542" y="11922"/>
                    </a:cubicBezTo>
                    <a:cubicBezTo>
                      <a:pt x="26648" y="10316"/>
                      <a:pt x="24229" y="9462"/>
                      <a:pt x="21745" y="9521"/>
                    </a:cubicBezTo>
                    <a:cubicBezTo>
                      <a:pt x="19240" y="9381"/>
                      <a:pt x="16788" y="10278"/>
                      <a:pt x="14965" y="120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4" name="Google Shape;104;p14"/>
            <p:cNvSpPr txBox="1"/>
            <p:nvPr/>
          </p:nvSpPr>
          <p:spPr>
            <a:xfrm rot="-5400000">
              <a:off x="9874832" y="6107266"/>
              <a:ext cx="1384995" cy="97271"/>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IN" sz="702" b="0" i="0" u="none" strike="noStrike" cap="none">
                  <a:solidFill>
                    <a:srgbClr val="B4B4B4"/>
                  </a:solidFill>
                  <a:latin typeface="Calibri"/>
                  <a:ea typeface="Calibri"/>
                  <a:cs typeface="Calibri"/>
                  <a:sym typeface="Calibri"/>
                </a:rPr>
                <a:t>Copyright © 2020. All rights reserved.</a:t>
              </a:r>
              <a:endParaRPr/>
            </a:p>
          </p:txBody>
        </p:sp>
        <p:pic>
          <p:nvPicPr>
            <p:cNvPr id="105" name="Google Shape;105;p14"/>
            <p:cNvPicPr preferRelativeResize="0"/>
            <p:nvPr/>
          </p:nvPicPr>
          <p:blipFill rotWithShape="1">
            <a:blip r:embed="rId2">
              <a:alphaModFix/>
            </a:blip>
            <a:srcRect/>
            <a:stretch/>
          </p:blipFill>
          <p:spPr>
            <a:xfrm rot="-5400000">
              <a:off x="10361309" y="7048329"/>
              <a:ext cx="400614" cy="62353"/>
            </a:xfrm>
            <a:prstGeom prst="rect">
              <a:avLst/>
            </a:prstGeom>
            <a:noFill/>
            <a:ln>
              <a:noFill/>
            </a:ln>
          </p:spPr>
        </p:pic>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only (Grey background)">
  <p:cSld name="Title only (Grey background)">
    <p:bg>
      <p:bgPr>
        <a:solidFill>
          <a:schemeClr val="lt2"/>
        </a:solidFill>
        <a:effectLst/>
      </p:bgPr>
    </p:bg>
    <p:spTree>
      <p:nvGrpSpPr>
        <p:cNvPr id="1" name="Shape 106"/>
        <p:cNvGrpSpPr/>
        <p:nvPr/>
      </p:nvGrpSpPr>
      <p:grpSpPr>
        <a:xfrm>
          <a:off x="0" y="0"/>
          <a:ext cx="0" cy="0"/>
          <a:chOff x="0" y="0"/>
          <a:chExt cx="0" cy="0"/>
        </a:xfrm>
      </p:grpSpPr>
      <p:sp>
        <p:nvSpPr>
          <p:cNvPr id="107" name="Google Shape;107;p15"/>
          <p:cNvSpPr txBox="1">
            <a:spLocks noGrp="1"/>
          </p:cNvSpPr>
          <p:nvPr>
            <p:ph type="title"/>
          </p:nvPr>
        </p:nvSpPr>
        <p:spPr>
          <a:xfrm>
            <a:off x="483827" y="484188"/>
            <a:ext cx="9725386"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 name="Google Shape;108;p15"/>
          <p:cNvSpPr txBox="1">
            <a:spLocks noGrp="1"/>
          </p:cNvSpPr>
          <p:nvPr>
            <p:ph type="ftr" idx="11"/>
          </p:nvPr>
        </p:nvSpPr>
        <p:spPr>
          <a:xfrm>
            <a:off x="483080" y="7158305"/>
            <a:ext cx="836768"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9" name="Google Shape;109;p15"/>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3 Column Layout">
  <p:cSld name="3 Column Layout">
    <p:spTree>
      <p:nvGrpSpPr>
        <p:cNvPr id="1" name="Shape 110"/>
        <p:cNvGrpSpPr/>
        <p:nvPr/>
      </p:nvGrpSpPr>
      <p:grpSpPr>
        <a:xfrm>
          <a:off x="0" y="0"/>
          <a:ext cx="0" cy="0"/>
          <a:chOff x="0" y="0"/>
          <a:chExt cx="0" cy="0"/>
        </a:xfrm>
      </p:grpSpPr>
      <p:sp>
        <p:nvSpPr>
          <p:cNvPr id="111" name="Google Shape;111;p16"/>
          <p:cNvSpPr txBox="1">
            <a:spLocks noGrp="1"/>
          </p:cNvSpPr>
          <p:nvPr>
            <p:ph type="title"/>
          </p:nvPr>
        </p:nvSpPr>
        <p:spPr>
          <a:xfrm>
            <a:off x="483827" y="484188"/>
            <a:ext cx="9725386"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 name="Google Shape;112;p16"/>
          <p:cNvSpPr txBox="1">
            <a:spLocks noGrp="1"/>
          </p:cNvSpPr>
          <p:nvPr>
            <p:ph type="ftr" idx="11"/>
          </p:nvPr>
        </p:nvSpPr>
        <p:spPr>
          <a:xfrm>
            <a:off x="483080" y="7158305"/>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3" name="Google Shape;113;p16"/>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sp>
        <p:nvSpPr>
          <p:cNvPr id="114" name="Google Shape;114;p16"/>
          <p:cNvSpPr txBox="1">
            <a:spLocks noGrp="1"/>
          </p:cNvSpPr>
          <p:nvPr>
            <p:ph type="body" idx="1"/>
          </p:nvPr>
        </p:nvSpPr>
        <p:spPr>
          <a:xfrm>
            <a:off x="483082" y="2330619"/>
            <a:ext cx="3075454"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228600" algn="l">
              <a:lnSpc>
                <a:spcPct val="95000"/>
              </a:lnSpc>
              <a:spcBef>
                <a:spcPts val="263"/>
              </a:spcBef>
              <a:spcAft>
                <a:spcPts val="0"/>
              </a:spcAft>
              <a:buSzPts val="1403"/>
              <a:buNone/>
              <a:defRPr sz="1403">
                <a:solidFill>
                  <a:schemeClr val="dk1"/>
                </a:solidFill>
                <a:latin typeface="Calibri"/>
                <a:ea typeface="Calibri"/>
                <a:cs typeface="Calibri"/>
                <a:sym typeface="Calibri"/>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15" name="Google Shape;115;p16"/>
          <p:cNvSpPr txBox="1">
            <a:spLocks noGrp="1"/>
          </p:cNvSpPr>
          <p:nvPr>
            <p:ph type="body" idx="2"/>
          </p:nvPr>
        </p:nvSpPr>
        <p:spPr>
          <a:xfrm>
            <a:off x="483082" y="1979613"/>
            <a:ext cx="307545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16" name="Google Shape;116;p16"/>
          <p:cNvSpPr txBox="1">
            <a:spLocks noGrp="1"/>
          </p:cNvSpPr>
          <p:nvPr>
            <p:ph type="body" idx="3"/>
          </p:nvPr>
        </p:nvSpPr>
        <p:spPr>
          <a:xfrm>
            <a:off x="7134750" y="2330619"/>
            <a:ext cx="3073984"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317690" algn="l">
              <a:lnSpc>
                <a:spcPct val="95000"/>
              </a:lnSpc>
              <a:spcBef>
                <a:spcPts val="263"/>
              </a:spcBef>
              <a:spcAft>
                <a:spcPts val="0"/>
              </a:spcAft>
              <a:buSzPts val="1403"/>
              <a:buChar char="−"/>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17" name="Google Shape;117;p16"/>
          <p:cNvSpPr txBox="1">
            <a:spLocks noGrp="1"/>
          </p:cNvSpPr>
          <p:nvPr>
            <p:ph type="body" idx="4"/>
          </p:nvPr>
        </p:nvSpPr>
        <p:spPr>
          <a:xfrm>
            <a:off x="7134750" y="1979613"/>
            <a:ext cx="307398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18" name="Google Shape;118;p16"/>
          <p:cNvSpPr txBox="1">
            <a:spLocks noGrp="1"/>
          </p:cNvSpPr>
          <p:nvPr>
            <p:ph type="body" idx="5"/>
          </p:nvPr>
        </p:nvSpPr>
        <p:spPr>
          <a:xfrm>
            <a:off x="3809627" y="2330619"/>
            <a:ext cx="3073984"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317690" algn="l">
              <a:lnSpc>
                <a:spcPct val="95000"/>
              </a:lnSpc>
              <a:spcBef>
                <a:spcPts val="263"/>
              </a:spcBef>
              <a:spcAft>
                <a:spcPts val="0"/>
              </a:spcAft>
              <a:buSzPts val="1403"/>
              <a:buChar char="−"/>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19" name="Google Shape;119;p16"/>
          <p:cNvSpPr txBox="1">
            <a:spLocks noGrp="1"/>
          </p:cNvSpPr>
          <p:nvPr>
            <p:ph type="body" idx="6"/>
          </p:nvPr>
        </p:nvSpPr>
        <p:spPr>
          <a:xfrm>
            <a:off x="3809627" y="1979613"/>
            <a:ext cx="307398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4 Column Layout">
  <p:cSld name="4 Column Layout">
    <p:spTree>
      <p:nvGrpSpPr>
        <p:cNvPr id="1" name="Shape 120"/>
        <p:cNvGrpSpPr/>
        <p:nvPr/>
      </p:nvGrpSpPr>
      <p:grpSpPr>
        <a:xfrm>
          <a:off x="0" y="0"/>
          <a:ext cx="0" cy="0"/>
          <a:chOff x="0" y="0"/>
          <a:chExt cx="0" cy="0"/>
        </a:xfrm>
      </p:grpSpPr>
      <p:sp>
        <p:nvSpPr>
          <p:cNvPr id="121" name="Google Shape;121;p17"/>
          <p:cNvSpPr txBox="1">
            <a:spLocks noGrp="1"/>
          </p:cNvSpPr>
          <p:nvPr>
            <p:ph type="title"/>
          </p:nvPr>
        </p:nvSpPr>
        <p:spPr>
          <a:xfrm>
            <a:off x="483827" y="484188"/>
            <a:ext cx="9725386"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 name="Google Shape;122;p17"/>
          <p:cNvSpPr txBox="1">
            <a:spLocks noGrp="1"/>
          </p:cNvSpPr>
          <p:nvPr>
            <p:ph type="ftr" idx="11"/>
          </p:nvPr>
        </p:nvSpPr>
        <p:spPr>
          <a:xfrm>
            <a:off x="483080" y="7158305"/>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3" name="Google Shape;123;p17"/>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sp>
        <p:nvSpPr>
          <p:cNvPr id="124" name="Google Shape;124;p17"/>
          <p:cNvSpPr txBox="1">
            <a:spLocks noGrp="1"/>
          </p:cNvSpPr>
          <p:nvPr>
            <p:ph type="body" idx="1"/>
          </p:nvPr>
        </p:nvSpPr>
        <p:spPr>
          <a:xfrm>
            <a:off x="483083" y="2330619"/>
            <a:ext cx="2244541"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228600" algn="l">
              <a:lnSpc>
                <a:spcPct val="95000"/>
              </a:lnSpc>
              <a:spcBef>
                <a:spcPts val="263"/>
              </a:spcBef>
              <a:spcAft>
                <a:spcPts val="0"/>
              </a:spcAft>
              <a:buSzPts val="1403"/>
              <a:buNone/>
              <a:defRPr sz="1403">
                <a:solidFill>
                  <a:schemeClr val="dk1"/>
                </a:solidFill>
                <a:latin typeface="Calibri"/>
                <a:ea typeface="Calibri"/>
                <a:cs typeface="Calibri"/>
                <a:sym typeface="Calibri"/>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25" name="Google Shape;125;p17"/>
          <p:cNvSpPr txBox="1">
            <a:spLocks noGrp="1"/>
          </p:cNvSpPr>
          <p:nvPr>
            <p:ph type="body" idx="2"/>
          </p:nvPr>
        </p:nvSpPr>
        <p:spPr>
          <a:xfrm>
            <a:off x="483083" y="1979613"/>
            <a:ext cx="2244541"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26" name="Google Shape;126;p17"/>
          <p:cNvSpPr txBox="1">
            <a:spLocks noGrp="1"/>
          </p:cNvSpPr>
          <p:nvPr>
            <p:ph type="body" idx="3"/>
          </p:nvPr>
        </p:nvSpPr>
        <p:spPr>
          <a:xfrm>
            <a:off x="5472598" y="2330619"/>
            <a:ext cx="2240506"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317690" algn="l">
              <a:lnSpc>
                <a:spcPct val="95000"/>
              </a:lnSpc>
              <a:spcBef>
                <a:spcPts val="263"/>
              </a:spcBef>
              <a:spcAft>
                <a:spcPts val="0"/>
              </a:spcAft>
              <a:buSzPts val="1403"/>
              <a:buChar char="−"/>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27" name="Google Shape;127;p17"/>
          <p:cNvSpPr txBox="1">
            <a:spLocks noGrp="1"/>
          </p:cNvSpPr>
          <p:nvPr>
            <p:ph type="body" idx="4"/>
          </p:nvPr>
        </p:nvSpPr>
        <p:spPr>
          <a:xfrm>
            <a:off x="5472598" y="1979613"/>
            <a:ext cx="224050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28" name="Google Shape;128;p17"/>
          <p:cNvSpPr txBox="1">
            <a:spLocks noGrp="1"/>
          </p:cNvSpPr>
          <p:nvPr>
            <p:ph type="body" idx="5"/>
          </p:nvPr>
        </p:nvSpPr>
        <p:spPr>
          <a:xfrm>
            <a:off x="2977838" y="2330619"/>
            <a:ext cx="2244541"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228600" algn="l">
              <a:lnSpc>
                <a:spcPct val="95000"/>
              </a:lnSpc>
              <a:spcBef>
                <a:spcPts val="263"/>
              </a:spcBef>
              <a:spcAft>
                <a:spcPts val="0"/>
              </a:spcAft>
              <a:buSzPts val="1403"/>
              <a:buNone/>
              <a:defRPr sz="1403">
                <a:solidFill>
                  <a:schemeClr val="dk1"/>
                </a:solidFill>
                <a:latin typeface="Calibri"/>
                <a:ea typeface="Calibri"/>
                <a:cs typeface="Calibri"/>
                <a:sym typeface="Calibri"/>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29" name="Google Shape;129;p17"/>
          <p:cNvSpPr txBox="1">
            <a:spLocks noGrp="1"/>
          </p:cNvSpPr>
          <p:nvPr>
            <p:ph type="body" idx="6"/>
          </p:nvPr>
        </p:nvSpPr>
        <p:spPr>
          <a:xfrm>
            <a:off x="2977838" y="1979613"/>
            <a:ext cx="2244541"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30" name="Google Shape;130;p17"/>
          <p:cNvSpPr txBox="1">
            <a:spLocks noGrp="1"/>
          </p:cNvSpPr>
          <p:nvPr>
            <p:ph type="body" idx="7"/>
          </p:nvPr>
        </p:nvSpPr>
        <p:spPr>
          <a:xfrm>
            <a:off x="7968227" y="2330619"/>
            <a:ext cx="2240506"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317690" algn="l">
              <a:lnSpc>
                <a:spcPct val="95000"/>
              </a:lnSpc>
              <a:spcBef>
                <a:spcPts val="263"/>
              </a:spcBef>
              <a:spcAft>
                <a:spcPts val="0"/>
              </a:spcAft>
              <a:buSzPts val="1403"/>
              <a:buChar char="−"/>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31" name="Google Shape;131;p17"/>
          <p:cNvSpPr txBox="1">
            <a:spLocks noGrp="1"/>
          </p:cNvSpPr>
          <p:nvPr>
            <p:ph type="body" idx="8"/>
          </p:nvPr>
        </p:nvSpPr>
        <p:spPr>
          <a:xfrm>
            <a:off x="7968227" y="1979613"/>
            <a:ext cx="224050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5"/>
          <p:cNvSpPr txBox="1">
            <a:spLocks noGrp="1"/>
          </p:cNvSpPr>
          <p:nvPr>
            <p:ph type="title"/>
          </p:nvPr>
        </p:nvSpPr>
        <p:spPr>
          <a:xfrm>
            <a:off x="483827" y="484188"/>
            <a:ext cx="9725386" cy="418576"/>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5"/>
          <p:cNvSpPr txBox="1">
            <a:spLocks noGrp="1"/>
          </p:cNvSpPr>
          <p:nvPr>
            <p:ph type="body" idx="1"/>
          </p:nvPr>
        </p:nvSpPr>
        <p:spPr>
          <a:xfrm>
            <a:off x="483826" y="1987016"/>
            <a:ext cx="9725387" cy="1141018"/>
          </a:xfrm>
          <a:prstGeom prst="rect">
            <a:avLst/>
          </a:prstGeom>
          <a:noFill/>
          <a:ln>
            <a:noFill/>
          </a:ln>
        </p:spPr>
        <p:txBody>
          <a:bodyPr spcFirstLastPara="1" wrap="square" lIns="0" tIns="0" rIns="0" bIns="0" anchor="t" anchorCtr="0">
            <a:spAutoFit/>
          </a:bodyPr>
          <a:lstStyle>
            <a:lvl1pPr marL="457200" marR="0" lvl="0" indent="-228600" algn="l" rtl="0">
              <a:lnSpc>
                <a:spcPct val="95000"/>
              </a:lnSpc>
              <a:spcBef>
                <a:spcPts val="877"/>
              </a:spcBef>
              <a:spcAft>
                <a:spcPts val="0"/>
              </a:spcAft>
              <a:buClr>
                <a:schemeClr val="dk1"/>
              </a:buClr>
              <a:buSzPts val="1403"/>
              <a:buFont typeface="Arial"/>
              <a:buNone/>
              <a:defRPr sz="1403" b="0" i="0" u="none" strike="noStrike" cap="none">
                <a:solidFill>
                  <a:schemeClr val="dk1"/>
                </a:solidFill>
                <a:latin typeface="Calibri"/>
                <a:ea typeface="Calibri"/>
                <a:cs typeface="Calibri"/>
                <a:sym typeface="Calibri"/>
              </a:defRPr>
            </a:lvl1pPr>
            <a:lvl2pPr marL="914400" marR="0" lvl="1" indent="-308781" algn="l" rtl="0">
              <a:lnSpc>
                <a:spcPct val="95000"/>
              </a:lnSpc>
              <a:spcBef>
                <a:spcPts val="439"/>
              </a:spcBef>
              <a:spcAft>
                <a:spcPts val="0"/>
              </a:spcAft>
              <a:buClr>
                <a:schemeClr val="dk2"/>
              </a:buClr>
              <a:buSzPts val="1263"/>
              <a:buFont typeface="Noto Sans Symbols"/>
              <a:buChar char="▪"/>
              <a:defRPr sz="1403" b="0" i="0" u="none" strike="noStrike" cap="none">
                <a:solidFill>
                  <a:schemeClr val="dk1"/>
                </a:solidFill>
                <a:latin typeface="Calibri"/>
                <a:ea typeface="Calibri"/>
                <a:cs typeface="Calibri"/>
                <a:sym typeface="Calibri"/>
              </a:defRPr>
            </a:lvl2pPr>
            <a:lvl3pPr marL="1371600" marR="0" lvl="2" indent="-317690" algn="l" rtl="0">
              <a:lnSpc>
                <a:spcPct val="95000"/>
              </a:lnSpc>
              <a:spcBef>
                <a:spcPts val="263"/>
              </a:spcBef>
              <a:spcAft>
                <a:spcPts val="0"/>
              </a:spcAft>
              <a:buClr>
                <a:schemeClr val="dk2"/>
              </a:buClr>
              <a:buSzPts val="1403"/>
              <a:buFont typeface="Calibri"/>
              <a:buChar char="−"/>
              <a:defRPr sz="1403" b="0" i="0" u="none" strike="noStrike" cap="none">
                <a:solidFill>
                  <a:schemeClr val="dk1"/>
                </a:solidFill>
                <a:latin typeface="Calibri"/>
                <a:ea typeface="Calibri"/>
                <a:cs typeface="Calibri"/>
                <a:sym typeface="Calibri"/>
              </a:defRPr>
            </a:lvl3pPr>
            <a:lvl4pPr marL="1828800" marR="0" lvl="3" indent="-308781" algn="l" rtl="0">
              <a:lnSpc>
                <a:spcPct val="95000"/>
              </a:lnSpc>
              <a:spcBef>
                <a:spcPts val="88"/>
              </a:spcBef>
              <a:spcAft>
                <a:spcPts val="0"/>
              </a:spcAft>
              <a:buClr>
                <a:schemeClr val="dk2"/>
              </a:buClr>
              <a:buSzPts val="1263"/>
              <a:buFont typeface="Arial"/>
              <a:buChar char="•"/>
              <a:defRPr sz="1403" b="0" i="0" u="none" strike="noStrike" cap="none">
                <a:solidFill>
                  <a:schemeClr val="dk1"/>
                </a:solidFill>
                <a:latin typeface="Calibri"/>
                <a:ea typeface="Calibri"/>
                <a:cs typeface="Calibri"/>
                <a:sym typeface="Calibri"/>
              </a:defRPr>
            </a:lvl4pPr>
            <a:lvl5pPr marL="2286000" marR="0" lvl="4" indent="-317690" algn="l" rtl="0">
              <a:lnSpc>
                <a:spcPct val="95000"/>
              </a:lnSpc>
              <a:spcBef>
                <a:spcPts val="88"/>
              </a:spcBef>
              <a:spcAft>
                <a:spcPts val="0"/>
              </a:spcAft>
              <a:buClr>
                <a:schemeClr val="dk2"/>
              </a:buClr>
              <a:buSzPts val="1403"/>
              <a:buFont typeface="Calibri"/>
              <a:buChar char="−"/>
              <a:defRPr sz="1403" b="0" i="0" u="none" strike="noStrike" cap="none">
                <a:solidFill>
                  <a:schemeClr val="dk1"/>
                </a:solidFill>
                <a:latin typeface="Calibri"/>
                <a:ea typeface="Calibri"/>
                <a:cs typeface="Calibri"/>
                <a:sym typeface="Calibri"/>
              </a:defRPr>
            </a:lvl5pPr>
            <a:lvl6pPr marL="2743200" marR="0" lvl="5" indent="-328866" algn="l" rtl="0">
              <a:lnSpc>
                <a:spcPct val="90000"/>
              </a:lnSpc>
              <a:spcBef>
                <a:spcPts val="439"/>
              </a:spcBef>
              <a:spcAft>
                <a:spcPts val="0"/>
              </a:spcAft>
              <a:buClr>
                <a:schemeClr val="dk1"/>
              </a:buClr>
              <a:buSzPts val="1579"/>
              <a:buFont typeface="Arial"/>
              <a:buChar char="•"/>
              <a:defRPr sz="1579" b="0" i="0" u="none" strike="noStrike" cap="none">
                <a:solidFill>
                  <a:schemeClr val="dk1"/>
                </a:solidFill>
                <a:latin typeface="Calibri"/>
                <a:ea typeface="Calibri"/>
                <a:cs typeface="Calibri"/>
                <a:sym typeface="Calibri"/>
              </a:defRPr>
            </a:lvl6pPr>
            <a:lvl7pPr marL="3200400" marR="0" lvl="6" indent="-328866" algn="l" rtl="0">
              <a:lnSpc>
                <a:spcPct val="90000"/>
              </a:lnSpc>
              <a:spcBef>
                <a:spcPts val="439"/>
              </a:spcBef>
              <a:spcAft>
                <a:spcPts val="0"/>
              </a:spcAft>
              <a:buClr>
                <a:schemeClr val="dk1"/>
              </a:buClr>
              <a:buSzPts val="1579"/>
              <a:buFont typeface="Arial"/>
              <a:buChar char="•"/>
              <a:defRPr sz="1579" b="0" i="0" u="none" strike="noStrike" cap="none">
                <a:solidFill>
                  <a:schemeClr val="dk1"/>
                </a:solidFill>
                <a:latin typeface="Calibri"/>
                <a:ea typeface="Calibri"/>
                <a:cs typeface="Calibri"/>
                <a:sym typeface="Calibri"/>
              </a:defRPr>
            </a:lvl7pPr>
            <a:lvl8pPr marL="3657600" marR="0" lvl="7" indent="-328866" algn="l" rtl="0">
              <a:lnSpc>
                <a:spcPct val="90000"/>
              </a:lnSpc>
              <a:spcBef>
                <a:spcPts val="439"/>
              </a:spcBef>
              <a:spcAft>
                <a:spcPts val="0"/>
              </a:spcAft>
              <a:buClr>
                <a:schemeClr val="dk1"/>
              </a:buClr>
              <a:buSzPts val="1579"/>
              <a:buFont typeface="Arial"/>
              <a:buChar char="•"/>
              <a:defRPr sz="1579" b="0" i="0" u="none" strike="noStrike" cap="none">
                <a:solidFill>
                  <a:schemeClr val="dk1"/>
                </a:solidFill>
                <a:latin typeface="Calibri"/>
                <a:ea typeface="Calibri"/>
                <a:cs typeface="Calibri"/>
                <a:sym typeface="Calibri"/>
              </a:defRPr>
            </a:lvl8pPr>
            <a:lvl9pPr marL="4114800" marR="0" lvl="8" indent="-328866" algn="l" rtl="0">
              <a:lnSpc>
                <a:spcPct val="90000"/>
              </a:lnSpc>
              <a:spcBef>
                <a:spcPts val="439"/>
              </a:spcBef>
              <a:spcAft>
                <a:spcPts val="0"/>
              </a:spcAft>
              <a:buClr>
                <a:schemeClr val="dk1"/>
              </a:buClr>
              <a:buSzPts val="1579"/>
              <a:buFont typeface="Arial"/>
              <a:buChar char="•"/>
              <a:defRPr sz="1579" b="0" i="0" u="none" strike="noStrike" cap="none">
                <a:solidFill>
                  <a:schemeClr val="dk1"/>
                </a:solidFill>
                <a:latin typeface="Calibri"/>
                <a:ea typeface="Calibri"/>
                <a:cs typeface="Calibri"/>
                <a:sym typeface="Calibri"/>
              </a:defRPr>
            </a:lvl9pPr>
          </a:lstStyle>
          <a:p>
            <a:endParaRPr/>
          </a:p>
        </p:txBody>
      </p:sp>
      <p:sp>
        <p:nvSpPr>
          <p:cNvPr id="12" name="Google Shape;12;p5"/>
          <p:cNvSpPr txBox="1">
            <a:spLocks noGrp="1"/>
          </p:cNvSpPr>
          <p:nvPr>
            <p:ph type="ftr" idx="11"/>
          </p:nvPr>
        </p:nvSpPr>
        <p:spPr>
          <a:xfrm>
            <a:off x="483080" y="7158305"/>
            <a:ext cx="428002" cy="121508"/>
          </a:xfrm>
          <a:prstGeom prst="rect">
            <a:avLst/>
          </a:prstGeom>
          <a:noFill/>
          <a:ln>
            <a:noFill/>
          </a:ln>
        </p:spPr>
        <p:txBody>
          <a:bodyPr spcFirstLastPara="1" wrap="square" lIns="0" tIns="0" rIns="0" bIns="0" anchor="b" anchorCtr="0">
            <a:spAutoFit/>
          </a:bodyPr>
          <a:lstStyle>
            <a:lvl1pPr marR="0" lvl="0" algn="l" rtl="0">
              <a:spcBef>
                <a:spcPts val="0"/>
              </a:spcBef>
              <a:spcAft>
                <a:spcPts val="0"/>
              </a:spcAft>
              <a:buSzPts val="1400"/>
              <a:buNone/>
              <a:defRPr sz="877"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5"/>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rtl="0">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rtl="0">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rtl="0">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rtl="0">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rtl="0">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rtl="0">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rtl="0">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rtl="0">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grpSp>
        <p:nvGrpSpPr>
          <p:cNvPr id="14" name="Google Shape;14;p5"/>
          <p:cNvGrpSpPr/>
          <p:nvPr/>
        </p:nvGrpSpPr>
        <p:grpSpPr>
          <a:xfrm>
            <a:off x="10518694" y="5440544"/>
            <a:ext cx="97271" cy="1816408"/>
            <a:chOff x="10518694" y="5463404"/>
            <a:chExt cx="97271" cy="1816408"/>
          </a:xfrm>
        </p:grpSpPr>
        <p:grpSp>
          <p:nvGrpSpPr>
            <p:cNvPr id="15" name="Google Shape;15;p5"/>
            <p:cNvGrpSpPr/>
            <p:nvPr/>
          </p:nvGrpSpPr>
          <p:grpSpPr>
            <a:xfrm>
              <a:off x="10530628" y="6878757"/>
              <a:ext cx="62166" cy="401056"/>
              <a:chOff x="10629461" y="6878757"/>
              <a:chExt cx="62166" cy="401056"/>
            </a:xfrm>
          </p:grpSpPr>
          <p:sp>
            <p:nvSpPr>
              <p:cNvPr id="16" name="Google Shape;16;p5"/>
              <p:cNvSpPr/>
              <p:nvPr/>
            </p:nvSpPr>
            <p:spPr>
              <a:xfrm rot="-5400000">
                <a:off x="10688095" y="7163862"/>
                <a:ext cx="15" cy="1558"/>
              </a:xfrm>
              <a:custGeom>
                <a:avLst/>
                <a:gdLst/>
                <a:ahLst/>
                <a:cxnLst/>
                <a:rect l="l" t="t" r="r" b="b"/>
                <a:pathLst>
                  <a:path w="15" h="1558" extrusionOk="0">
                    <a:moveTo>
                      <a:pt x="0" y="0"/>
                    </a:moveTo>
                    <a:lnTo>
                      <a:pt x="16" y="0"/>
                    </a:lnTo>
                    <a:lnTo>
                      <a:pt x="16" y="0"/>
                    </a:lnTo>
                    <a:lnTo>
                      <a:pt x="0" y="0"/>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 name="Google Shape;17;p5"/>
              <p:cNvSpPr/>
              <p:nvPr/>
            </p:nvSpPr>
            <p:spPr>
              <a:xfrm rot="-5400000">
                <a:off x="10652401" y="7145302"/>
                <a:ext cx="411" cy="246"/>
              </a:xfrm>
              <a:custGeom>
                <a:avLst/>
                <a:gdLst/>
                <a:ahLst/>
                <a:cxnLst/>
                <a:rect l="l" t="t" r="r" b="b"/>
                <a:pathLst>
                  <a:path w="411" h="246" extrusionOk="0">
                    <a:moveTo>
                      <a:pt x="0" y="0"/>
                    </a:moveTo>
                    <a:cubicBezTo>
                      <a:pt x="234" y="156"/>
                      <a:pt x="452" y="312"/>
                      <a:pt x="405" y="218"/>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 name="Google Shape;18;p5"/>
              <p:cNvSpPr/>
              <p:nvPr/>
            </p:nvSpPr>
            <p:spPr>
              <a:xfrm rot="-5400000">
                <a:off x="10652556" y="7165151"/>
                <a:ext cx="13" cy="69"/>
              </a:xfrm>
              <a:custGeom>
                <a:avLst/>
                <a:gdLst/>
                <a:ahLst/>
                <a:cxnLst/>
                <a:rect l="l" t="t" r="r" b="b"/>
                <a:pathLst>
                  <a:path w="13" h="69" extrusionOk="0">
                    <a:moveTo>
                      <a:pt x="14" y="35"/>
                    </a:moveTo>
                    <a:cubicBezTo>
                      <a:pt x="14" y="35"/>
                      <a:pt x="14" y="-43"/>
                      <a:pt x="14" y="35"/>
                    </a:cubicBezTo>
                    <a:cubicBezTo>
                      <a:pt x="14" y="113"/>
                      <a:pt x="-17" y="35"/>
                      <a:pt x="14" y="35"/>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5"/>
              <p:cNvSpPr/>
              <p:nvPr/>
            </p:nvSpPr>
            <p:spPr>
              <a:xfrm rot="-5400000">
                <a:off x="10650495" y="7161416"/>
                <a:ext cx="237" cy="93"/>
              </a:xfrm>
              <a:custGeom>
                <a:avLst/>
                <a:gdLst/>
                <a:ahLst/>
                <a:cxnLst/>
                <a:rect l="l" t="t" r="r" b="b"/>
                <a:pathLst>
                  <a:path w="237" h="93" extrusionOk="0">
                    <a:moveTo>
                      <a:pt x="238" y="0"/>
                    </a:moveTo>
                    <a:lnTo>
                      <a:pt x="50" y="94"/>
                    </a:lnTo>
                    <a:cubicBezTo>
                      <a:pt x="160" y="94"/>
                      <a:pt x="-105" y="94"/>
                      <a:pt x="50" y="9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 name="Google Shape;20;p5"/>
              <p:cNvSpPr/>
              <p:nvPr/>
            </p:nvSpPr>
            <p:spPr>
              <a:xfrm rot="-5400000">
                <a:off x="10645049" y="7132879"/>
                <a:ext cx="46577" cy="46577"/>
              </a:xfrm>
              <a:custGeom>
                <a:avLst/>
                <a:gdLst/>
                <a:ahLst/>
                <a:cxnLst/>
                <a:rect l="l" t="t" r="r" b="b"/>
                <a:pathLst>
                  <a:path w="46577" h="46577" extrusionOk="0">
                    <a:moveTo>
                      <a:pt x="23289" y="0"/>
                    </a:moveTo>
                    <a:cubicBezTo>
                      <a:pt x="10427" y="0"/>
                      <a:pt x="0" y="10427"/>
                      <a:pt x="0" y="23289"/>
                    </a:cubicBezTo>
                    <a:cubicBezTo>
                      <a:pt x="0" y="36151"/>
                      <a:pt x="10427" y="46578"/>
                      <a:pt x="23289" y="46578"/>
                    </a:cubicBezTo>
                    <a:cubicBezTo>
                      <a:pt x="36151" y="46578"/>
                      <a:pt x="46577" y="36151"/>
                      <a:pt x="46577" y="23289"/>
                    </a:cubicBezTo>
                    <a:cubicBezTo>
                      <a:pt x="46577" y="23273"/>
                      <a:pt x="46577" y="23258"/>
                      <a:pt x="46577" y="23242"/>
                    </a:cubicBezTo>
                    <a:cubicBezTo>
                      <a:pt x="46569" y="10397"/>
                      <a:pt x="36149" y="-9"/>
                      <a:pt x="23304" y="0"/>
                    </a:cubicBezTo>
                    <a:cubicBezTo>
                      <a:pt x="23299" y="0"/>
                      <a:pt x="23294" y="0"/>
                      <a:pt x="23289" y="0"/>
                    </a:cubicBezTo>
                    <a:close/>
                    <a:moveTo>
                      <a:pt x="24473" y="14201"/>
                    </a:moveTo>
                    <a:cubicBezTo>
                      <a:pt x="24380" y="14201"/>
                      <a:pt x="24473" y="14326"/>
                      <a:pt x="24473" y="14372"/>
                    </a:cubicBezTo>
                    <a:cubicBezTo>
                      <a:pt x="24407" y="14358"/>
                      <a:pt x="24337" y="14358"/>
                      <a:pt x="24271" y="14372"/>
                    </a:cubicBezTo>
                    <a:cubicBezTo>
                      <a:pt x="24411" y="14372"/>
                      <a:pt x="24629" y="14559"/>
                      <a:pt x="24442" y="14669"/>
                    </a:cubicBezTo>
                    <a:cubicBezTo>
                      <a:pt x="24255" y="14778"/>
                      <a:pt x="24520" y="14669"/>
                      <a:pt x="24536" y="14669"/>
                    </a:cubicBezTo>
                    <a:cubicBezTo>
                      <a:pt x="24660" y="14388"/>
                      <a:pt x="25034" y="14778"/>
                      <a:pt x="24769" y="14965"/>
                    </a:cubicBezTo>
                    <a:lnTo>
                      <a:pt x="24769" y="14965"/>
                    </a:lnTo>
                    <a:cubicBezTo>
                      <a:pt x="24769" y="14965"/>
                      <a:pt x="24769" y="14965"/>
                      <a:pt x="24769" y="14965"/>
                    </a:cubicBezTo>
                    <a:lnTo>
                      <a:pt x="24769" y="14965"/>
                    </a:lnTo>
                    <a:cubicBezTo>
                      <a:pt x="24769" y="14965"/>
                      <a:pt x="24676" y="14965"/>
                      <a:pt x="24645" y="14965"/>
                    </a:cubicBezTo>
                    <a:cubicBezTo>
                      <a:pt x="24614" y="14965"/>
                      <a:pt x="24645" y="14965"/>
                      <a:pt x="24645" y="15058"/>
                    </a:cubicBezTo>
                    <a:cubicBezTo>
                      <a:pt x="24645" y="15152"/>
                      <a:pt x="24754" y="15058"/>
                      <a:pt x="24645" y="15058"/>
                    </a:cubicBezTo>
                    <a:cubicBezTo>
                      <a:pt x="24536" y="15058"/>
                      <a:pt x="24769" y="15058"/>
                      <a:pt x="24847" y="15058"/>
                    </a:cubicBezTo>
                    <a:cubicBezTo>
                      <a:pt x="24925" y="15058"/>
                      <a:pt x="24754" y="15167"/>
                      <a:pt x="24754" y="15245"/>
                    </a:cubicBezTo>
                    <a:cubicBezTo>
                      <a:pt x="24754" y="15323"/>
                      <a:pt x="24317" y="15370"/>
                      <a:pt x="24271" y="15245"/>
                    </a:cubicBezTo>
                    <a:cubicBezTo>
                      <a:pt x="24224" y="15121"/>
                      <a:pt x="23865" y="15245"/>
                      <a:pt x="23663" y="15339"/>
                    </a:cubicBezTo>
                    <a:cubicBezTo>
                      <a:pt x="23460" y="15432"/>
                      <a:pt x="23663" y="15542"/>
                      <a:pt x="23476" y="15417"/>
                    </a:cubicBezTo>
                    <a:cubicBezTo>
                      <a:pt x="23289" y="15292"/>
                      <a:pt x="23242" y="15417"/>
                      <a:pt x="23195" y="15557"/>
                    </a:cubicBezTo>
                    <a:cubicBezTo>
                      <a:pt x="23148" y="15697"/>
                      <a:pt x="23195" y="15557"/>
                      <a:pt x="23055" y="15557"/>
                    </a:cubicBezTo>
                    <a:cubicBezTo>
                      <a:pt x="23189" y="15454"/>
                      <a:pt x="23315" y="15339"/>
                      <a:pt x="23429" y="15214"/>
                    </a:cubicBezTo>
                    <a:cubicBezTo>
                      <a:pt x="23429" y="15058"/>
                      <a:pt x="23647" y="15214"/>
                      <a:pt x="23772" y="15214"/>
                    </a:cubicBezTo>
                    <a:cubicBezTo>
                      <a:pt x="23897" y="15214"/>
                      <a:pt x="23865" y="15074"/>
                      <a:pt x="23912" y="15012"/>
                    </a:cubicBezTo>
                    <a:cubicBezTo>
                      <a:pt x="23959" y="14949"/>
                      <a:pt x="23678" y="15214"/>
                      <a:pt x="23600" y="15089"/>
                    </a:cubicBezTo>
                    <a:cubicBezTo>
                      <a:pt x="23522" y="14965"/>
                      <a:pt x="23367" y="15089"/>
                      <a:pt x="23507" y="15089"/>
                    </a:cubicBezTo>
                    <a:cubicBezTo>
                      <a:pt x="23647" y="15089"/>
                      <a:pt x="23382" y="15089"/>
                      <a:pt x="23289" y="15089"/>
                    </a:cubicBezTo>
                    <a:lnTo>
                      <a:pt x="23289" y="15089"/>
                    </a:lnTo>
                    <a:cubicBezTo>
                      <a:pt x="23289" y="15089"/>
                      <a:pt x="23289" y="15089"/>
                      <a:pt x="23289" y="15089"/>
                    </a:cubicBezTo>
                    <a:cubicBezTo>
                      <a:pt x="23522" y="15012"/>
                      <a:pt x="23632" y="14949"/>
                      <a:pt x="23600" y="14715"/>
                    </a:cubicBezTo>
                    <a:lnTo>
                      <a:pt x="23444" y="14715"/>
                    </a:lnTo>
                    <a:cubicBezTo>
                      <a:pt x="23554" y="14606"/>
                      <a:pt x="23709" y="14466"/>
                      <a:pt x="23865" y="14575"/>
                    </a:cubicBezTo>
                    <a:cubicBezTo>
                      <a:pt x="23741" y="14419"/>
                      <a:pt x="23865" y="14575"/>
                      <a:pt x="23865" y="14575"/>
                    </a:cubicBezTo>
                    <a:cubicBezTo>
                      <a:pt x="23865" y="14575"/>
                      <a:pt x="23772" y="14372"/>
                      <a:pt x="23865" y="14326"/>
                    </a:cubicBezTo>
                    <a:cubicBezTo>
                      <a:pt x="23959" y="14279"/>
                      <a:pt x="23865" y="14201"/>
                      <a:pt x="23772" y="14326"/>
                    </a:cubicBezTo>
                    <a:lnTo>
                      <a:pt x="23772" y="14326"/>
                    </a:lnTo>
                    <a:cubicBezTo>
                      <a:pt x="23647" y="14326"/>
                      <a:pt x="23772" y="14045"/>
                      <a:pt x="23772" y="14061"/>
                    </a:cubicBezTo>
                    <a:cubicBezTo>
                      <a:pt x="23616" y="14061"/>
                      <a:pt x="23585" y="14170"/>
                      <a:pt x="23444" y="14061"/>
                    </a:cubicBezTo>
                    <a:cubicBezTo>
                      <a:pt x="23304" y="13952"/>
                      <a:pt x="23444" y="14061"/>
                      <a:pt x="23444" y="14154"/>
                    </a:cubicBezTo>
                    <a:cubicBezTo>
                      <a:pt x="23444" y="14248"/>
                      <a:pt x="23289" y="14029"/>
                      <a:pt x="23335" y="14154"/>
                    </a:cubicBezTo>
                    <a:cubicBezTo>
                      <a:pt x="23382" y="14279"/>
                      <a:pt x="23335" y="14061"/>
                      <a:pt x="23335" y="14029"/>
                    </a:cubicBezTo>
                    <a:lnTo>
                      <a:pt x="23335" y="14029"/>
                    </a:lnTo>
                    <a:cubicBezTo>
                      <a:pt x="23335" y="14029"/>
                      <a:pt x="23335" y="13874"/>
                      <a:pt x="23429" y="13827"/>
                    </a:cubicBezTo>
                    <a:cubicBezTo>
                      <a:pt x="23522" y="13780"/>
                      <a:pt x="23335" y="13640"/>
                      <a:pt x="23429" y="13671"/>
                    </a:cubicBezTo>
                    <a:cubicBezTo>
                      <a:pt x="23522" y="13702"/>
                      <a:pt x="23429" y="13671"/>
                      <a:pt x="23429" y="13577"/>
                    </a:cubicBezTo>
                    <a:cubicBezTo>
                      <a:pt x="23429" y="13484"/>
                      <a:pt x="23429" y="13655"/>
                      <a:pt x="23429" y="13687"/>
                    </a:cubicBezTo>
                    <a:lnTo>
                      <a:pt x="23429" y="13687"/>
                    </a:lnTo>
                    <a:cubicBezTo>
                      <a:pt x="23429" y="13687"/>
                      <a:pt x="23429" y="13687"/>
                      <a:pt x="23429" y="13687"/>
                    </a:cubicBezTo>
                    <a:cubicBezTo>
                      <a:pt x="23429" y="13687"/>
                      <a:pt x="23429" y="13687"/>
                      <a:pt x="23429" y="13687"/>
                    </a:cubicBezTo>
                    <a:cubicBezTo>
                      <a:pt x="23425" y="13770"/>
                      <a:pt x="23425" y="13853"/>
                      <a:pt x="23429" y="13936"/>
                    </a:cubicBezTo>
                    <a:cubicBezTo>
                      <a:pt x="23335" y="13936"/>
                      <a:pt x="23429" y="13811"/>
                      <a:pt x="23429" y="13764"/>
                    </a:cubicBezTo>
                    <a:cubicBezTo>
                      <a:pt x="23429" y="13718"/>
                      <a:pt x="23429" y="13484"/>
                      <a:pt x="23522" y="13453"/>
                    </a:cubicBezTo>
                    <a:cubicBezTo>
                      <a:pt x="23616" y="13422"/>
                      <a:pt x="23522" y="13453"/>
                      <a:pt x="23522" y="13453"/>
                    </a:cubicBezTo>
                    <a:cubicBezTo>
                      <a:pt x="23522" y="13453"/>
                      <a:pt x="23413" y="13593"/>
                      <a:pt x="23351" y="13453"/>
                    </a:cubicBezTo>
                    <a:cubicBezTo>
                      <a:pt x="23289" y="13312"/>
                      <a:pt x="23351" y="13453"/>
                      <a:pt x="23351" y="13453"/>
                    </a:cubicBezTo>
                    <a:cubicBezTo>
                      <a:pt x="23351" y="13453"/>
                      <a:pt x="23351" y="13328"/>
                      <a:pt x="23476" y="13375"/>
                    </a:cubicBezTo>
                    <a:cubicBezTo>
                      <a:pt x="23600" y="13422"/>
                      <a:pt x="23476" y="13375"/>
                      <a:pt x="23476" y="13375"/>
                    </a:cubicBezTo>
                    <a:cubicBezTo>
                      <a:pt x="23476" y="13375"/>
                      <a:pt x="23476" y="13375"/>
                      <a:pt x="23476" y="13375"/>
                    </a:cubicBezTo>
                    <a:cubicBezTo>
                      <a:pt x="23476" y="13375"/>
                      <a:pt x="23476" y="13375"/>
                      <a:pt x="23476" y="13375"/>
                    </a:cubicBezTo>
                    <a:cubicBezTo>
                      <a:pt x="23476" y="13375"/>
                      <a:pt x="23476" y="13375"/>
                      <a:pt x="23476" y="13375"/>
                    </a:cubicBezTo>
                    <a:lnTo>
                      <a:pt x="23476" y="13375"/>
                    </a:lnTo>
                    <a:lnTo>
                      <a:pt x="23476" y="13297"/>
                    </a:lnTo>
                    <a:cubicBezTo>
                      <a:pt x="23476" y="13297"/>
                      <a:pt x="23476" y="13297"/>
                      <a:pt x="23476" y="13297"/>
                    </a:cubicBezTo>
                    <a:cubicBezTo>
                      <a:pt x="23476" y="13297"/>
                      <a:pt x="23476" y="13219"/>
                      <a:pt x="23476" y="13172"/>
                    </a:cubicBezTo>
                    <a:lnTo>
                      <a:pt x="23476" y="13172"/>
                    </a:lnTo>
                    <a:cubicBezTo>
                      <a:pt x="23476" y="13172"/>
                      <a:pt x="23476" y="13172"/>
                      <a:pt x="23476" y="13172"/>
                    </a:cubicBezTo>
                    <a:cubicBezTo>
                      <a:pt x="23476" y="13172"/>
                      <a:pt x="23476" y="13172"/>
                      <a:pt x="23569" y="13172"/>
                    </a:cubicBezTo>
                    <a:cubicBezTo>
                      <a:pt x="23574" y="13146"/>
                      <a:pt x="23574" y="13120"/>
                      <a:pt x="23569" y="13094"/>
                    </a:cubicBezTo>
                    <a:cubicBezTo>
                      <a:pt x="23569" y="13094"/>
                      <a:pt x="23678" y="12782"/>
                      <a:pt x="23709" y="12969"/>
                    </a:cubicBezTo>
                    <a:cubicBezTo>
                      <a:pt x="23741" y="13157"/>
                      <a:pt x="23709" y="12969"/>
                      <a:pt x="23709" y="12969"/>
                    </a:cubicBezTo>
                    <a:cubicBezTo>
                      <a:pt x="24084" y="12829"/>
                      <a:pt x="23990" y="12969"/>
                      <a:pt x="23709" y="13188"/>
                    </a:cubicBezTo>
                    <a:lnTo>
                      <a:pt x="23709" y="13188"/>
                    </a:lnTo>
                    <a:cubicBezTo>
                      <a:pt x="23507" y="13375"/>
                      <a:pt x="23928" y="13188"/>
                      <a:pt x="24037" y="13188"/>
                    </a:cubicBezTo>
                    <a:cubicBezTo>
                      <a:pt x="24146" y="13188"/>
                      <a:pt x="24037" y="13640"/>
                      <a:pt x="23834" y="13609"/>
                    </a:cubicBezTo>
                    <a:cubicBezTo>
                      <a:pt x="23632" y="13577"/>
                      <a:pt x="23834" y="13609"/>
                      <a:pt x="23834" y="13609"/>
                    </a:cubicBezTo>
                    <a:cubicBezTo>
                      <a:pt x="23834" y="13609"/>
                      <a:pt x="23694" y="13733"/>
                      <a:pt x="23600" y="13609"/>
                    </a:cubicBezTo>
                    <a:cubicBezTo>
                      <a:pt x="23654" y="13665"/>
                      <a:pt x="23743" y="13666"/>
                      <a:pt x="23799" y="13613"/>
                    </a:cubicBezTo>
                    <a:cubicBezTo>
                      <a:pt x="23800" y="13612"/>
                      <a:pt x="23802" y="13610"/>
                      <a:pt x="23803" y="13609"/>
                    </a:cubicBezTo>
                    <a:cubicBezTo>
                      <a:pt x="24037" y="13702"/>
                      <a:pt x="24052" y="13952"/>
                      <a:pt x="24130" y="14139"/>
                    </a:cubicBezTo>
                    <a:cubicBezTo>
                      <a:pt x="24208" y="14326"/>
                      <a:pt x="24349" y="14107"/>
                      <a:pt x="24473" y="14170"/>
                    </a:cubicBezTo>
                    <a:close/>
                    <a:moveTo>
                      <a:pt x="16461" y="43086"/>
                    </a:moveTo>
                    <a:lnTo>
                      <a:pt x="16461" y="43086"/>
                    </a:lnTo>
                    <a:lnTo>
                      <a:pt x="16461" y="43086"/>
                    </a:lnTo>
                    <a:lnTo>
                      <a:pt x="16461" y="43086"/>
                    </a:lnTo>
                    <a:lnTo>
                      <a:pt x="16539" y="43086"/>
                    </a:lnTo>
                    <a:lnTo>
                      <a:pt x="16539" y="43086"/>
                    </a:lnTo>
                    <a:lnTo>
                      <a:pt x="16321" y="42961"/>
                    </a:lnTo>
                    <a:lnTo>
                      <a:pt x="16321" y="42961"/>
                    </a:lnTo>
                    <a:lnTo>
                      <a:pt x="16321" y="42961"/>
                    </a:lnTo>
                    <a:lnTo>
                      <a:pt x="16399" y="42961"/>
                    </a:lnTo>
                    <a:lnTo>
                      <a:pt x="16399" y="42961"/>
                    </a:lnTo>
                    <a:lnTo>
                      <a:pt x="16399" y="42961"/>
                    </a:lnTo>
                    <a:lnTo>
                      <a:pt x="16149" y="42852"/>
                    </a:lnTo>
                    <a:lnTo>
                      <a:pt x="16149" y="42852"/>
                    </a:lnTo>
                    <a:cubicBezTo>
                      <a:pt x="16149" y="42852"/>
                      <a:pt x="16149" y="42852"/>
                      <a:pt x="16149" y="42852"/>
                    </a:cubicBezTo>
                    <a:cubicBezTo>
                      <a:pt x="16120" y="42838"/>
                      <a:pt x="16085" y="42838"/>
                      <a:pt x="16056" y="42852"/>
                    </a:cubicBezTo>
                    <a:lnTo>
                      <a:pt x="16056" y="42852"/>
                    </a:lnTo>
                    <a:lnTo>
                      <a:pt x="16056" y="42852"/>
                    </a:lnTo>
                    <a:lnTo>
                      <a:pt x="16056" y="42852"/>
                    </a:lnTo>
                    <a:lnTo>
                      <a:pt x="16212" y="42852"/>
                    </a:lnTo>
                    <a:lnTo>
                      <a:pt x="16025" y="42852"/>
                    </a:lnTo>
                    <a:lnTo>
                      <a:pt x="16025" y="42852"/>
                    </a:lnTo>
                    <a:lnTo>
                      <a:pt x="15806" y="42759"/>
                    </a:lnTo>
                    <a:lnTo>
                      <a:pt x="15806" y="42759"/>
                    </a:lnTo>
                    <a:lnTo>
                      <a:pt x="15806" y="42759"/>
                    </a:lnTo>
                    <a:lnTo>
                      <a:pt x="15682" y="42759"/>
                    </a:lnTo>
                    <a:lnTo>
                      <a:pt x="15853" y="42852"/>
                    </a:lnTo>
                    <a:lnTo>
                      <a:pt x="15604" y="42727"/>
                    </a:lnTo>
                    <a:lnTo>
                      <a:pt x="15604" y="42727"/>
                    </a:lnTo>
                    <a:lnTo>
                      <a:pt x="15760" y="42727"/>
                    </a:lnTo>
                    <a:lnTo>
                      <a:pt x="15635" y="42727"/>
                    </a:lnTo>
                    <a:lnTo>
                      <a:pt x="15760" y="42727"/>
                    </a:lnTo>
                    <a:lnTo>
                      <a:pt x="15526" y="42618"/>
                    </a:lnTo>
                    <a:lnTo>
                      <a:pt x="15526" y="42618"/>
                    </a:lnTo>
                    <a:lnTo>
                      <a:pt x="15432" y="42618"/>
                    </a:lnTo>
                    <a:lnTo>
                      <a:pt x="15432" y="42618"/>
                    </a:lnTo>
                    <a:lnTo>
                      <a:pt x="15230" y="42525"/>
                    </a:lnTo>
                    <a:lnTo>
                      <a:pt x="15230" y="42525"/>
                    </a:lnTo>
                    <a:lnTo>
                      <a:pt x="15152" y="42525"/>
                    </a:lnTo>
                    <a:lnTo>
                      <a:pt x="15152" y="42525"/>
                    </a:lnTo>
                    <a:cubicBezTo>
                      <a:pt x="15026" y="42475"/>
                      <a:pt x="14906" y="42412"/>
                      <a:pt x="14793" y="42338"/>
                    </a:cubicBezTo>
                    <a:lnTo>
                      <a:pt x="14793" y="42338"/>
                    </a:lnTo>
                    <a:lnTo>
                      <a:pt x="14637" y="42244"/>
                    </a:lnTo>
                    <a:lnTo>
                      <a:pt x="14778" y="42338"/>
                    </a:lnTo>
                    <a:lnTo>
                      <a:pt x="14466" y="42166"/>
                    </a:lnTo>
                    <a:lnTo>
                      <a:pt x="14466" y="42166"/>
                    </a:lnTo>
                    <a:lnTo>
                      <a:pt x="14372" y="42166"/>
                    </a:lnTo>
                    <a:lnTo>
                      <a:pt x="14372" y="42166"/>
                    </a:lnTo>
                    <a:lnTo>
                      <a:pt x="14216" y="42073"/>
                    </a:lnTo>
                    <a:lnTo>
                      <a:pt x="14216" y="42073"/>
                    </a:lnTo>
                    <a:lnTo>
                      <a:pt x="14216" y="42073"/>
                    </a:lnTo>
                    <a:lnTo>
                      <a:pt x="14216" y="42073"/>
                    </a:lnTo>
                    <a:lnTo>
                      <a:pt x="14076" y="41995"/>
                    </a:lnTo>
                    <a:lnTo>
                      <a:pt x="14076" y="41995"/>
                    </a:lnTo>
                    <a:lnTo>
                      <a:pt x="13920" y="41886"/>
                    </a:lnTo>
                    <a:lnTo>
                      <a:pt x="13920" y="41886"/>
                    </a:lnTo>
                    <a:lnTo>
                      <a:pt x="13795" y="41886"/>
                    </a:lnTo>
                    <a:lnTo>
                      <a:pt x="13795" y="41886"/>
                    </a:lnTo>
                    <a:cubicBezTo>
                      <a:pt x="13760" y="41896"/>
                      <a:pt x="13722" y="41896"/>
                      <a:pt x="13686" y="41886"/>
                    </a:cubicBezTo>
                    <a:lnTo>
                      <a:pt x="13686" y="41886"/>
                    </a:lnTo>
                    <a:lnTo>
                      <a:pt x="13811" y="41964"/>
                    </a:lnTo>
                    <a:lnTo>
                      <a:pt x="13686" y="41886"/>
                    </a:lnTo>
                    <a:lnTo>
                      <a:pt x="13686" y="41886"/>
                    </a:lnTo>
                    <a:lnTo>
                      <a:pt x="13577" y="41886"/>
                    </a:lnTo>
                    <a:lnTo>
                      <a:pt x="13577" y="41886"/>
                    </a:lnTo>
                    <a:lnTo>
                      <a:pt x="13453" y="41808"/>
                    </a:lnTo>
                    <a:cubicBezTo>
                      <a:pt x="13513" y="41833"/>
                      <a:pt x="13570" y="41864"/>
                      <a:pt x="13624" y="41901"/>
                    </a:cubicBezTo>
                    <a:cubicBezTo>
                      <a:pt x="13624" y="41901"/>
                      <a:pt x="13749" y="41995"/>
                      <a:pt x="13780" y="41995"/>
                    </a:cubicBezTo>
                    <a:lnTo>
                      <a:pt x="13359" y="41699"/>
                    </a:lnTo>
                    <a:lnTo>
                      <a:pt x="13359" y="41699"/>
                    </a:lnTo>
                    <a:cubicBezTo>
                      <a:pt x="13110" y="41496"/>
                      <a:pt x="12829" y="41324"/>
                      <a:pt x="12595" y="41122"/>
                    </a:cubicBezTo>
                    <a:lnTo>
                      <a:pt x="12689" y="41122"/>
                    </a:lnTo>
                    <a:lnTo>
                      <a:pt x="12548" y="41013"/>
                    </a:lnTo>
                    <a:lnTo>
                      <a:pt x="12548" y="41013"/>
                    </a:lnTo>
                    <a:cubicBezTo>
                      <a:pt x="12548" y="41013"/>
                      <a:pt x="12548" y="41013"/>
                      <a:pt x="12455" y="41013"/>
                    </a:cubicBezTo>
                    <a:lnTo>
                      <a:pt x="12455" y="41013"/>
                    </a:lnTo>
                    <a:lnTo>
                      <a:pt x="12455" y="41013"/>
                    </a:lnTo>
                    <a:lnTo>
                      <a:pt x="12455" y="41013"/>
                    </a:lnTo>
                    <a:cubicBezTo>
                      <a:pt x="12251" y="40890"/>
                      <a:pt x="12063" y="40743"/>
                      <a:pt x="11894" y="40576"/>
                    </a:cubicBezTo>
                    <a:lnTo>
                      <a:pt x="11894" y="40576"/>
                    </a:lnTo>
                    <a:cubicBezTo>
                      <a:pt x="11675" y="40342"/>
                      <a:pt x="11410" y="40171"/>
                      <a:pt x="11177" y="39953"/>
                    </a:cubicBezTo>
                    <a:cubicBezTo>
                      <a:pt x="11177" y="39953"/>
                      <a:pt x="11177" y="39953"/>
                      <a:pt x="11177" y="39953"/>
                    </a:cubicBezTo>
                    <a:cubicBezTo>
                      <a:pt x="10229" y="38961"/>
                      <a:pt x="9393" y="37869"/>
                      <a:pt x="8683" y="36695"/>
                    </a:cubicBezTo>
                    <a:lnTo>
                      <a:pt x="8683" y="36695"/>
                    </a:lnTo>
                    <a:cubicBezTo>
                      <a:pt x="8363" y="35817"/>
                      <a:pt x="7887" y="35004"/>
                      <a:pt x="7280" y="34294"/>
                    </a:cubicBezTo>
                    <a:lnTo>
                      <a:pt x="7280" y="34294"/>
                    </a:lnTo>
                    <a:cubicBezTo>
                      <a:pt x="6307" y="33179"/>
                      <a:pt x="5626" y="31840"/>
                      <a:pt x="5300" y="30397"/>
                    </a:cubicBezTo>
                    <a:cubicBezTo>
                      <a:pt x="5300" y="30397"/>
                      <a:pt x="5300" y="30397"/>
                      <a:pt x="5300" y="30475"/>
                    </a:cubicBezTo>
                    <a:cubicBezTo>
                      <a:pt x="5309" y="30444"/>
                      <a:pt x="5309" y="30412"/>
                      <a:pt x="5300" y="30382"/>
                    </a:cubicBezTo>
                    <a:cubicBezTo>
                      <a:pt x="5300" y="30382"/>
                      <a:pt x="5300" y="30475"/>
                      <a:pt x="5300" y="30506"/>
                    </a:cubicBezTo>
                    <a:cubicBezTo>
                      <a:pt x="5082" y="30132"/>
                      <a:pt x="5160" y="25830"/>
                      <a:pt x="4739" y="27498"/>
                    </a:cubicBezTo>
                    <a:cubicBezTo>
                      <a:pt x="4739" y="27498"/>
                      <a:pt x="4739" y="27311"/>
                      <a:pt x="4739" y="27264"/>
                    </a:cubicBezTo>
                    <a:cubicBezTo>
                      <a:pt x="4739" y="27217"/>
                      <a:pt x="4739" y="27264"/>
                      <a:pt x="4739" y="27342"/>
                    </a:cubicBezTo>
                    <a:cubicBezTo>
                      <a:pt x="4739" y="27420"/>
                      <a:pt x="4739" y="27124"/>
                      <a:pt x="4598" y="27030"/>
                    </a:cubicBezTo>
                    <a:cubicBezTo>
                      <a:pt x="4458" y="26937"/>
                      <a:pt x="4598" y="27030"/>
                      <a:pt x="4598" y="27030"/>
                    </a:cubicBezTo>
                    <a:lnTo>
                      <a:pt x="4598" y="27030"/>
                    </a:lnTo>
                    <a:cubicBezTo>
                      <a:pt x="4598" y="27030"/>
                      <a:pt x="4598" y="26874"/>
                      <a:pt x="4598" y="26812"/>
                    </a:cubicBezTo>
                    <a:cubicBezTo>
                      <a:pt x="4598" y="26749"/>
                      <a:pt x="4598" y="26921"/>
                      <a:pt x="4598" y="26968"/>
                    </a:cubicBezTo>
                    <a:cubicBezTo>
                      <a:pt x="4598" y="26734"/>
                      <a:pt x="4489" y="26469"/>
                      <a:pt x="4396" y="26235"/>
                    </a:cubicBezTo>
                    <a:cubicBezTo>
                      <a:pt x="4396" y="26313"/>
                      <a:pt x="4396" y="26391"/>
                      <a:pt x="4396" y="26484"/>
                    </a:cubicBezTo>
                    <a:cubicBezTo>
                      <a:pt x="4256" y="26095"/>
                      <a:pt x="4240" y="25674"/>
                      <a:pt x="4131" y="25269"/>
                    </a:cubicBezTo>
                    <a:cubicBezTo>
                      <a:pt x="4131" y="25347"/>
                      <a:pt x="4131" y="25269"/>
                      <a:pt x="4131" y="25175"/>
                    </a:cubicBezTo>
                    <a:cubicBezTo>
                      <a:pt x="4131" y="25082"/>
                      <a:pt x="4131" y="25175"/>
                      <a:pt x="4131" y="25175"/>
                    </a:cubicBezTo>
                    <a:cubicBezTo>
                      <a:pt x="4131" y="25175"/>
                      <a:pt x="4131" y="25175"/>
                      <a:pt x="4131" y="25175"/>
                    </a:cubicBezTo>
                    <a:cubicBezTo>
                      <a:pt x="4131" y="25175"/>
                      <a:pt x="4131" y="25175"/>
                      <a:pt x="4131" y="25175"/>
                    </a:cubicBezTo>
                    <a:cubicBezTo>
                      <a:pt x="3941" y="24764"/>
                      <a:pt x="3835" y="24318"/>
                      <a:pt x="3819" y="23866"/>
                    </a:cubicBezTo>
                    <a:cubicBezTo>
                      <a:pt x="3828" y="23928"/>
                      <a:pt x="3828" y="23991"/>
                      <a:pt x="3819" y="24053"/>
                    </a:cubicBezTo>
                    <a:cubicBezTo>
                      <a:pt x="3828" y="23991"/>
                      <a:pt x="3828" y="23928"/>
                      <a:pt x="3819" y="23866"/>
                    </a:cubicBezTo>
                    <a:lnTo>
                      <a:pt x="3819" y="23866"/>
                    </a:lnTo>
                    <a:cubicBezTo>
                      <a:pt x="3819" y="23866"/>
                      <a:pt x="3819" y="23866"/>
                      <a:pt x="3819" y="23866"/>
                    </a:cubicBezTo>
                    <a:lnTo>
                      <a:pt x="3819" y="23866"/>
                    </a:lnTo>
                    <a:lnTo>
                      <a:pt x="3819" y="23866"/>
                    </a:lnTo>
                    <a:cubicBezTo>
                      <a:pt x="3819" y="23866"/>
                      <a:pt x="3819" y="23866"/>
                      <a:pt x="3819" y="23959"/>
                    </a:cubicBezTo>
                    <a:cubicBezTo>
                      <a:pt x="3819" y="24053"/>
                      <a:pt x="3819" y="23959"/>
                      <a:pt x="3819" y="23959"/>
                    </a:cubicBezTo>
                    <a:lnTo>
                      <a:pt x="3819" y="23959"/>
                    </a:lnTo>
                    <a:lnTo>
                      <a:pt x="3819" y="23959"/>
                    </a:lnTo>
                    <a:cubicBezTo>
                      <a:pt x="3819" y="23881"/>
                      <a:pt x="3819" y="23772"/>
                      <a:pt x="3819" y="23679"/>
                    </a:cubicBezTo>
                    <a:lnTo>
                      <a:pt x="3819" y="23679"/>
                    </a:lnTo>
                    <a:cubicBezTo>
                      <a:pt x="3811" y="23627"/>
                      <a:pt x="3811" y="23574"/>
                      <a:pt x="3819" y="23523"/>
                    </a:cubicBezTo>
                    <a:lnTo>
                      <a:pt x="3819" y="23523"/>
                    </a:lnTo>
                    <a:cubicBezTo>
                      <a:pt x="3803" y="23305"/>
                      <a:pt x="3803" y="23086"/>
                      <a:pt x="3819" y="22868"/>
                    </a:cubicBezTo>
                    <a:lnTo>
                      <a:pt x="3819" y="22868"/>
                    </a:lnTo>
                    <a:cubicBezTo>
                      <a:pt x="3819" y="22868"/>
                      <a:pt x="3819" y="22790"/>
                      <a:pt x="3819" y="22759"/>
                    </a:cubicBezTo>
                    <a:lnTo>
                      <a:pt x="3819" y="22759"/>
                    </a:lnTo>
                    <a:cubicBezTo>
                      <a:pt x="4323" y="14291"/>
                      <a:pt x="9917" y="6976"/>
                      <a:pt x="17957" y="4271"/>
                    </a:cubicBezTo>
                    <a:lnTo>
                      <a:pt x="17957" y="4271"/>
                    </a:lnTo>
                    <a:lnTo>
                      <a:pt x="18145" y="4271"/>
                    </a:lnTo>
                    <a:lnTo>
                      <a:pt x="18145" y="4271"/>
                    </a:lnTo>
                    <a:lnTo>
                      <a:pt x="18347" y="4271"/>
                    </a:lnTo>
                    <a:lnTo>
                      <a:pt x="18207" y="4271"/>
                    </a:lnTo>
                    <a:lnTo>
                      <a:pt x="18456" y="4271"/>
                    </a:lnTo>
                    <a:lnTo>
                      <a:pt x="18363" y="4271"/>
                    </a:lnTo>
                    <a:lnTo>
                      <a:pt x="18363" y="4271"/>
                    </a:lnTo>
                    <a:lnTo>
                      <a:pt x="18534" y="4271"/>
                    </a:lnTo>
                    <a:lnTo>
                      <a:pt x="18534" y="4271"/>
                    </a:lnTo>
                    <a:lnTo>
                      <a:pt x="19703" y="4006"/>
                    </a:lnTo>
                    <a:lnTo>
                      <a:pt x="19703" y="4006"/>
                    </a:lnTo>
                    <a:lnTo>
                      <a:pt x="20000" y="4006"/>
                    </a:lnTo>
                    <a:lnTo>
                      <a:pt x="19797" y="4006"/>
                    </a:lnTo>
                    <a:lnTo>
                      <a:pt x="19797" y="4006"/>
                    </a:lnTo>
                    <a:lnTo>
                      <a:pt x="20342" y="4006"/>
                    </a:lnTo>
                    <a:lnTo>
                      <a:pt x="20342" y="4006"/>
                    </a:lnTo>
                    <a:lnTo>
                      <a:pt x="20062" y="4006"/>
                    </a:lnTo>
                    <a:lnTo>
                      <a:pt x="20327" y="4006"/>
                    </a:lnTo>
                    <a:lnTo>
                      <a:pt x="20327" y="4006"/>
                    </a:lnTo>
                    <a:lnTo>
                      <a:pt x="20592" y="4006"/>
                    </a:lnTo>
                    <a:lnTo>
                      <a:pt x="20498" y="4006"/>
                    </a:lnTo>
                    <a:lnTo>
                      <a:pt x="20405" y="4006"/>
                    </a:lnTo>
                    <a:lnTo>
                      <a:pt x="20623" y="4006"/>
                    </a:lnTo>
                    <a:lnTo>
                      <a:pt x="20280" y="4006"/>
                    </a:lnTo>
                    <a:lnTo>
                      <a:pt x="20187" y="4006"/>
                    </a:lnTo>
                    <a:lnTo>
                      <a:pt x="20015" y="4006"/>
                    </a:lnTo>
                    <a:lnTo>
                      <a:pt x="20342" y="4006"/>
                    </a:lnTo>
                    <a:lnTo>
                      <a:pt x="19984" y="4006"/>
                    </a:lnTo>
                    <a:lnTo>
                      <a:pt x="19984" y="4006"/>
                    </a:lnTo>
                    <a:lnTo>
                      <a:pt x="19610" y="4006"/>
                    </a:lnTo>
                    <a:lnTo>
                      <a:pt x="19610" y="4006"/>
                    </a:lnTo>
                    <a:lnTo>
                      <a:pt x="19251" y="4084"/>
                    </a:lnTo>
                    <a:lnTo>
                      <a:pt x="19407" y="4084"/>
                    </a:lnTo>
                    <a:lnTo>
                      <a:pt x="19407" y="4084"/>
                    </a:lnTo>
                    <a:cubicBezTo>
                      <a:pt x="19286" y="4123"/>
                      <a:pt x="19160" y="4150"/>
                      <a:pt x="19033" y="4162"/>
                    </a:cubicBezTo>
                    <a:lnTo>
                      <a:pt x="19189" y="4162"/>
                    </a:lnTo>
                    <a:lnTo>
                      <a:pt x="19017" y="4162"/>
                    </a:lnTo>
                    <a:lnTo>
                      <a:pt x="19017" y="4162"/>
                    </a:lnTo>
                    <a:lnTo>
                      <a:pt x="18908" y="4162"/>
                    </a:lnTo>
                    <a:lnTo>
                      <a:pt x="18908" y="4162"/>
                    </a:lnTo>
                    <a:lnTo>
                      <a:pt x="18908" y="4162"/>
                    </a:lnTo>
                    <a:cubicBezTo>
                      <a:pt x="18908" y="4162"/>
                      <a:pt x="18908" y="4162"/>
                      <a:pt x="18908" y="4162"/>
                    </a:cubicBezTo>
                    <a:lnTo>
                      <a:pt x="18908" y="4162"/>
                    </a:lnTo>
                    <a:lnTo>
                      <a:pt x="18752" y="4162"/>
                    </a:lnTo>
                    <a:lnTo>
                      <a:pt x="18752" y="4162"/>
                    </a:lnTo>
                    <a:lnTo>
                      <a:pt x="18752" y="4162"/>
                    </a:lnTo>
                    <a:lnTo>
                      <a:pt x="18752" y="4162"/>
                    </a:lnTo>
                    <a:lnTo>
                      <a:pt x="18659" y="4162"/>
                    </a:lnTo>
                    <a:lnTo>
                      <a:pt x="18659" y="4162"/>
                    </a:lnTo>
                    <a:lnTo>
                      <a:pt x="18254" y="4271"/>
                    </a:lnTo>
                    <a:lnTo>
                      <a:pt x="18254" y="4271"/>
                    </a:lnTo>
                    <a:lnTo>
                      <a:pt x="17957" y="4380"/>
                    </a:lnTo>
                    <a:lnTo>
                      <a:pt x="17957" y="4380"/>
                    </a:lnTo>
                    <a:lnTo>
                      <a:pt x="17599" y="4489"/>
                    </a:lnTo>
                    <a:lnTo>
                      <a:pt x="17599" y="4489"/>
                    </a:lnTo>
                    <a:lnTo>
                      <a:pt x="17334" y="4676"/>
                    </a:lnTo>
                    <a:lnTo>
                      <a:pt x="17334" y="4676"/>
                    </a:lnTo>
                    <a:lnTo>
                      <a:pt x="17240" y="4676"/>
                    </a:lnTo>
                    <a:lnTo>
                      <a:pt x="17240" y="4676"/>
                    </a:lnTo>
                    <a:lnTo>
                      <a:pt x="16726" y="4864"/>
                    </a:lnTo>
                    <a:lnTo>
                      <a:pt x="16851" y="4864"/>
                    </a:lnTo>
                    <a:lnTo>
                      <a:pt x="16851" y="4864"/>
                    </a:lnTo>
                    <a:cubicBezTo>
                      <a:pt x="17028" y="4797"/>
                      <a:pt x="17211" y="4745"/>
                      <a:pt x="17396" y="4708"/>
                    </a:cubicBezTo>
                    <a:lnTo>
                      <a:pt x="17396" y="4708"/>
                    </a:lnTo>
                    <a:lnTo>
                      <a:pt x="17552" y="4708"/>
                    </a:lnTo>
                    <a:lnTo>
                      <a:pt x="17661" y="4708"/>
                    </a:lnTo>
                    <a:lnTo>
                      <a:pt x="17412" y="4708"/>
                    </a:lnTo>
                    <a:lnTo>
                      <a:pt x="17412" y="4708"/>
                    </a:lnTo>
                    <a:lnTo>
                      <a:pt x="17272" y="4708"/>
                    </a:lnTo>
                    <a:lnTo>
                      <a:pt x="17272" y="4708"/>
                    </a:lnTo>
                    <a:lnTo>
                      <a:pt x="17162" y="4708"/>
                    </a:lnTo>
                    <a:lnTo>
                      <a:pt x="17162" y="4708"/>
                    </a:lnTo>
                    <a:lnTo>
                      <a:pt x="17007" y="4708"/>
                    </a:lnTo>
                    <a:lnTo>
                      <a:pt x="17007" y="4708"/>
                    </a:lnTo>
                    <a:lnTo>
                      <a:pt x="17147" y="4708"/>
                    </a:lnTo>
                    <a:lnTo>
                      <a:pt x="17147" y="4708"/>
                    </a:lnTo>
                    <a:lnTo>
                      <a:pt x="17287" y="4708"/>
                    </a:lnTo>
                    <a:lnTo>
                      <a:pt x="17287" y="4708"/>
                    </a:lnTo>
                    <a:lnTo>
                      <a:pt x="17116" y="4708"/>
                    </a:lnTo>
                    <a:cubicBezTo>
                      <a:pt x="17240" y="4708"/>
                      <a:pt x="17599" y="4599"/>
                      <a:pt x="17272" y="4708"/>
                    </a:cubicBezTo>
                    <a:lnTo>
                      <a:pt x="17412" y="4708"/>
                    </a:lnTo>
                    <a:lnTo>
                      <a:pt x="17505" y="4708"/>
                    </a:lnTo>
                    <a:lnTo>
                      <a:pt x="17833" y="4614"/>
                    </a:lnTo>
                    <a:cubicBezTo>
                      <a:pt x="17472" y="4715"/>
                      <a:pt x="17118" y="4840"/>
                      <a:pt x="16773" y="4988"/>
                    </a:cubicBezTo>
                    <a:lnTo>
                      <a:pt x="16929" y="4988"/>
                    </a:lnTo>
                    <a:lnTo>
                      <a:pt x="16929" y="4988"/>
                    </a:lnTo>
                    <a:cubicBezTo>
                      <a:pt x="16929" y="4988"/>
                      <a:pt x="17116" y="4988"/>
                      <a:pt x="17007" y="4988"/>
                    </a:cubicBezTo>
                    <a:lnTo>
                      <a:pt x="17147" y="4988"/>
                    </a:lnTo>
                    <a:lnTo>
                      <a:pt x="17147" y="4988"/>
                    </a:lnTo>
                    <a:lnTo>
                      <a:pt x="17272" y="4988"/>
                    </a:lnTo>
                    <a:cubicBezTo>
                      <a:pt x="17178" y="4988"/>
                      <a:pt x="17069" y="4988"/>
                      <a:pt x="16991" y="5097"/>
                    </a:cubicBezTo>
                    <a:lnTo>
                      <a:pt x="16991" y="5097"/>
                    </a:lnTo>
                    <a:lnTo>
                      <a:pt x="16866" y="5097"/>
                    </a:lnTo>
                    <a:lnTo>
                      <a:pt x="16866" y="5097"/>
                    </a:lnTo>
                    <a:lnTo>
                      <a:pt x="16710" y="5097"/>
                    </a:lnTo>
                    <a:cubicBezTo>
                      <a:pt x="16793" y="5104"/>
                      <a:pt x="16877" y="5104"/>
                      <a:pt x="16960" y="5097"/>
                    </a:cubicBezTo>
                    <a:cubicBezTo>
                      <a:pt x="16695" y="5238"/>
                      <a:pt x="16367" y="5362"/>
                      <a:pt x="16103" y="5534"/>
                    </a:cubicBezTo>
                    <a:lnTo>
                      <a:pt x="16103" y="5534"/>
                    </a:lnTo>
                    <a:lnTo>
                      <a:pt x="15931" y="5627"/>
                    </a:lnTo>
                    <a:lnTo>
                      <a:pt x="16103" y="5627"/>
                    </a:lnTo>
                    <a:lnTo>
                      <a:pt x="16103" y="5627"/>
                    </a:lnTo>
                    <a:cubicBezTo>
                      <a:pt x="16103" y="5627"/>
                      <a:pt x="16103" y="5627"/>
                      <a:pt x="16103" y="5627"/>
                    </a:cubicBezTo>
                    <a:cubicBezTo>
                      <a:pt x="15934" y="5726"/>
                      <a:pt x="15756" y="5810"/>
                      <a:pt x="15573" y="5877"/>
                    </a:cubicBezTo>
                    <a:cubicBezTo>
                      <a:pt x="15573" y="5877"/>
                      <a:pt x="15573" y="5877"/>
                      <a:pt x="15573" y="5877"/>
                    </a:cubicBezTo>
                    <a:cubicBezTo>
                      <a:pt x="15573" y="5877"/>
                      <a:pt x="15479" y="5877"/>
                      <a:pt x="15463" y="5877"/>
                    </a:cubicBezTo>
                    <a:lnTo>
                      <a:pt x="15463" y="5877"/>
                    </a:lnTo>
                    <a:cubicBezTo>
                      <a:pt x="15406" y="5898"/>
                      <a:pt x="15353" y="5930"/>
                      <a:pt x="15308" y="5970"/>
                    </a:cubicBezTo>
                    <a:lnTo>
                      <a:pt x="15308" y="5970"/>
                    </a:lnTo>
                    <a:cubicBezTo>
                      <a:pt x="15308" y="5970"/>
                      <a:pt x="15089" y="6126"/>
                      <a:pt x="15183" y="6095"/>
                    </a:cubicBezTo>
                    <a:lnTo>
                      <a:pt x="15183" y="6095"/>
                    </a:lnTo>
                    <a:lnTo>
                      <a:pt x="15183" y="6095"/>
                    </a:lnTo>
                    <a:lnTo>
                      <a:pt x="15183" y="6095"/>
                    </a:lnTo>
                    <a:cubicBezTo>
                      <a:pt x="15183" y="6095"/>
                      <a:pt x="15183" y="6095"/>
                      <a:pt x="15183" y="6095"/>
                    </a:cubicBezTo>
                    <a:lnTo>
                      <a:pt x="15323" y="6095"/>
                    </a:lnTo>
                    <a:lnTo>
                      <a:pt x="15089" y="6220"/>
                    </a:lnTo>
                    <a:lnTo>
                      <a:pt x="15089" y="6220"/>
                    </a:lnTo>
                    <a:cubicBezTo>
                      <a:pt x="15089" y="6220"/>
                      <a:pt x="14933" y="6220"/>
                      <a:pt x="14871" y="6344"/>
                    </a:cubicBezTo>
                    <a:cubicBezTo>
                      <a:pt x="14809" y="6469"/>
                      <a:pt x="14980" y="6344"/>
                      <a:pt x="15027" y="6344"/>
                    </a:cubicBezTo>
                    <a:cubicBezTo>
                      <a:pt x="14873" y="6412"/>
                      <a:pt x="14727" y="6496"/>
                      <a:pt x="14590" y="6594"/>
                    </a:cubicBezTo>
                    <a:lnTo>
                      <a:pt x="14590" y="6594"/>
                    </a:lnTo>
                    <a:lnTo>
                      <a:pt x="14590" y="6594"/>
                    </a:lnTo>
                    <a:cubicBezTo>
                      <a:pt x="14808" y="6458"/>
                      <a:pt x="15037" y="6343"/>
                      <a:pt x="15276" y="6251"/>
                    </a:cubicBezTo>
                    <a:lnTo>
                      <a:pt x="15276" y="6251"/>
                    </a:lnTo>
                    <a:cubicBezTo>
                      <a:pt x="15276" y="6251"/>
                      <a:pt x="15276" y="6251"/>
                      <a:pt x="15276" y="6251"/>
                    </a:cubicBezTo>
                    <a:lnTo>
                      <a:pt x="15276" y="6251"/>
                    </a:lnTo>
                    <a:lnTo>
                      <a:pt x="15370" y="6251"/>
                    </a:lnTo>
                    <a:lnTo>
                      <a:pt x="15276" y="6251"/>
                    </a:lnTo>
                    <a:cubicBezTo>
                      <a:pt x="15276" y="6251"/>
                      <a:pt x="15417" y="6157"/>
                      <a:pt x="15479" y="6157"/>
                    </a:cubicBezTo>
                    <a:lnTo>
                      <a:pt x="15479" y="6157"/>
                    </a:lnTo>
                    <a:cubicBezTo>
                      <a:pt x="15479" y="6157"/>
                      <a:pt x="15713" y="6064"/>
                      <a:pt x="15573" y="6157"/>
                    </a:cubicBezTo>
                    <a:lnTo>
                      <a:pt x="15463" y="6157"/>
                    </a:lnTo>
                    <a:cubicBezTo>
                      <a:pt x="15494" y="6149"/>
                      <a:pt x="15526" y="6149"/>
                      <a:pt x="15557" y="6157"/>
                    </a:cubicBezTo>
                    <a:lnTo>
                      <a:pt x="15448" y="6157"/>
                    </a:lnTo>
                    <a:lnTo>
                      <a:pt x="15448" y="6157"/>
                    </a:lnTo>
                    <a:cubicBezTo>
                      <a:pt x="15448" y="6157"/>
                      <a:pt x="15448" y="6157"/>
                      <a:pt x="15323" y="6157"/>
                    </a:cubicBezTo>
                    <a:cubicBezTo>
                      <a:pt x="15198" y="6157"/>
                      <a:pt x="15495" y="6157"/>
                      <a:pt x="15432" y="6157"/>
                    </a:cubicBezTo>
                    <a:cubicBezTo>
                      <a:pt x="15522" y="6121"/>
                      <a:pt x="15623" y="6121"/>
                      <a:pt x="15713" y="6157"/>
                    </a:cubicBezTo>
                    <a:lnTo>
                      <a:pt x="15713" y="6157"/>
                    </a:lnTo>
                    <a:cubicBezTo>
                      <a:pt x="15541" y="6282"/>
                      <a:pt x="15339" y="6376"/>
                      <a:pt x="15152" y="6485"/>
                    </a:cubicBezTo>
                    <a:lnTo>
                      <a:pt x="15152" y="6485"/>
                    </a:lnTo>
                    <a:lnTo>
                      <a:pt x="15152" y="6485"/>
                    </a:lnTo>
                    <a:lnTo>
                      <a:pt x="15152" y="6485"/>
                    </a:lnTo>
                    <a:cubicBezTo>
                      <a:pt x="15152" y="6485"/>
                      <a:pt x="15152" y="6485"/>
                      <a:pt x="15152" y="6485"/>
                    </a:cubicBezTo>
                    <a:lnTo>
                      <a:pt x="15152" y="6485"/>
                    </a:lnTo>
                    <a:lnTo>
                      <a:pt x="15152" y="6485"/>
                    </a:lnTo>
                    <a:lnTo>
                      <a:pt x="14933" y="6625"/>
                    </a:lnTo>
                    <a:lnTo>
                      <a:pt x="14933" y="6625"/>
                    </a:lnTo>
                    <a:cubicBezTo>
                      <a:pt x="14933" y="6625"/>
                      <a:pt x="14933" y="6625"/>
                      <a:pt x="14933" y="6703"/>
                    </a:cubicBezTo>
                    <a:lnTo>
                      <a:pt x="15074" y="6703"/>
                    </a:lnTo>
                    <a:lnTo>
                      <a:pt x="15074" y="6703"/>
                    </a:lnTo>
                    <a:lnTo>
                      <a:pt x="15074" y="6796"/>
                    </a:lnTo>
                    <a:cubicBezTo>
                      <a:pt x="15074" y="6796"/>
                      <a:pt x="15074" y="6796"/>
                      <a:pt x="15074" y="6796"/>
                    </a:cubicBezTo>
                    <a:lnTo>
                      <a:pt x="15074" y="6796"/>
                    </a:lnTo>
                    <a:cubicBezTo>
                      <a:pt x="15385" y="6594"/>
                      <a:pt x="15167" y="6796"/>
                      <a:pt x="15074" y="6890"/>
                    </a:cubicBezTo>
                    <a:cubicBezTo>
                      <a:pt x="15183" y="6890"/>
                      <a:pt x="15276" y="6703"/>
                      <a:pt x="15401" y="6656"/>
                    </a:cubicBezTo>
                    <a:lnTo>
                      <a:pt x="15401" y="6656"/>
                    </a:lnTo>
                    <a:cubicBezTo>
                      <a:pt x="15401" y="6656"/>
                      <a:pt x="15682" y="6485"/>
                      <a:pt x="15526" y="6656"/>
                    </a:cubicBezTo>
                    <a:lnTo>
                      <a:pt x="15650" y="6656"/>
                    </a:lnTo>
                    <a:lnTo>
                      <a:pt x="15557" y="6656"/>
                    </a:lnTo>
                    <a:cubicBezTo>
                      <a:pt x="15557" y="6656"/>
                      <a:pt x="15557" y="6656"/>
                      <a:pt x="15557" y="6656"/>
                    </a:cubicBezTo>
                    <a:cubicBezTo>
                      <a:pt x="15557" y="6656"/>
                      <a:pt x="15448" y="6656"/>
                      <a:pt x="15417" y="6750"/>
                    </a:cubicBezTo>
                    <a:lnTo>
                      <a:pt x="15417" y="6750"/>
                    </a:lnTo>
                    <a:cubicBezTo>
                      <a:pt x="15417" y="6750"/>
                      <a:pt x="15323" y="6750"/>
                      <a:pt x="15308" y="6750"/>
                    </a:cubicBezTo>
                    <a:cubicBezTo>
                      <a:pt x="15619" y="6641"/>
                      <a:pt x="15198" y="6750"/>
                      <a:pt x="15074" y="6874"/>
                    </a:cubicBezTo>
                    <a:lnTo>
                      <a:pt x="15074" y="6874"/>
                    </a:lnTo>
                    <a:lnTo>
                      <a:pt x="14902" y="6968"/>
                    </a:lnTo>
                    <a:lnTo>
                      <a:pt x="14902" y="6968"/>
                    </a:lnTo>
                    <a:lnTo>
                      <a:pt x="14778" y="6968"/>
                    </a:lnTo>
                    <a:cubicBezTo>
                      <a:pt x="14918" y="6968"/>
                      <a:pt x="14778" y="6968"/>
                      <a:pt x="14778" y="6968"/>
                    </a:cubicBezTo>
                    <a:lnTo>
                      <a:pt x="14778" y="6968"/>
                    </a:lnTo>
                    <a:lnTo>
                      <a:pt x="14637" y="6968"/>
                    </a:lnTo>
                    <a:lnTo>
                      <a:pt x="14637" y="6968"/>
                    </a:lnTo>
                    <a:lnTo>
                      <a:pt x="14637" y="6968"/>
                    </a:lnTo>
                    <a:lnTo>
                      <a:pt x="14637" y="6968"/>
                    </a:lnTo>
                    <a:cubicBezTo>
                      <a:pt x="14544" y="6968"/>
                      <a:pt x="14450" y="7108"/>
                      <a:pt x="14357" y="7139"/>
                    </a:cubicBezTo>
                    <a:cubicBezTo>
                      <a:pt x="14263" y="7171"/>
                      <a:pt x="14497" y="7046"/>
                      <a:pt x="14559" y="7030"/>
                    </a:cubicBezTo>
                    <a:cubicBezTo>
                      <a:pt x="14622" y="7015"/>
                      <a:pt x="14559" y="7030"/>
                      <a:pt x="14559" y="7030"/>
                    </a:cubicBezTo>
                    <a:cubicBezTo>
                      <a:pt x="14640" y="6992"/>
                      <a:pt x="14723" y="6961"/>
                      <a:pt x="14809" y="6937"/>
                    </a:cubicBezTo>
                    <a:lnTo>
                      <a:pt x="14700" y="6937"/>
                    </a:lnTo>
                    <a:cubicBezTo>
                      <a:pt x="14871" y="6859"/>
                      <a:pt x="15027" y="6734"/>
                      <a:pt x="15198" y="6672"/>
                    </a:cubicBezTo>
                    <a:lnTo>
                      <a:pt x="15198" y="6672"/>
                    </a:lnTo>
                    <a:lnTo>
                      <a:pt x="15198" y="6672"/>
                    </a:lnTo>
                    <a:cubicBezTo>
                      <a:pt x="15406" y="6614"/>
                      <a:pt x="15605" y="6531"/>
                      <a:pt x="15791" y="6422"/>
                    </a:cubicBezTo>
                    <a:cubicBezTo>
                      <a:pt x="15791" y="6422"/>
                      <a:pt x="15791" y="6422"/>
                      <a:pt x="15666" y="6422"/>
                    </a:cubicBezTo>
                    <a:lnTo>
                      <a:pt x="15666" y="6422"/>
                    </a:lnTo>
                    <a:cubicBezTo>
                      <a:pt x="15760" y="6422"/>
                      <a:pt x="16118" y="6204"/>
                      <a:pt x="15900" y="6344"/>
                    </a:cubicBezTo>
                    <a:cubicBezTo>
                      <a:pt x="16056" y="6344"/>
                      <a:pt x="16056" y="6189"/>
                      <a:pt x="16196" y="6142"/>
                    </a:cubicBezTo>
                    <a:cubicBezTo>
                      <a:pt x="16056" y="6142"/>
                      <a:pt x="16196" y="6142"/>
                      <a:pt x="16196" y="6142"/>
                    </a:cubicBezTo>
                    <a:lnTo>
                      <a:pt x="16196" y="6142"/>
                    </a:lnTo>
                    <a:cubicBezTo>
                      <a:pt x="16368" y="6015"/>
                      <a:pt x="16564" y="5925"/>
                      <a:pt x="16773" y="5877"/>
                    </a:cubicBezTo>
                    <a:lnTo>
                      <a:pt x="16773" y="5877"/>
                    </a:lnTo>
                    <a:cubicBezTo>
                      <a:pt x="16936" y="5775"/>
                      <a:pt x="17115" y="5701"/>
                      <a:pt x="17303" y="5659"/>
                    </a:cubicBezTo>
                    <a:lnTo>
                      <a:pt x="17162" y="5736"/>
                    </a:lnTo>
                    <a:cubicBezTo>
                      <a:pt x="17334" y="5736"/>
                      <a:pt x="17459" y="5581"/>
                      <a:pt x="17630" y="5549"/>
                    </a:cubicBezTo>
                    <a:lnTo>
                      <a:pt x="17459" y="5674"/>
                    </a:lnTo>
                    <a:cubicBezTo>
                      <a:pt x="18410" y="5097"/>
                      <a:pt x="20000" y="4536"/>
                      <a:pt x="18425" y="5362"/>
                    </a:cubicBezTo>
                    <a:cubicBezTo>
                      <a:pt x="18675" y="5284"/>
                      <a:pt x="19267" y="4910"/>
                      <a:pt x="19080" y="5129"/>
                    </a:cubicBezTo>
                    <a:cubicBezTo>
                      <a:pt x="19766" y="4895"/>
                      <a:pt x="18721" y="5456"/>
                      <a:pt x="18425" y="5581"/>
                    </a:cubicBezTo>
                    <a:cubicBezTo>
                      <a:pt x="18784" y="5456"/>
                      <a:pt x="18425" y="5581"/>
                      <a:pt x="18425" y="5581"/>
                    </a:cubicBezTo>
                    <a:cubicBezTo>
                      <a:pt x="18425" y="5581"/>
                      <a:pt x="18659" y="5425"/>
                      <a:pt x="18519" y="5581"/>
                    </a:cubicBezTo>
                    <a:cubicBezTo>
                      <a:pt x="18752" y="5316"/>
                      <a:pt x="18986" y="5581"/>
                      <a:pt x="18597" y="5659"/>
                    </a:cubicBezTo>
                    <a:cubicBezTo>
                      <a:pt x="18557" y="5643"/>
                      <a:pt x="18512" y="5643"/>
                      <a:pt x="18472" y="5659"/>
                    </a:cubicBezTo>
                    <a:cubicBezTo>
                      <a:pt x="18706" y="5659"/>
                      <a:pt x="18378" y="5736"/>
                      <a:pt x="18300" y="5768"/>
                    </a:cubicBezTo>
                    <a:cubicBezTo>
                      <a:pt x="18893" y="5581"/>
                      <a:pt x="17802" y="6033"/>
                      <a:pt x="18456" y="5768"/>
                    </a:cubicBezTo>
                    <a:cubicBezTo>
                      <a:pt x="17630" y="6126"/>
                      <a:pt x="18830" y="5768"/>
                      <a:pt x="18020" y="6095"/>
                    </a:cubicBezTo>
                    <a:cubicBezTo>
                      <a:pt x="18020" y="6189"/>
                      <a:pt x="18020" y="6095"/>
                      <a:pt x="18238" y="6095"/>
                    </a:cubicBezTo>
                    <a:cubicBezTo>
                      <a:pt x="18120" y="6184"/>
                      <a:pt x="17989" y="6252"/>
                      <a:pt x="17848" y="6298"/>
                    </a:cubicBezTo>
                    <a:cubicBezTo>
                      <a:pt x="17755" y="6298"/>
                      <a:pt x="18534" y="6298"/>
                      <a:pt x="17692" y="6485"/>
                    </a:cubicBezTo>
                    <a:cubicBezTo>
                      <a:pt x="17599" y="6485"/>
                      <a:pt x="18113" y="6485"/>
                      <a:pt x="17568" y="6594"/>
                    </a:cubicBezTo>
                    <a:cubicBezTo>
                      <a:pt x="18020" y="6438"/>
                      <a:pt x="18082" y="6594"/>
                      <a:pt x="17568" y="6672"/>
                    </a:cubicBezTo>
                    <a:cubicBezTo>
                      <a:pt x="17770" y="6843"/>
                      <a:pt x="17474" y="6890"/>
                      <a:pt x="17568" y="6828"/>
                    </a:cubicBezTo>
                    <a:cubicBezTo>
                      <a:pt x="17318" y="6828"/>
                      <a:pt x="17568" y="7030"/>
                      <a:pt x="17287" y="6921"/>
                    </a:cubicBezTo>
                    <a:cubicBezTo>
                      <a:pt x="17116" y="7217"/>
                      <a:pt x="17412" y="7046"/>
                      <a:pt x="17116" y="7186"/>
                    </a:cubicBezTo>
                    <a:cubicBezTo>
                      <a:pt x="17350" y="7108"/>
                      <a:pt x="16929" y="7436"/>
                      <a:pt x="17116" y="7295"/>
                    </a:cubicBezTo>
                    <a:cubicBezTo>
                      <a:pt x="16820" y="7591"/>
                      <a:pt x="17381" y="7124"/>
                      <a:pt x="16975" y="7623"/>
                    </a:cubicBezTo>
                    <a:cubicBezTo>
                      <a:pt x="16773" y="7732"/>
                      <a:pt x="17303" y="7623"/>
                      <a:pt x="16835" y="7794"/>
                    </a:cubicBezTo>
                    <a:cubicBezTo>
                      <a:pt x="17178" y="7654"/>
                      <a:pt x="16913" y="8137"/>
                      <a:pt x="16695" y="8012"/>
                    </a:cubicBezTo>
                    <a:cubicBezTo>
                      <a:pt x="16695" y="8137"/>
                      <a:pt x="16555" y="8231"/>
                      <a:pt x="16508" y="8137"/>
                    </a:cubicBezTo>
                    <a:cubicBezTo>
                      <a:pt x="16461" y="8044"/>
                      <a:pt x="16352" y="8309"/>
                      <a:pt x="16508" y="8137"/>
                    </a:cubicBezTo>
                    <a:cubicBezTo>
                      <a:pt x="16664" y="7966"/>
                      <a:pt x="16056" y="8574"/>
                      <a:pt x="16196" y="8309"/>
                    </a:cubicBezTo>
                    <a:cubicBezTo>
                      <a:pt x="16071" y="8137"/>
                      <a:pt x="16492" y="7903"/>
                      <a:pt x="16539" y="7810"/>
                    </a:cubicBezTo>
                    <a:cubicBezTo>
                      <a:pt x="16258" y="7966"/>
                      <a:pt x="16430" y="7810"/>
                      <a:pt x="16539" y="7654"/>
                    </a:cubicBezTo>
                    <a:cubicBezTo>
                      <a:pt x="16648" y="7498"/>
                      <a:pt x="16305" y="7841"/>
                      <a:pt x="16383" y="7654"/>
                    </a:cubicBezTo>
                    <a:cubicBezTo>
                      <a:pt x="16118" y="7903"/>
                      <a:pt x="15962" y="7934"/>
                      <a:pt x="15869" y="8309"/>
                    </a:cubicBezTo>
                    <a:cubicBezTo>
                      <a:pt x="15775" y="8683"/>
                      <a:pt x="15261" y="9135"/>
                      <a:pt x="15198" y="8932"/>
                    </a:cubicBezTo>
                    <a:cubicBezTo>
                      <a:pt x="15136" y="8729"/>
                      <a:pt x="15308" y="8823"/>
                      <a:pt x="15198" y="8527"/>
                    </a:cubicBezTo>
                    <a:cubicBezTo>
                      <a:pt x="14996" y="8885"/>
                      <a:pt x="14996" y="9353"/>
                      <a:pt x="14996" y="9353"/>
                    </a:cubicBezTo>
                    <a:cubicBezTo>
                      <a:pt x="14357" y="9493"/>
                      <a:pt x="15105" y="8262"/>
                      <a:pt x="15245" y="8231"/>
                    </a:cubicBezTo>
                    <a:cubicBezTo>
                      <a:pt x="14996" y="8324"/>
                      <a:pt x="15245" y="8231"/>
                      <a:pt x="15027" y="8231"/>
                    </a:cubicBezTo>
                    <a:cubicBezTo>
                      <a:pt x="15136" y="8075"/>
                      <a:pt x="14871" y="8309"/>
                      <a:pt x="14793" y="8231"/>
                    </a:cubicBezTo>
                    <a:cubicBezTo>
                      <a:pt x="14715" y="8153"/>
                      <a:pt x="15432" y="7607"/>
                      <a:pt x="15292" y="7981"/>
                    </a:cubicBezTo>
                    <a:cubicBezTo>
                      <a:pt x="16617" y="7701"/>
                      <a:pt x="17427" y="6422"/>
                      <a:pt x="17724" y="6111"/>
                    </a:cubicBezTo>
                    <a:cubicBezTo>
                      <a:pt x="17272" y="6485"/>
                      <a:pt x="17396" y="6111"/>
                      <a:pt x="17225" y="6111"/>
                    </a:cubicBezTo>
                    <a:cubicBezTo>
                      <a:pt x="17053" y="6111"/>
                      <a:pt x="17459" y="5970"/>
                      <a:pt x="17225" y="5955"/>
                    </a:cubicBezTo>
                    <a:cubicBezTo>
                      <a:pt x="17427" y="5736"/>
                      <a:pt x="17225" y="5955"/>
                      <a:pt x="17225" y="5783"/>
                    </a:cubicBezTo>
                    <a:lnTo>
                      <a:pt x="17318" y="5783"/>
                    </a:lnTo>
                    <a:lnTo>
                      <a:pt x="17178" y="5861"/>
                    </a:lnTo>
                    <a:cubicBezTo>
                      <a:pt x="16944" y="5970"/>
                      <a:pt x="16726" y="6111"/>
                      <a:pt x="16492" y="6235"/>
                    </a:cubicBezTo>
                    <a:lnTo>
                      <a:pt x="16492" y="6235"/>
                    </a:lnTo>
                    <a:lnTo>
                      <a:pt x="16601" y="6235"/>
                    </a:lnTo>
                    <a:lnTo>
                      <a:pt x="16555" y="6235"/>
                    </a:lnTo>
                    <a:lnTo>
                      <a:pt x="16555" y="6235"/>
                    </a:lnTo>
                    <a:cubicBezTo>
                      <a:pt x="16555" y="6313"/>
                      <a:pt x="16321" y="6235"/>
                      <a:pt x="16243" y="6376"/>
                    </a:cubicBezTo>
                    <a:lnTo>
                      <a:pt x="16243" y="6376"/>
                    </a:lnTo>
                    <a:lnTo>
                      <a:pt x="16243" y="6376"/>
                    </a:lnTo>
                    <a:lnTo>
                      <a:pt x="16336" y="6376"/>
                    </a:lnTo>
                    <a:cubicBezTo>
                      <a:pt x="16336" y="6376"/>
                      <a:pt x="16336" y="6376"/>
                      <a:pt x="16336" y="6376"/>
                    </a:cubicBezTo>
                    <a:lnTo>
                      <a:pt x="16336" y="6376"/>
                    </a:lnTo>
                    <a:cubicBezTo>
                      <a:pt x="16336" y="6376"/>
                      <a:pt x="16227" y="6376"/>
                      <a:pt x="16180" y="6376"/>
                    </a:cubicBezTo>
                    <a:lnTo>
                      <a:pt x="16180" y="6376"/>
                    </a:lnTo>
                    <a:lnTo>
                      <a:pt x="16180" y="6376"/>
                    </a:lnTo>
                    <a:cubicBezTo>
                      <a:pt x="15993" y="6516"/>
                      <a:pt x="15791" y="6625"/>
                      <a:pt x="15588" y="6750"/>
                    </a:cubicBezTo>
                    <a:lnTo>
                      <a:pt x="15822" y="6656"/>
                    </a:lnTo>
                    <a:lnTo>
                      <a:pt x="15822" y="6656"/>
                    </a:lnTo>
                    <a:lnTo>
                      <a:pt x="16212" y="6454"/>
                    </a:lnTo>
                    <a:cubicBezTo>
                      <a:pt x="16065" y="6587"/>
                      <a:pt x="15903" y="6702"/>
                      <a:pt x="15728" y="6796"/>
                    </a:cubicBezTo>
                    <a:lnTo>
                      <a:pt x="15728" y="6796"/>
                    </a:lnTo>
                    <a:cubicBezTo>
                      <a:pt x="15496" y="6904"/>
                      <a:pt x="15285" y="7052"/>
                      <a:pt x="15105" y="7233"/>
                    </a:cubicBezTo>
                    <a:cubicBezTo>
                      <a:pt x="15105" y="7233"/>
                      <a:pt x="15198" y="7155"/>
                      <a:pt x="15245" y="7155"/>
                    </a:cubicBezTo>
                    <a:lnTo>
                      <a:pt x="15245" y="7155"/>
                    </a:lnTo>
                    <a:lnTo>
                      <a:pt x="16040" y="6750"/>
                    </a:lnTo>
                    <a:lnTo>
                      <a:pt x="16040" y="6750"/>
                    </a:lnTo>
                    <a:lnTo>
                      <a:pt x="16040" y="6750"/>
                    </a:lnTo>
                    <a:cubicBezTo>
                      <a:pt x="16040" y="6750"/>
                      <a:pt x="16040" y="6656"/>
                      <a:pt x="16165" y="6672"/>
                    </a:cubicBezTo>
                    <a:lnTo>
                      <a:pt x="16165" y="6672"/>
                    </a:lnTo>
                    <a:cubicBezTo>
                      <a:pt x="16165" y="6672"/>
                      <a:pt x="16165" y="6672"/>
                      <a:pt x="16274" y="6672"/>
                    </a:cubicBezTo>
                    <a:lnTo>
                      <a:pt x="16274" y="6672"/>
                    </a:lnTo>
                    <a:lnTo>
                      <a:pt x="16664" y="6454"/>
                    </a:lnTo>
                    <a:cubicBezTo>
                      <a:pt x="16664" y="6454"/>
                      <a:pt x="16664" y="6454"/>
                      <a:pt x="16664" y="6594"/>
                    </a:cubicBezTo>
                    <a:lnTo>
                      <a:pt x="16664" y="6594"/>
                    </a:lnTo>
                    <a:cubicBezTo>
                      <a:pt x="16645" y="6644"/>
                      <a:pt x="16605" y="6684"/>
                      <a:pt x="16555" y="6703"/>
                    </a:cubicBezTo>
                    <a:cubicBezTo>
                      <a:pt x="16555" y="6625"/>
                      <a:pt x="16555" y="6781"/>
                      <a:pt x="16430" y="6796"/>
                    </a:cubicBezTo>
                    <a:cubicBezTo>
                      <a:pt x="16305" y="6812"/>
                      <a:pt x="16305" y="6921"/>
                      <a:pt x="16243" y="6921"/>
                    </a:cubicBezTo>
                    <a:cubicBezTo>
                      <a:pt x="16180" y="6921"/>
                      <a:pt x="16243" y="6921"/>
                      <a:pt x="16243" y="6921"/>
                    </a:cubicBezTo>
                    <a:lnTo>
                      <a:pt x="16243" y="6921"/>
                    </a:lnTo>
                    <a:cubicBezTo>
                      <a:pt x="16243" y="6921"/>
                      <a:pt x="15978" y="7046"/>
                      <a:pt x="16056" y="6921"/>
                    </a:cubicBezTo>
                    <a:lnTo>
                      <a:pt x="16056" y="6921"/>
                    </a:lnTo>
                    <a:cubicBezTo>
                      <a:pt x="16056" y="6921"/>
                      <a:pt x="16056" y="6999"/>
                      <a:pt x="15915" y="7015"/>
                    </a:cubicBezTo>
                    <a:lnTo>
                      <a:pt x="15915" y="7015"/>
                    </a:lnTo>
                    <a:cubicBezTo>
                      <a:pt x="15915" y="7015"/>
                      <a:pt x="15806" y="7015"/>
                      <a:pt x="15915" y="7015"/>
                    </a:cubicBezTo>
                    <a:cubicBezTo>
                      <a:pt x="15629" y="7264"/>
                      <a:pt x="15287" y="7441"/>
                      <a:pt x="14918" y="7529"/>
                    </a:cubicBezTo>
                    <a:cubicBezTo>
                      <a:pt x="14943" y="7513"/>
                      <a:pt x="14969" y="7497"/>
                      <a:pt x="14996" y="7482"/>
                    </a:cubicBezTo>
                    <a:lnTo>
                      <a:pt x="14996" y="7482"/>
                    </a:lnTo>
                    <a:lnTo>
                      <a:pt x="15120" y="7373"/>
                    </a:lnTo>
                    <a:lnTo>
                      <a:pt x="15120" y="7373"/>
                    </a:lnTo>
                    <a:cubicBezTo>
                      <a:pt x="15120" y="7373"/>
                      <a:pt x="14965" y="7451"/>
                      <a:pt x="15120" y="7373"/>
                    </a:cubicBezTo>
                    <a:cubicBezTo>
                      <a:pt x="15026" y="7487"/>
                      <a:pt x="14916" y="7587"/>
                      <a:pt x="14793" y="7669"/>
                    </a:cubicBezTo>
                    <a:lnTo>
                      <a:pt x="14887" y="7529"/>
                    </a:lnTo>
                    <a:cubicBezTo>
                      <a:pt x="14887" y="7529"/>
                      <a:pt x="14887" y="7607"/>
                      <a:pt x="14778" y="7623"/>
                    </a:cubicBezTo>
                    <a:cubicBezTo>
                      <a:pt x="14668" y="7638"/>
                      <a:pt x="14778" y="7623"/>
                      <a:pt x="14778" y="7623"/>
                    </a:cubicBezTo>
                    <a:lnTo>
                      <a:pt x="14778" y="7623"/>
                    </a:lnTo>
                    <a:lnTo>
                      <a:pt x="14918" y="7514"/>
                    </a:lnTo>
                    <a:cubicBezTo>
                      <a:pt x="14918" y="7514"/>
                      <a:pt x="14824" y="7514"/>
                      <a:pt x="14918" y="7514"/>
                    </a:cubicBezTo>
                    <a:lnTo>
                      <a:pt x="14918" y="7514"/>
                    </a:lnTo>
                    <a:lnTo>
                      <a:pt x="14918" y="7514"/>
                    </a:lnTo>
                    <a:cubicBezTo>
                      <a:pt x="14757" y="7658"/>
                      <a:pt x="14572" y="7774"/>
                      <a:pt x="14372" y="7856"/>
                    </a:cubicBezTo>
                    <a:lnTo>
                      <a:pt x="14372" y="7856"/>
                    </a:lnTo>
                    <a:cubicBezTo>
                      <a:pt x="14076" y="8028"/>
                      <a:pt x="14372" y="7732"/>
                      <a:pt x="14372" y="7591"/>
                    </a:cubicBezTo>
                    <a:cubicBezTo>
                      <a:pt x="14107" y="7747"/>
                      <a:pt x="14170" y="8028"/>
                      <a:pt x="13873" y="8106"/>
                    </a:cubicBezTo>
                    <a:lnTo>
                      <a:pt x="13873" y="8106"/>
                    </a:lnTo>
                    <a:lnTo>
                      <a:pt x="13468" y="8293"/>
                    </a:lnTo>
                    <a:cubicBezTo>
                      <a:pt x="13468" y="8293"/>
                      <a:pt x="13468" y="8293"/>
                      <a:pt x="13468" y="8293"/>
                    </a:cubicBezTo>
                    <a:lnTo>
                      <a:pt x="13468" y="8293"/>
                    </a:lnTo>
                    <a:lnTo>
                      <a:pt x="13468" y="8293"/>
                    </a:lnTo>
                    <a:cubicBezTo>
                      <a:pt x="13468" y="8293"/>
                      <a:pt x="13468" y="8293"/>
                      <a:pt x="13577" y="8199"/>
                    </a:cubicBezTo>
                    <a:cubicBezTo>
                      <a:pt x="13686" y="8106"/>
                      <a:pt x="13468" y="8199"/>
                      <a:pt x="13437" y="8277"/>
                    </a:cubicBezTo>
                    <a:cubicBezTo>
                      <a:pt x="13475" y="8255"/>
                      <a:pt x="13508" y="8223"/>
                      <a:pt x="13530" y="8184"/>
                    </a:cubicBezTo>
                    <a:cubicBezTo>
                      <a:pt x="13530" y="8184"/>
                      <a:pt x="13172" y="8480"/>
                      <a:pt x="13328" y="8293"/>
                    </a:cubicBezTo>
                    <a:lnTo>
                      <a:pt x="13188" y="8402"/>
                    </a:lnTo>
                    <a:cubicBezTo>
                      <a:pt x="13251" y="8269"/>
                      <a:pt x="13329" y="8143"/>
                      <a:pt x="13421" y="8028"/>
                    </a:cubicBezTo>
                    <a:lnTo>
                      <a:pt x="13421" y="8028"/>
                    </a:lnTo>
                    <a:lnTo>
                      <a:pt x="13421" y="8028"/>
                    </a:lnTo>
                    <a:lnTo>
                      <a:pt x="13343" y="8121"/>
                    </a:lnTo>
                    <a:cubicBezTo>
                      <a:pt x="13530" y="7981"/>
                      <a:pt x="13250" y="8293"/>
                      <a:pt x="13203" y="8277"/>
                    </a:cubicBezTo>
                    <a:lnTo>
                      <a:pt x="13328" y="8277"/>
                    </a:lnTo>
                    <a:cubicBezTo>
                      <a:pt x="13203" y="8496"/>
                      <a:pt x="12704" y="8761"/>
                      <a:pt x="13078" y="8277"/>
                    </a:cubicBezTo>
                    <a:cubicBezTo>
                      <a:pt x="12954" y="8355"/>
                      <a:pt x="12891" y="8496"/>
                      <a:pt x="12782" y="8574"/>
                    </a:cubicBezTo>
                    <a:lnTo>
                      <a:pt x="12782" y="8574"/>
                    </a:lnTo>
                    <a:lnTo>
                      <a:pt x="12782" y="8574"/>
                    </a:lnTo>
                    <a:lnTo>
                      <a:pt x="12782" y="8574"/>
                    </a:lnTo>
                    <a:lnTo>
                      <a:pt x="12642" y="8698"/>
                    </a:lnTo>
                    <a:cubicBezTo>
                      <a:pt x="12642" y="8698"/>
                      <a:pt x="12642" y="8698"/>
                      <a:pt x="12642" y="8698"/>
                    </a:cubicBezTo>
                    <a:cubicBezTo>
                      <a:pt x="12642" y="8698"/>
                      <a:pt x="12533" y="8698"/>
                      <a:pt x="12502" y="8698"/>
                    </a:cubicBezTo>
                    <a:cubicBezTo>
                      <a:pt x="12470" y="8698"/>
                      <a:pt x="12034" y="8994"/>
                      <a:pt x="11909" y="9026"/>
                    </a:cubicBezTo>
                    <a:lnTo>
                      <a:pt x="11909" y="9026"/>
                    </a:lnTo>
                    <a:cubicBezTo>
                      <a:pt x="11559" y="9339"/>
                      <a:pt x="11189" y="9631"/>
                      <a:pt x="10803" y="9899"/>
                    </a:cubicBezTo>
                    <a:cubicBezTo>
                      <a:pt x="11707" y="9306"/>
                      <a:pt x="10662" y="10351"/>
                      <a:pt x="10460" y="10351"/>
                    </a:cubicBezTo>
                    <a:cubicBezTo>
                      <a:pt x="10865" y="10351"/>
                      <a:pt x="10647" y="10694"/>
                      <a:pt x="10460" y="10974"/>
                    </a:cubicBezTo>
                    <a:lnTo>
                      <a:pt x="10460" y="10974"/>
                    </a:lnTo>
                    <a:cubicBezTo>
                      <a:pt x="10447" y="11120"/>
                      <a:pt x="10410" y="11262"/>
                      <a:pt x="10350" y="11395"/>
                    </a:cubicBezTo>
                    <a:cubicBezTo>
                      <a:pt x="10460" y="11395"/>
                      <a:pt x="10444" y="11520"/>
                      <a:pt x="10553" y="11520"/>
                    </a:cubicBezTo>
                    <a:lnTo>
                      <a:pt x="10553" y="11520"/>
                    </a:lnTo>
                    <a:cubicBezTo>
                      <a:pt x="10113" y="11959"/>
                      <a:pt x="9735" y="12458"/>
                      <a:pt x="9431" y="13001"/>
                    </a:cubicBezTo>
                    <a:cubicBezTo>
                      <a:pt x="9618" y="13001"/>
                      <a:pt x="9571" y="13001"/>
                      <a:pt x="9758" y="12876"/>
                    </a:cubicBezTo>
                    <a:cubicBezTo>
                      <a:pt x="9758" y="12954"/>
                      <a:pt x="9571" y="13110"/>
                      <a:pt x="9665" y="13172"/>
                    </a:cubicBezTo>
                    <a:cubicBezTo>
                      <a:pt x="10043" y="12406"/>
                      <a:pt x="10669" y="11791"/>
                      <a:pt x="11442" y="11426"/>
                    </a:cubicBezTo>
                    <a:cubicBezTo>
                      <a:pt x="11894" y="10912"/>
                      <a:pt x="12237" y="10288"/>
                      <a:pt x="12704" y="10117"/>
                    </a:cubicBezTo>
                    <a:lnTo>
                      <a:pt x="12704" y="10117"/>
                    </a:lnTo>
                    <a:cubicBezTo>
                      <a:pt x="12782" y="10117"/>
                      <a:pt x="12813" y="9961"/>
                      <a:pt x="12891" y="9961"/>
                    </a:cubicBezTo>
                    <a:cubicBezTo>
                      <a:pt x="12969" y="9961"/>
                      <a:pt x="12891" y="9867"/>
                      <a:pt x="13000" y="9852"/>
                    </a:cubicBezTo>
                    <a:cubicBezTo>
                      <a:pt x="13110" y="9836"/>
                      <a:pt x="14060" y="8901"/>
                      <a:pt x="13686" y="9446"/>
                    </a:cubicBezTo>
                    <a:cubicBezTo>
                      <a:pt x="13686" y="9446"/>
                      <a:pt x="13842" y="9446"/>
                      <a:pt x="13795" y="9446"/>
                    </a:cubicBezTo>
                    <a:lnTo>
                      <a:pt x="13795" y="9446"/>
                    </a:lnTo>
                    <a:cubicBezTo>
                      <a:pt x="14076" y="9446"/>
                      <a:pt x="13795" y="9446"/>
                      <a:pt x="13889" y="9587"/>
                    </a:cubicBezTo>
                    <a:cubicBezTo>
                      <a:pt x="13983" y="9727"/>
                      <a:pt x="13795" y="9665"/>
                      <a:pt x="13764" y="9711"/>
                    </a:cubicBezTo>
                    <a:lnTo>
                      <a:pt x="13764" y="9711"/>
                    </a:lnTo>
                    <a:cubicBezTo>
                      <a:pt x="13764" y="9711"/>
                      <a:pt x="13764" y="9805"/>
                      <a:pt x="13764" y="9852"/>
                    </a:cubicBezTo>
                    <a:lnTo>
                      <a:pt x="13764" y="9852"/>
                    </a:lnTo>
                    <a:cubicBezTo>
                      <a:pt x="13764" y="9852"/>
                      <a:pt x="13764" y="9930"/>
                      <a:pt x="13764" y="9930"/>
                    </a:cubicBezTo>
                    <a:lnTo>
                      <a:pt x="13764" y="9930"/>
                    </a:lnTo>
                    <a:cubicBezTo>
                      <a:pt x="13764" y="9930"/>
                      <a:pt x="13764" y="10008"/>
                      <a:pt x="13655" y="10054"/>
                    </a:cubicBezTo>
                    <a:lnTo>
                      <a:pt x="13655" y="10054"/>
                    </a:lnTo>
                    <a:lnTo>
                      <a:pt x="13655" y="10054"/>
                    </a:lnTo>
                    <a:lnTo>
                      <a:pt x="13655" y="10054"/>
                    </a:lnTo>
                    <a:lnTo>
                      <a:pt x="13655" y="10054"/>
                    </a:lnTo>
                    <a:lnTo>
                      <a:pt x="13655" y="10054"/>
                    </a:lnTo>
                    <a:cubicBezTo>
                      <a:pt x="13795" y="10054"/>
                      <a:pt x="13655" y="10132"/>
                      <a:pt x="13655" y="10179"/>
                    </a:cubicBezTo>
                    <a:cubicBezTo>
                      <a:pt x="13655" y="10226"/>
                      <a:pt x="13749" y="10086"/>
                      <a:pt x="13795" y="10101"/>
                    </a:cubicBezTo>
                    <a:cubicBezTo>
                      <a:pt x="13842" y="10117"/>
                      <a:pt x="13530" y="10288"/>
                      <a:pt x="13421" y="10444"/>
                    </a:cubicBezTo>
                    <a:lnTo>
                      <a:pt x="13421" y="10444"/>
                    </a:lnTo>
                    <a:cubicBezTo>
                      <a:pt x="13421" y="10444"/>
                      <a:pt x="13297" y="10553"/>
                      <a:pt x="13234" y="10444"/>
                    </a:cubicBezTo>
                    <a:cubicBezTo>
                      <a:pt x="13406" y="10600"/>
                      <a:pt x="12985" y="10927"/>
                      <a:pt x="13000" y="10881"/>
                    </a:cubicBezTo>
                    <a:cubicBezTo>
                      <a:pt x="13016" y="10834"/>
                      <a:pt x="13000" y="11021"/>
                      <a:pt x="13000" y="10881"/>
                    </a:cubicBezTo>
                    <a:cubicBezTo>
                      <a:pt x="13000" y="10740"/>
                      <a:pt x="12813" y="11130"/>
                      <a:pt x="12720" y="11224"/>
                    </a:cubicBezTo>
                    <a:cubicBezTo>
                      <a:pt x="12969" y="11052"/>
                      <a:pt x="13032" y="11021"/>
                      <a:pt x="12720" y="11224"/>
                    </a:cubicBezTo>
                    <a:cubicBezTo>
                      <a:pt x="12720" y="11224"/>
                      <a:pt x="12985" y="11005"/>
                      <a:pt x="12985" y="11099"/>
                    </a:cubicBezTo>
                    <a:cubicBezTo>
                      <a:pt x="12985" y="11192"/>
                      <a:pt x="13125" y="10990"/>
                      <a:pt x="13203" y="10959"/>
                    </a:cubicBezTo>
                    <a:cubicBezTo>
                      <a:pt x="13217" y="11010"/>
                      <a:pt x="13217" y="11063"/>
                      <a:pt x="13203" y="11114"/>
                    </a:cubicBezTo>
                    <a:cubicBezTo>
                      <a:pt x="13203" y="11037"/>
                      <a:pt x="13577" y="10709"/>
                      <a:pt x="13608" y="10818"/>
                    </a:cubicBezTo>
                    <a:cubicBezTo>
                      <a:pt x="13640" y="10927"/>
                      <a:pt x="13608" y="10818"/>
                      <a:pt x="13608" y="10818"/>
                    </a:cubicBezTo>
                    <a:cubicBezTo>
                      <a:pt x="13608" y="10818"/>
                      <a:pt x="13608" y="10725"/>
                      <a:pt x="13733" y="10725"/>
                    </a:cubicBezTo>
                    <a:lnTo>
                      <a:pt x="13733" y="10725"/>
                    </a:lnTo>
                    <a:cubicBezTo>
                      <a:pt x="13733" y="10647"/>
                      <a:pt x="14138" y="10397"/>
                      <a:pt x="14014" y="10507"/>
                    </a:cubicBezTo>
                    <a:lnTo>
                      <a:pt x="14014" y="10507"/>
                    </a:lnTo>
                    <a:cubicBezTo>
                      <a:pt x="14014" y="10507"/>
                      <a:pt x="14014" y="10616"/>
                      <a:pt x="13905" y="10616"/>
                    </a:cubicBezTo>
                    <a:cubicBezTo>
                      <a:pt x="13795" y="10616"/>
                      <a:pt x="13905" y="10616"/>
                      <a:pt x="13905" y="10694"/>
                    </a:cubicBezTo>
                    <a:lnTo>
                      <a:pt x="13905" y="10694"/>
                    </a:lnTo>
                    <a:cubicBezTo>
                      <a:pt x="13811" y="10694"/>
                      <a:pt x="13905" y="10849"/>
                      <a:pt x="13749" y="10896"/>
                    </a:cubicBezTo>
                    <a:cubicBezTo>
                      <a:pt x="13593" y="10943"/>
                      <a:pt x="13749" y="11005"/>
                      <a:pt x="13749" y="10896"/>
                    </a:cubicBezTo>
                    <a:cubicBezTo>
                      <a:pt x="13749" y="10787"/>
                      <a:pt x="13421" y="11037"/>
                      <a:pt x="13749" y="11021"/>
                    </a:cubicBezTo>
                    <a:cubicBezTo>
                      <a:pt x="14076" y="11005"/>
                      <a:pt x="13577" y="11161"/>
                      <a:pt x="13749" y="11114"/>
                    </a:cubicBezTo>
                    <a:cubicBezTo>
                      <a:pt x="13920" y="11068"/>
                      <a:pt x="13608" y="11270"/>
                      <a:pt x="13593" y="11114"/>
                    </a:cubicBezTo>
                    <a:cubicBezTo>
                      <a:pt x="13577" y="10959"/>
                      <a:pt x="13593" y="11192"/>
                      <a:pt x="13593" y="11208"/>
                    </a:cubicBezTo>
                    <a:cubicBezTo>
                      <a:pt x="13593" y="11224"/>
                      <a:pt x="13702" y="11208"/>
                      <a:pt x="13749" y="11208"/>
                    </a:cubicBezTo>
                    <a:cubicBezTo>
                      <a:pt x="13795" y="11208"/>
                      <a:pt x="13577" y="11208"/>
                      <a:pt x="13515" y="11348"/>
                    </a:cubicBezTo>
                    <a:cubicBezTo>
                      <a:pt x="13733" y="11348"/>
                      <a:pt x="13655" y="11348"/>
                      <a:pt x="13515" y="11442"/>
                    </a:cubicBezTo>
                    <a:cubicBezTo>
                      <a:pt x="13375" y="11535"/>
                      <a:pt x="13515" y="11442"/>
                      <a:pt x="13608" y="11442"/>
                    </a:cubicBezTo>
                    <a:cubicBezTo>
                      <a:pt x="13623" y="11509"/>
                      <a:pt x="13580" y="11575"/>
                      <a:pt x="13512" y="11590"/>
                    </a:cubicBezTo>
                    <a:cubicBezTo>
                      <a:pt x="13487" y="11595"/>
                      <a:pt x="13461" y="11592"/>
                      <a:pt x="13437" y="11582"/>
                    </a:cubicBezTo>
                    <a:cubicBezTo>
                      <a:pt x="13437" y="11582"/>
                      <a:pt x="13577" y="11660"/>
                      <a:pt x="13437" y="11722"/>
                    </a:cubicBezTo>
                    <a:cubicBezTo>
                      <a:pt x="13608" y="11816"/>
                      <a:pt x="13250" y="11941"/>
                      <a:pt x="13219" y="11878"/>
                    </a:cubicBezTo>
                    <a:cubicBezTo>
                      <a:pt x="13188" y="11816"/>
                      <a:pt x="13219" y="12128"/>
                      <a:pt x="13078" y="12081"/>
                    </a:cubicBezTo>
                    <a:cubicBezTo>
                      <a:pt x="12938" y="12034"/>
                      <a:pt x="13312" y="12081"/>
                      <a:pt x="13188" y="12174"/>
                    </a:cubicBezTo>
                    <a:cubicBezTo>
                      <a:pt x="13063" y="12268"/>
                      <a:pt x="13188" y="12174"/>
                      <a:pt x="13188" y="12252"/>
                    </a:cubicBezTo>
                    <a:cubicBezTo>
                      <a:pt x="13188" y="12330"/>
                      <a:pt x="13188" y="12252"/>
                      <a:pt x="13188" y="12362"/>
                    </a:cubicBezTo>
                    <a:lnTo>
                      <a:pt x="13281" y="12362"/>
                    </a:lnTo>
                    <a:cubicBezTo>
                      <a:pt x="13281" y="12439"/>
                      <a:pt x="13094" y="12595"/>
                      <a:pt x="13000" y="12564"/>
                    </a:cubicBezTo>
                    <a:cubicBezTo>
                      <a:pt x="12907" y="12533"/>
                      <a:pt x="13141" y="12564"/>
                      <a:pt x="13203" y="12564"/>
                    </a:cubicBezTo>
                    <a:cubicBezTo>
                      <a:pt x="13000" y="12751"/>
                      <a:pt x="13203" y="12564"/>
                      <a:pt x="13203" y="12564"/>
                    </a:cubicBezTo>
                    <a:cubicBezTo>
                      <a:pt x="13203" y="12564"/>
                      <a:pt x="13203" y="12564"/>
                      <a:pt x="13063" y="12704"/>
                    </a:cubicBezTo>
                    <a:cubicBezTo>
                      <a:pt x="13063" y="12704"/>
                      <a:pt x="13328" y="12533"/>
                      <a:pt x="13203" y="12704"/>
                    </a:cubicBezTo>
                    <a:lnTo>
                      <a:pt x="13203" y="12704"/>
                    </a:lnTo>
                    <a:cubicBezTo>
                      <a:pt x="13203" y="12704"/>
                      <a:pt x="13125" y="12798"/>
                      <a:pt x="13110" y="12845"/>
                    </a:cubicBezTo>
                    <a:cubicBezTo>
                      <a:pt x="13094" y="12892"/>
                      <a:pt x="13390" y="12845"/>
                      <a:pt x="13203" y="12845"/>
                    </a:cubicBezTo>
                    <a:cubicBezTo>
                      <a:pt x="13437" y="13016"/>
                      <a:pt x="12891" y="12923"/>
                      <a:pt x="12813" y="13032"/>
                    </a:cubicBezTo>
                    <a:cubicBezTo>
                      <a:pt x="13219" y="13032"/>
                      <a:pt x="12689" y="13032"/>
                      <a:pt x="12611" y="13157"/>
                    </a:cubicBezTo>
                    <a:cubicBezTo>
                      <a:pt x="12587" y="13102"/>
                      <a:pt x="12587" y="13040"/>
                      <a:pt x="12611" y="12985"/>
                    </a:cubicBezTo>
                    <a:cubicBezTo>
                      <a:pt x="12611" y="13110"/>
                      <a:pt x="12611" y="13188"/>
                      <a:pt x="12517" y="13281"/>
                    </a:cubicBezTo>
                    <a:cubicBezTo>
                      <a:pt x="12689" y="13281"/>
                      <a:pt x="12876" y="13016"/>
                      <a:pt x="13094" y="13079"/>
                    </a:cubicBezTo>
                    <a:cubicBezTo>
                      <a:pt x="12985" y="12938"/>
                      <a:pt x="13437" y="13079"/>
                      <a:pt x="13094" y="13266"/>
                    </a:cubicBezTo>
                    <a:cubicBezTo>
                      <a:pt x="13094" y="13266"/>
                      <a:pt x="13094" y="13266"/>
                      <a:pt x="13094" y="13266"/>
                    </a:cubicBezTo>
                    <a:cubicBezTo>
                      <a:pt x="13094" y="13266"/>
                      <a:pt x="13343" y="13125"/>
                      <a:pt x="13219" y="13266"/>
                    </a:cubicBezTo>
                    <a:cubicBezTo>
                      <a:pt x="13094" y="13406"/>
                      <a:pt x="13312" y="13266"/>
                      <a:pt x="13297" y="13266"/>
                    </a:cubicBezTo>
                    <a:cubicBezTo>
                      <a:pt x="13281" y="13266"/>
                      <a:pt x="13297" y="13422"/>
                      <a:pt x="13156" y="13406"/>
                    </a:cubicBezTo>
                    <a:cubicBezTo>
                      <a:pt x="13250" y="13406"/>
                      <a:pt x="13032" y="13609"/>
                      <a:pt x="13032" y="13499"/>
                    </a:cubicBezTo>
                    <a:cubicBezTo>
                      <a:pt x="13032" y="13390"/>
                      <a:pt x="13203" y="13655"/>
                      <a:pt x="13032" y="13624"/>
                    </a:cubicBezTo>
                    <a:cubicBezTo>
                      <a:pt x="13234" y="13718"/>
                      <a:pt x="12595" y="13983"/>
                      <a:pt x="12564" y="13874"/>
                    </a:cubicBezTo>
                    <a:cubicBezTo>
                      <a:pt x="12533" y="13764"/>
                      <a:pt x="12455" y="13874"/>
                      <a:pt x="12564" y="13874"/>
                    </a:cubicBezTo>
                    <a:cubicBezTo>
                      <a:pt x="12143" y="14232"/>
                      <a:pt x="11800" y="14279"/>
                      <a:pt x="11426" y="13983"/>
                    </a:cubicBezTo>
                    <a:cubicBezTo>
                      <a:pt x="11426" y="13983"/>
                      <a:pt x="11083" y="13983"/>
                      <a:pt x="11114" y="13842"/>
                    </a:cubicBezTo>
                    <a:cubicBezTo>
                      <a:pt x="10553" y="14185"/>
                      <a:pt x="10039" y="14544"/>
                      <a:pt x="9462" y="14856"/>
                    </a:cubicBezTo>
                    <a:cubicBezTo>
                      <a:pt x="9846" y="14695"/>
                      <a:pt x="10278" y="14695"/>
                      <a:pt x="10662" y="14856"/>
                    </a:cubicBezTo>
                    <a:cubicBezTo>
                      <a:pt x="10622" y="14910"/>
                      <a:pt x="10568" y="14953"/>
                      <a:pt x="10506" y="14980"/>
                    </a:cubicBezTo>
                    <a:cubicBezTo>
                      <a:pt x="10662" y="14980"/>
                      <a:pt x="10304" y="15323"/>
                      <a:pt x="10506" y="15370"/>
                    </a:cubicBezTo>
                    <a:cubicBezTo>
                      <a:pt x="10350" y="15448"/>
                      <a:pt x="10647" y="15666"/>
                      <a:pt x="10740" y="15542"/>
                    </a:cubicBezTo>
                    <a:cubicBezTo>
                      <a:pt x="10740" y="15542"/>
                      <a:pt x="10865" y="15666"/>
                      <a:pt x="10740" y="15651"/>
                    </a:cubicBezTo>
                    <a:cubicBezTo>
                      <a:pt x="10958" y="15651"/>
                      <a:pt x="10148" y="15900"/>
                      <a:pt x="10210" y="15760"/>
                    </a:cubicBezTo>
                    <a:cubicBezTo>
                      <a:pt x="10075" y="15886"/>
                      <a:pt x="9929" y="16001"/>
                      <a:pt x="9774" y="16103"/>
                    </a:cubicBezTo>
                    <a:lnTo>
                      <a:pt x="9774" y="16103"/>
                    </a:lnTo>
                    <a:cubicBezTo>
                      <a:pt x="9680" y="16103"/>
                      <a:pt x="9774" y="15962"/>
                      <a:pt x="9774" y="16009"/>
                    </a:cubicBezTo>
                    <a:cubicBezTo>
                      <a:pt x="9774" y="15807"/>
                      <a:pt x="10319" y="15417"/>
                      <a:pt x="10319" y="15682"/>
                    </a:cubicBezTo>
                    <a:cubicBezTo>
                      <a:pt x="10319" y="15588"/>
                      <a:pt x="10428" y="15682"/>
                      <a:pt x="10475" y="15604"/>
                    </a:cubicBezTo>
                    <a:cubicBezTo>
                      <a:pt x="10195" y="15495"/>
                      <a:pt x="10195" y="15604"/>
                      <a:pt x="10475" y="15401"/>
                    </a:cubicBezTo>
                    <a:lnTo>
                      <a:pt x="10475" y="15401"/>
                    </a:lnTo>
                    <a:lnTo>
                      <a:pt x="10475" y="15401"/>
                    </a:lnTo>
                    <a:cubicBezTo>
                      <a:pt x="10475" y="15495"/>
                      <a:pt x="10023" y="15651"/>
                      <a:pt x="10195" y="15401"/>
                    </a:cubicBezTo>
                    <a:cubicBezTo>
                      <a:pt x="10070" y="15542"/>
                      <a:pt x="10023" y="15495"/>
                      <a:pt x="9914" y="15401"/>
                    </a:cubicBezTo>
                    <a:cubicBezTo>
                      <a:pt x="9805" y="15308"/>
                      <a:pt x="9914" y="15510"/>
                      <a:pt x="9914" y="15573"/>
                    </a:cubicBezTo>
                    <a:cubicBezTo>
                      <a:pt x="9914" y="15635"/>
                      <a:pt x="9914" y="15729"/>
                      <a:pt x="9914" y="15573"/>
                    </a:cubicBezTo>
                    <a:cubicBezTo>
                      <a:pt x="9914" y="15417"/>
                      <a:pt x="9618" y="15713"/>
                      <a:pt x="9680" y="15573"/>
                    </a:cubicBezTo>
                    <a:cubicBezTo>
                      <a:pt x="9743" y="15432"/>
                      <a:pt x="9509" y="15651"/>
                      <a:pt x="9680" y="15573"/>
                    </a:cubicBezTo>
                    <a:cubicBezTo>
                      <a:pt x="9852" y="15495"/>
                      <a:pt x="9571" y="15697"/>
                      <a:pt x="9509" y="15729"/>
                    </a:cubicBezTo>
                    <a:lnTo>
                      <a:pt x="9509" y="15729"/>
                    </a:lnTo>
                    <a:cubicBezTo>
                      <a:pt x="9509" y="15729"/>
                      <a:pt x="9509" y="15807"/>
                      <a:pt x="9509" y="15729"/>
                    </a:cubicBezTo>
                    <a:cubicBezTo>
                      <a:pt x="9509" y="15651"/>
                      <a:pt x="9400" y="15853"/>
                      <a:pt x="9509" y="15729"/>
                    </a:cubicBezTo>
                    <a:cubicBezTo>
                      <a:pt x="9306" y="15729"/>
                      <a:pt x="8823" y="16648"/>
                      <a:pt x="9150" y="16337"/>
                    </a:cubicBezTo>
                    <a:cubicBezTo>
                      <a:pt x="9150" y="16461"/>
                      <a:pt x="8932" y="16633"/>
                      <a:pt x="8994" y="16414"/>
                    </a:cubicBezTo>
                    <a:cubicBezTo>
                      <a:pt x="8870" y="16570"/>
                      <a:pt x="8885" y="16555"/>
                      <a:pt x="8901" y="16414"/>
                    </a:cubicBezTo>
                    <a:cubicBezTo>
                      <a:pt x="8495" y="16565"/>
                      <a:pt x="8153" y="16851"/>
                      <a:pt x="7934" y="17225"/>
                    </a:cubicBezTo>
                    <a:lnTo>
                      <a:pt x="7934" y="17225"/>
                    </a:lnTo>
                    <a:lnTo>
                      <a:pt x="7934" y="17225"/>
                    </a:lnTo>
                    <a:cubicBezTo>
                      <a:pt x="7934" y="17225"/>
                      <a:pt x="7934" y="17085"/>
                      <a:pt x="7934" y="17007"/>
                    </a:cubicBezTo>
                    <a:cubicBezTo>
                      <a:pt x="7810" y="17225"/>
                      <a:pt x="7794" y="17506"/>
                      <a:pt x="7591" y="17693"/>
                    </a:cubicBezTo>
                    <a:lnTo>
                      <a:pt x="7591" y="17693"/>
                    </a:lnTo>
                    <a:lnTo>
                      <a:pt x="7498" y="17833"/>
                    </a:lnTo>
                    <a:cubicBezTo>
                      <a:pt x="7531" y="17730"/>
                      <a:pt x="7584" y="17635"/>
                      <a:pt x="7654" y="17552"/>
                    </a:cubicBezTo>
                    <a:cubicBezTo>
                      <a:pt x="7654" y="17552"/>
                      <a:pt x="7654" y="17474"/>
                      <a:pt x="7654" y="17443"/>
                    </a:cubicBezTo>
                    <a:lnTo>
                      <a:pt x="7654" y="17443"/>
                    </a:lnTo>
                    <a:cubicBezTo>
                      <a:pt x="7654" y="17256"/>
                      <a:pt x="7810" y="17116"/>
                      <a:pt x="7872" y="16944"/>
                    </a:cubicBezTo>
                    <a:cubicBezTo>
                      <a:pt x="7755" y="17096"/>
                      <a:pt x="7660" y="17264"/>
                      <a:pt x="7591" y="17443"/>
                    </a:cubicBezTo>
                    <a:cubicBezTo>
                      <a:pt x="7591" y="17350"/>
                      <a:pt x="7591" y="17272"/>
                      <a:pt x="7591" y="17178"/>
                    </a:cubicBezTo>
                    <a:cubicBezTo>
                      <a:pt x="7591" y="17085"/>
                      <a:pt x="7591" y="17771"/>
                      <a:pt x="7591" y="17537"/>
                    </a:cubicBezTo>
                    <a:cubicBezTo>
                      <a:pt x="7591" y="17537"/>
                      <a:pt x="7591" y="17786"/>
                      <a:pt x="7591" y="17724"/>
                    </a:cubicBezTo>
                    <a:cubicBezTo>
                      <a:pt x="7591" y="17662"/>
                      <a:pt x="7591" y="17802"/>
                      <a:pt x="7591" y="17833"/>
                    </a:cubicBezTo>
                    <a:cubicBezTo>
                      <a:pt x="7600" y="17792"/>
                      <a:pt x="7600" y="17749"/>
                      <a:pt x="7591" y="17708"/>
                    </a:cubicBezTo>
                    <a:cubicBezTo>
                      <a:pt x="7591" y="17833"/>
                      <a:pt x="7716" y="17895"/>
                      <a:pt x="7591" y="18020"/>
                    </a:cubicBezTo>
                    <a:lnTo>
                      <a:pt x="7591" y="18020"/>
                    </a:lnTo>
                    <a:cubicBezTo>
                      <a:pt x="7591" y="18145"/>
                      <a:pt x="7420" y="18285"/>
                      <a:pt x="7451" y="18129"/>
                    </a:cubicBezTo>
                    <a:cubicBezTo>
                      <a:pt x="7482" y="17973"/>
                      <a:pt x="7451" y="18223"/>
                      <a:pt x="7451" y="18238"/>
                    </a:cubicBezTo>
                    <a:cubicBezTo>
                      <a:pt x="7451" y="18254"/>
                      <a:pt x="7529" y="18238"/>
                      <a:pt x="7545" y="18363"/>
                    </a:cubicBezTo>
                    <a:cubicBezTo>
                      <a:pt x="7536" y="18332"/>
                      <a:pt x="7536" y="18300"/>
                      <a:pt x="7545" y="18269"/>
                    </a:cubicBezTo>
                    <a:cubicBezTo>
                      <a:pt x="7545" y="18363"/>
                      <a:pt x="7545" y="18410"/>
                      <a:pt x="7420" y="18472"/>
                    </a:cubicBezTo>
                    <a:cubicBezTo>
                      <a:pt x="7295" y="18534"/>
                      <a:pt x="7420" y="18472"/>
                      <a:pt x="7420" y="18379"/>
                    </a:cubicBezTo>
                    <a:cubicBezTo>
                      <a:pt x="7420" y="18285"/>
                      <a:pt x="7420" y="18379"/>
                      <a:pt x="7420" y="18379"/>
                    </a:cubicBezTo>
                    <a:cubicBezTo>
                      <a:pt x="7420" y="18379"/>
                      <a:pt x="7420" y="18581"/>
                      <a:pt x="7420" y="18503"/>
                    </a:cubicBezTo>
                    <a:lnTo>
                      <a:pt x="7420" y="18503"/>
                    </a:lnTo>
                    <a:lnTo>
                      <a:pt x="7420" y="18503"/>
                    </a:lnTo>
                    <a:lnTo>
                      <a:pt x="7420" y="18503"/>
                    </a:lnTo>
                    <a:cubicBezTo>
                      <a:pt x="6344" y="18503"/>
                      <a:pt x="5861" y="22681"/>
                      <a:pt x="5970" y="20857"/>
                    </a:cubicBezTo>
                    <a:cubicBezTo>
                      <a:pt x="5970" y="20857"/>
                      <a:pt x="5970" y="20857"/>
                      <a:pt x="5970" y="20857"/>
                    </a:cubicBezTo>
                    <a:cubicBezTo>
                      <a:pt x="5970" y="20857"/>
                      <a:pt x="5970" y="20857"/>
                      <a:pt x="5970" y="20857"/>
                    </a:cubicBezTo>
                    <a:lnTo>
                      <a:pt x="5970" y="20857"/>
                    </a:lnTo>
                    <a:cubicBezTo>
                      <a:pt x="5970" y="20764"/>
                      <a:pt x="5970" y="20608"/>
                      <a:pt x="5970" y="20514"/>
                    </a:cubicBezTo>
                    <a:cubicBezTo>
                      <a:pt x="5970" y="20421"/>
                      <a:pt x="5970" y="20514"/>
                      <a:pt x="5970" y="20608"/>
                    </a:cubicBezTo>
                    <a:cubicBezTo>
                      <a:pt x="5970" y="20701"/>
                      <a:pt x="6220" y="19766"/>
                      <a:pt x="5970" y="19735"/>
                    </a:cubicBezTo>
                    <a:cubicBezTo>
                      <a:pt x="5721" y="19704"/>
                      <a:pt x="5877" y="19828"/>
                      <a:pt x="5970" y="19735"/>
                    </a:cubicBezTo>
                    <a:lnTo>
                      <a:pt x="5970" y="19735"/>
                    </a:lnTo>
                    <a:lnTo>
                      <a:pt x="5970" y="19735"/>
                    </a:lnTo>
                    <a:cubicBezTo>
                      <a:pt x="5970" y="19735"/>
                      <a:pt x="5970" y="19579"/>
                      <a:pt x="5970" y="19641"/>
                    </a:cubicBezTo>
                    <a:cubicBezTo>
                      <a:pt x="5978" y="19605"/>
                      <a:pt x="5978" y="19568"/>
                      <a:pt x="5970" y="19532"/>
                    </a:cubicBezTo>
                    <a:lnTo>
                      <a:pt x="5970" y="19532"/>
                    </a:lnTo>
                    <a:cubicBezTo>
                      <a:pt x="5970" y="19532"/>
                      <a:pt x="5970" y="19454"/>
                      <a:pt x="5970" y="19407"/>
                    </a:cubicBezTo>
                    <a:lnTo>
                      <a:pt x="5970" y="19407"/>
                    </a:lnTo>
                    <a:cubicBezTo>
                      <a:pt x="5970" y="19407"/>
                      <a:pt x="5970" y="19407"/>
                      <a:pt x="5970" y="19407"/>
                    </a:cubicBezTo>
                    <a:cubicBezTo>
                      <a:pt x="5970" y="19407"/>
                      <a:pt x="5970" y="19407"/>
                      <a:pt x="5970" y="19407"/>
                    </a:cubicBezTo>
                    <a:cubicBezTo>
                      <a:pt x="5970" y="19407"/>
                      <a:pt x="5970" y="19314"/>
                      <a:pt x="5970" y="19267"/>
                    </a:cubicBezTo>
                    <a:lnTo>
                      <a:pt x="5970" y="19361"/>
                    </a:lnTo>
                    <a:cubicBezTo>
                      <a:pt x="5970" y="19267"/>
                      <a:pt x="5799" y="19361"/>
                      <a:pt x="5783" y="19470"/>
                    </a:cubicBezTo>
                    <a:lnTo>
                      <a:pt x="5783" y="19470"/>
                    </a:lnTo>
                    <a:cubicBezTo>
                      <a:pt x="5783" y="19641"/>
                      <a:pt x="5783" y="19750"/>
                      <a:pt x="5783" y="19828"/>
                    </a:cubicBezTo>
                    <a:cubicBezTo>
                      <a:pt x="5783" y="19906"/>
                      <a:pt x="5783" y="19485"/>
                      <a:pt x="5783" y="19750"/>
                    </a:cubicBezTo>
                    <a:lnTo>
                      <a:pt x="5783" y="19657"/>
                    </a:lnTo>
                    <a:cubicBezTo>
                      <a:pt x="5783" y="19548"/>
                      <a:pt x="5783" y="19485"/>
                      <a:pt x="5783" y="19376"/>
                    </a:cubicBezTo>
                    <a:cubicBezTo>
                      <a:pt x="5783" y="19267"/>
                      <a:pt x="5783" y="19376"/>
                      <a:pt x="5783" y="19376"/>
                    </a:cubicBezTo>
                    <a:cubicBezTo>
                      <a:pt x="5783" y="19594"/>
                      <a:pt x="5783" y="19127"/>
                      <a:pt x="5612" y="19376"/>
                    </a:cubicBezTo>
                    <a:cubicBezTo>
                      <a:pt x="5612" y="19376"/>
                      <a:pt x="5612" y="19236"/>
                      <a:pt x="5612" y="19174"/>
                    </a:cubicBezTo>
                    <a:cubicBezTo>
                      <a:pt x="5612" y="19111"/>
                      <a:pt x="5612" y="19283"/>
                      <a:pt x="5612" y="19174"/>
                    </a:cubicBezTo>
                    <a:cubicBezTo>
                      <a:pt x="5621" y="19251"/>
                      <a:pt x="5621" y="19330"/>
                      <a:pt x="5612" y="19407"/>
                    </a:cubicBezTo>
                    <a:lnTo>
                      <a:pt x="5612" y="19407"/>
                    </a:lnTo>
                    <a:lnTo>
                      <a:pt x="5612" y="19517"/>
                    </a:lnTo>
                    <a:lnTo>
                      <a:pt x="5612" y="19517"/>
                    </a:lnTo>
                    <a:cubicBezTo>
                      <a:pt x="5612" y="19594"/>
                      <a:pt x="5612" y="19517"/>
                      <a:pt x="5612" y="19517"/>
                    </a:cubicBezTo>
                    <a:lnTo>
                      <a:pt x="5612" y="19517"/>
                    </a:lnTo>
                    <a:cubicBezTo>
                      <a:pt x="5612" y="19517"/>
                      <a:pt x="5612" y="19517"/>
                      <a:pt x="5612" y="19517"/>
                    </a:cubicBezTo>
                    <a:lnTo>
                      <a:pt x="5612" y="19517"/>
                    </a:lnTo>
                    <a:cubicBezTo>
                      <a:pt x="5612" y="19517"/>
                      <a:pt x="5612" y="19610"/>
                      <a:pt x="5612" y="19610"/>
                    </a:cubicBezTo>
                    <a:lnTo>
                      <a:pt x="5612" y="19610"/>
                    </a:lnTo>
                    <a:cubicBezTo>
                      <a:pt x="5523" y="19891"/>
                      <a:pt x="5450" y="20178"/>
                      <a:pt x="5393" y="20467"/>
                    </a:cubicBezTo>
                    <a:cubicBezTo>
                      <a:pt x="5393" y="20467"/>
                      <a:pt x="5393" y="20358"/>
                      <a:pt x="5393" y="20327"/>
                    </a:cubicBezTo>
                    <a:cubicBezTo>
                      <a:pt x="5393" y="20296"/>
                      <a:pt x="5300" y="20748"/>
                      <a:pt x="5393" y="20530"/>
                    </a:cubicBezTo>
                    <a:cubicBezTo>
                      <a:pt x="5298" y="20978"/>
                      <a:pt x="5225" y="21430"/>
                      <a:pt x="5175" y="21886"/>
                    </a:cubicBezTo>
                    <a:cubicBezTo>
                      <a:pt x="5144" y="22306"/>
                      <a:pt x="5144" y="22728"/>
                      <a:pt x="5175" y="23149"/>
                    </a:cubicBezTo>
                    <a:cubicBezTo>
                      <a:pt x="5175" y="23149"/>
                      <a:pt x="5175" y="23149"/>
                      <a:pt x="5175" y="23149"/>
                    </a:cubicBezTo>
                    <a:cubicBezTo>
                      <a:pt x="5181" y="23123"/>
                      <a:pt x="5181" y="23096"/>
                      <a:pt x="5175" y="23071"/>
                    </a:cubicBezTo>
                    <a:lnTo>
                      <a:pt x="5175" y="23071"/>
                    </a:lnTo>
                    <a:cubicBezTo>
                      <a:pt x="5175" y="23071"/>
                      <a:pt x="5175" y="23071"/>
                      <a:pt x="5175" y="23071"/>
                    </a:cubicBezTo>
                    <a:lnTo>
                      <a:pt x="5175" y="23071"/>
                    </a:lnTo>
                    <a:cubicBezTo>
                      <a:pt x="5175" y="23071"/>
                      <a:pt x="5175" y="23195"/>
                      <a:pt x="5175" y="23258"/>
                    </a:cubicBezTo>
                    <a:lnTo>
                      <a:pt x="5175" y="23258"/>
                    </a:lnTo>
                    <a:lnTo>
                      <a:pt x="5175" y="23258"/>
                    </a:lnTo>
                    <a:cubicBezTo>
                      <a:pt x="5183" y="23190"/>
                      <a:pt x="5183" y="23122"/>
                      <a:pt x="5175" y="23055"/>
                    </a:cubicBezTo>
                    <a:lnTo>
                      <a:pt x="5175" y="23055"/>
                    </a:lnTo>
                    <a:cubicBezTo>
                      <a:pt x="5316" y="22915"/>
                      <a:pt x="5175" y="22244"/>
                      <a:pt x="5440" y="22385"/>
                    </a:cubicBezTo>
                    <a:cubicBezTo>
                      <a:pt x="5440" y="22385"/>
                      <a:pt x="5440" y="22291"/>
                      <a:pt x="5440" y="22385"/>
                    </a:cubicBezTo>
                    <a:cubicBezTo>
                      <a:pt x="5440" y="22478"/>
                      <a:pt x="5440" y="22385"/>
                      <a:pt x="5440" y="22385"/>
                    </a:cubicBezTo>
                    <a:cubicBezTo>
                      <a:pt x="5440" y="22385"/>
                      <a:pt x="5440" y="22525"/>
                      <a:pt x="5440" y="22385"/>
                    </a:cubicBezTo>
                    <a:cubicBezTo>
                      <a:pt x="5534" y="22650"/>
                      <a:pt x="5269" y="22946"/>
                      <a:pt x="5316" y="23227"/>
                    </a:cubicBezTo>
                    <a:cubicBezTo>
                      <a:pt x="5316" y="23227"/>
                      <a:pt x="5316" y="23476"/>
                      <a:pt x="5316" y="23523"/>
                    </a:cubicBezTo>
                    <a:cubicBezTo>
                      <a:pt x="5277" y="23863"/>
                      <a:pt x="4970" y="24107"/>
                      <a:pt x="4630" y="24068"/>
                    </a:cubicBezTo>
                    <a:cubicBezTo>
                      <a:pt x="4290" y="24029"/>
                      <a:pt x="4045" y="23723"/>
                      <a:pt x="4084" y="23382"/>
                    </a:cubicBezTo>
                    <a:cubicBezTo>
                      <a:pt x="4084" y="23554"/>
                      <a:pt x="4084" y="23912"/>
                      <a:pt x="3991" y="24193"/>
                    </a:cubicBezTo>
                    <a:lnTo>
                      <a:pt x="3991" y="24193"/>
                    </a:lnTo>
                    <a:cubicBezTo>
                      <a:pt x="3975" y="24254"/>
                      <a:pt x="3975" y="24319"/>
                      <a:pt x="3991" y="24380"/>
                    </a:cubicBezTo>
                    <a:lnTo>
                      <a:pt x="3991" y="24380"/>
                    </a:lnTo>
                    <a:cubicBezTo>
                      <a:pt x="3991" y="24380"/>
                      <a:pt x="3991" y="24380"/>
                      <a:pt x="3991" y="24458"/>
                    </a:cubicBezTo>
                    <a:cubicBezTo>
                      <a:pt x="3991" y="24536"/>
                      <a:pt x="4178" y="24629"/>
                      <a:pt x="4162" y="24458"/>
                    </a:cubicBezTo>
                    <a:cubicBezTo>
                      <a:pt x="4162" y="24552"/>
                      <a:pt x="4162" y="24598"/>
                      <a:pt x="4287" y="24676"/>
                    </a:cubicBezTo>
                    <a:lnTo>
                      <a:pt x="4287" y="24676"/>
                    </a:lnTo>
                    <a:cubicBezTo>
                      <a:pt x="4300" y="24722"/>
                      <a:pt x="4300" y="24771"/>
                      <a:pt x="4287" y="24817"/>
                    </a:cubicBezTo>
                    <a:cubicBezTo>
                      <a:pt x="4287" y="24692"/>
                      <a:pt x="4287" y="24817"/>
                      <a:pt x="4287" y="24910"/>
                    </a:cubicBezTo>
                    <a:lnTo>
                      <a:pt x="4287" y="24910"/>
                    </a:lnTo>
                    <a:cubicBezTo>
                      <a:pt x="4326" y="25121"/>
                      <a:pt x="4326" y="25338"/>
                      <a:pt x="4287" y="25549"/>
                    </a:cubicBezTo>
                    <a:lnTo>
                      <a:pt x="4287" y="25549"/>
                    </a:lnTo>
                    <a:cubicBezTo>
                      <a:pt x="4295" y="25689"/>
                      <a:pt x="4295" y="25830"/>
                      <a:pt x="4287" y="25970"/>
                    </a:cubicBezTo>
                    <a:cubicBezTo>
                      <a:pt x="4287" y="25970"/>
                      <a:pt x="4287" y="25877"/>
                      <a:pt x="4287" y="25814"/>
                    </a:cubicBezTo>
                    <a:cubicBezTo>
                      <a:pt x="4279" y="25923"/>
                      <a:pt x="4279" y="26033"/>
                      <a:pt x="4287" y="26142"/>
                    </a:cubicBezTo>
                    <a:cubicBezTo>
                      <a:pt x="4296" y="26116"/>
                      <a:pt x="4296" y="26089"/>
                      <a:pt x="4287" y="26064"/>
                    </a:cubicBezTo>
                    <a:cubicBezTo>
                      <a:pt x="4262" y="26192"/>
                      <a:pt x="4262" y="26325"/>
                      <a:pt x="4287" y="26453"/>
                    </a:cubicBezTo>
                    <a:cubicBezTo>
                      <a:pt x="4287" y="26375"/>
                      <a:pt x="4489" y="27264"/>
                      <a:pt x="4474" y="26983"/>
                    </a:cubicBezTo>
                    <a:cubicBezTo>
                      <a:pt x="4661" y="27467"/>
                      <a:pt x="4692" y="26438"/>
                      <a:pt x="5113" y="27654"/>
                    </a:cubicBezTo>
                    <a:cubicBezTo>
                      <a:pt x="5113" y="27560"/>
                      <a:pt x="5113" y="26625"/>
                      <a:pt x="5409" y="26859"/>
                    </a:cubicBezTo>
                    <a:cubicBezTo>
                      <a:pt x="5409" y="27061"/>
                      <a:pt x="5409" y="26859"/>
                      <a:pt x="5409" y="26749"/>
                    </a:cubicBezTo>
                    <a:cubicBezTo>
                      <a:pt x="5409" y="26640"/>
                      <a:pt x="5674" y="26594"/>
                      <a:pt x="5768" y="26531"/>
                    </a:cubicBezTo>
                    <a:cubicBezTo>
                      <a:pt x="5877" y="26734"/>
                      <a:pt x="5768" y="27077"/>
                      <a:pt x="5768" y="27357"/>
                    </a:cubicBezTo>
                    <a:cubicBezTo>
                      <a:pt x="6017" y="28043"/>
                      <a:pt x="5768" y="26937"/>
                      <a:pt x="6048" y="26921"/>
                    </a:cubicBezTo>
                    <a:cubicBezTo>
                      <a:pt x="6329" y="26905"/>
                      <a:pt x="5923" y="26812"/>
                      <a:pt x="6048" y="26718"/>
                    </a:cubicBezTo>
                    <a:cubicBezTo>
                      <a:pt x="6173" y="26625"/>
                      <a:pt x="6048" y="26921"/>
                      <a:pt x="6157" y="26983"/>
                    </a:cubicBezTo>
                    <a:cubicBezTo>
                      <a:pt x="6292" y="26991"/>
                      <a:pt x="6399" y="27098"/>
                      <a:pt x="6407" y="27233"/>
                    </a:cubicBezTo>
                    <a:cubicBezTo>
                      <a:pt x="6298" y="27420"/>
                      <a:pt x="6672" y="27357"/>
                      <a:pt x="6781" y="27404"/>
                    </a:cubicBezTo>
                    <a:cubicBezTo>
                      <a:pt x="6859" y="27825"/>
                      <a:pt x="7342" y="27264"/>
                      <a:pt x="7498" y="27591"/>
                    </a:cubicBezTo>
                    <a:cubicBezTo>
                      <a:pt x="7264" y="27591"/>
                      <a:pt x="7326" y="27591"/>
                      <a:pt x="7498" y="27809"/>
                    </a:cubicBezTo>
                    <a:cubicBezTo>
                      <a:pt x="7498" y="27654"/>
                      <a:pt x="8043" y="28230"/>
                      <a:pt x="7654" y="28230"/>
                    </a:cubicBezTo>
                    <a:cubicBezTo>
                      <a:pt x="8064" y="28271"/>
                      <a:pt x="8367" y="28630"/>
                      <a:pt x="8340" y="29041"/>
                    </a:cubicBezTo>
                    <a:cubicBezTo>
                      <a:pt x="8340" y="28745"/>
                      <a:pt x="8667" y="29181"/>
                      <a:pt x="8667" y="29322"/>
                    </a:cubicBezTo>
                    <a:cubicBezTo>
                      <a:pt x="8589" y="29134"/>
                      <a:pt x="9493" y="29322"/>
                      <a:pt x="9275" y="29524"/>
                    </a:cubicBezTo>
                    <a:cubicBezTo>
                      <a:pt x="9478" y="29368"/>
                      <a:pt x="9961" y="29976"/>
                      <a:pt x="9852" y="30085"/>
                    </a:cubicBezTo>
                    <a:cubicBezTo>
                      <a:pt x="9992" y="29852"/>
                      <a:pt x="10101" y="30615"/>
                      <a:pt x="10257" y="30787"/>
                    </a:cubicBezTo>
                    <a:cubicBezTo>
                      <a:pt x="10413" y="30958"/>
                      <a:pt x="9961" y="31364"/>
                      <a:pt x="10023" y="31644"/>
                    </a:cubicBezTo>
                    <a:cubicBezTo>
                      <a:pt x="10023" y="31410"/>
                      <a:pt x="10195" y="31426"/>
                      <a:pt x="10117" y="31644"/>
                    </a:cubicBezTo>
                    <a:cubicBezTo>
                      <a:pt x="10117" y="31644"/>
                      <a:pt x="10226" y="31364"/>
                      <a:pt x="10288" y="31519"/>
                    </a:cubicBezTo>
                    <a:cubicBezTo>
                      <a:pt x="10350" y="31675"/>
                      <a:pt x="10288" y="31519"/>
                      <a:pt x="10288" y="31519"/>
                    </a:cubicBezTo>
                    <a:cubicBezTo>
                      <a:pt x="10288" y="31052"/>
                      <a:pt x="11255" y="31894"/>
                      <a:pt x="10288" y="31847"/>
                    </a:cubicBezTo>
                    <a:cubicBezTo>
                      <a:pt x="10662" y="31847"/>
                      <a:pt x="10475" y="32049"/>
                      <a:pt x="10600" y="32330"/>
                    </a:cubicBezTo>
                    <a:cubicBezTo>
                      <a:pt x="10475" y="31831"/>
                      <a:pt x="10958" y="31379"/>
                      <a:pt x="11270" y="31831"/>
                    </a:cubicBezTo>
                    <a:cubicBezTo>
                      <a:pt x="11270" y="31831"/>
                      <a:pt x="11442" y="31925"/>
                      <a:pt x="11473" y="32003"/>
                    </a:cubicBezTo>
                    <a:cubicBezTo>
                      <a:pt x="11504" y="32081"/>
                      <a:pt x="11785" y="32096"/>
                      <a:pt x="11691" y="32190"/>
                    </a:cubicBezTo>
                    <a:cubicBezTo>
                      <a:pt x="11598" y="32283"/>
                      <a:pt x="11691" y="32424"/>
                      <a:pt x="11769" y="32517"/>
                    </a:cubicBezTo>
                    <a:cubicBezTo>
                      <a:pt x="11847" y="32611"/>
                      <a:pt x="11769" y="32205"/>
                      <a:pt x="11769" y="32408"/>
                    </a:cubicBezTo>
                    <a:cubicBezTo>
                      <a:pt x="11769" y="32268"/>
                      <a:pt x="11894" y="32314"/>
                      <a:pt x="11769" y="32221"/>
                    </a:cubicBezTo>
                    <a:cubicBezTo>
                      <a:pt x="11644" y="32127"/>
                      <a:pt x="12128" y="32455"/>
                      <a:pt x="12128" y="32346"/>
                    </a:cubicBezTo>
                    <a:cubicBezTo>
                      <a:pt x="12128" y="32237"/>
                      <a:pt x="12128" y="32346"/>
                      <a:pt x="12221" y="32439"/>
                    </a:cubicBezTo>
                    <a:cubicBezTo>
                      <a:pt x="12315" y="32533"/>
                      <a:pt x="12221" y="32439"/>
                      <a:pt x="12221" y="32439"/>
                    </a:cubicBezTo>
                    <a:lnTo>
                      <a:pt x="12221" y="32439"/>
                    </a:lnTo>
                    <a:lnTo>
                      <a:pt x="12221" y="32439"/>
                    </a:lnTo>
                    <a:cubicBezTo>
                      <a:pt x="13468" y="32813"/>
                      <a:pt x="14918" y="33998"/>
                      <a:pt x="13546" y="35323"/>
                    </a:cubicBezTo>
                    <a:cubicBezTo>
                      <a:pt x="13546" y="35245"/>
                      <a:pt x="13546" y="35105"/>
                      <a:pt x="13546" y="35229"/>
                    </a:cubicBezTo>
                    <a:cubicBezTo>
                      <a:pt x="13546" y="35354"/>
                      <a:pt x="13453" y="35229"/>
                      <a:pt x="13437" y="35229"/>
                    </a:cubicBezTo>
                    <a:lnTo>
                      <a:pt x="13437" y="35229"/>
                    </a:lnTo>
                    <a:cubicBezTo>
                      <a:pt x="13733" y="35744"/>
                      <a:pt x="14263" y="37770"/>
                      <a:pt x="13437" y="37614"/>
                    </a:cubicBezTo>
                    <a:cubicBezTo>
                      <a:pt x="13437" y="37614"/>
                      <a:pt x="13172" y="37614"/>
                      <a:pt x="13437" y="37614"/>
                    </a:cubicBezTo>
                    <a:cubicBezTo>
                      <a:pt x="13702" y="37614"/>
                      <a:pt x="13297" y="37614"/>
                      <a:pt x="13250" y="37614"/>
                    </a:cubicBezTo>
                    <a:cubicBezTo>
                      <a:pt x="13203" y="37614"/>
                      <a:pt x="13250" y="37692"/>
                      <a:pt x="13250" y="37833"/>
                    </a:cubicBezTo>
                    <a:cubicBezTo>
                      <a:pt x="13032" y="37661"/>
                      <a:pt x="12938" y="38113"/>
                      <a:pt x="12845" y="38082"/>
                    </a:cubicBezTo>
                    <a:cubicBezTo>
                      <a:pt x="12751" y="38051"/>
                      <a:pt x="12845" y="38082"/>
                      <a:pt x="12845" y="38082"/>
                    </a:cubicBezTo>
                    <a:cubicBezTo>
                      <a:pt x="12845" y="38082"/>
                      <a:pt x="12969" y="38160"/>
                      <a:pt x="12845" y="38160"/>
                    </a:cubicBezTo>
                    <a:cubicBezTo>
                      <a:pt x="12720" y="38160"/>
                      <a:pt x="12845" y="38160"/>
                      <a:pt x="12845" y="38160"/>
                    </a:cubicBezTo>
                    <a:cubicBezTo>
                      <a:pt x="12845" y="38160"/>
                      <a:pt x="13110" y="38503"/>
                      <a:pt x="13078" y="38597"/>
                    </a:cubicBezTo>
                    <a:cubicBezTo>
                      <a:pt x="13047" y="38690"/>
                      <a:pt x="13078" y="39657"/>
                      <a:pt x="13078" y="39329"/>
                    </a:cubicBezTo>
                    <a:cubicBezTo>
                      <a:pt x="13078" y="39329"/>
                      <a:pt x="13078" y="39329"/>
                      <a:pt x="13078" y="39251"/>
                    </a:cubicBezTo>
                    <a:cubicBezTo>
                      <a:pt x="13078" y="39173"/>
                      <a:pt x="13078" y="39127"/>
                      <a:pt x="13078" y="39127"/>
                    </a:cubicBezTo>
                    <a:cubicBezTo>
                      <a:pt x="13012" y="39062"/>
                      <a:pt x="12939" y="39004"/>
                      <a:pt x="12860" y="38955"/>
                    </a:cubicBezTo>
                    <a:cubicBezTo>
                      <a:pt x="12915" y="39005"/>
                      <a:pt x="12962" y="39063"/>
                      <a:pt x="13000" y="39127"/>
                    </a:cubicBezTo>
                    <a:cubicBezTo>
                      <a:pt x="13000" y="39127"/>
                      <a:pt x="13110" y="39345"/>
                      <a:pt x="13000" y="39251"/>
                    </a:cubicBezTo>
                    <a:cubicBezTo>
                      <a:pt x="13484" y="39968"/>
                      <a:pt x="13000" y="40171"/>
                      <a:pt x="12564" y="39766"/>
                    </a:cubicBezTo>
                    <a:lnTo>
                      <a:pt x="13203" y="40311"/>
                    </a:lnTo>
                    <a:lnTo>
                      <a:pt x="13203" y="40311"/>
                    </a:lnTo>
                    <a:cubicBezTo>
                      <a:pt x="13283" y="40379"/>
                      <a:pt x="13347" y="40464"/>
                      <a:pt x="13390" y="40561"/>
                    </a:cubicBezTo>
                    <a:lnTo>
                      <a:pt x="13390" y="40561"/>
                    </a:lnTo>
                    <a:cubicBezTo>
                      <a:pt x="13390" y="40561"/>
                      <a:pt x="13562" y="40794"/>
                      <a:pt x="13390" y="40732"/>
                    </a:cubicBezTo>
                    <a:cubicBezTo>
                      <a:pt x="13219" y="40670"/>
                      <a:pt x="13063" y="40732"/>
                      <a:pt x="12969" y="40732"/>
                    </a:cubicBezTo>
                    <a:cubicBezTo>
                      <a:pt x="12876" y="40732"/>
                      <a:pt x="13141" y="40872"/>
                      <a:pt x="13219" y="40950"/>
                    </a:cubicBezTo>
                    <a:lnTo>
                      <a:pt x="13219" y="40950"/>
                    </a:lnTo>
                    <a:cubicBezTo>
                      <a:pt x="13530" y="41262"/>
                      <a:pt x="13608" y="41356"/>
                      <a:pt x="13125" y="41106"/>
                    </a:cubicBezTo>
                    <a:cubicBezTo>
                      <a:pt x="13269" y="41259"/>
                      <a:pt x="13438" y="41385"/>
                      <a:pt x="13624" y="41480"/>
                    </a:cubicBezTo>
                    <a:cubicBezTo>
                      <a:pt x="13624" y="41480"/>
                      <a:pt x="13624" y="41480"/>
                      <a:pt x="13624" y="41480"/>
                    </a:cubicBezTo>
                    <a:lnTo>
                      <a:pt x="13624" y="41480"/>
                    </a:lnTo>
                    <a:cubicBezTo>
                      <a:pt x="13889" y="41683"/>
                      <a:pt x="13733" y="41699"/>
                      <a:pt x="14263" y="42073"/>
                    </a:cubicBezTo>
                    <a:lnTo>
                      <a:pt x="14263" y="42073"/>
                    </a:lnTo>
                    <a:lnTo>
                      <a:pt x="14263" y="42073"/>
                    </a:lnTo>
                    <a:lnTo>
                      <a:pt x="14263" y="42073"/>
                    </a:lnTo>
                    <a:cubicBezTo>
                      <a:pt x="14513" y="42353"/>
                      <a:pt x="14918" y="42416"/>
                      <a:pt x="15183" y="42665"/>
                    </a:cubicBezTo>
                    <a:lnTo>
                      <a:pt x="15183" y="42665"/>
                    </a:lnTo>
                    <a:lnTo>
                      <a:pt x="15183" y="42665"/>
                    </a:lnTo>
                    <a:lnTo>
                      <a:pt x="15183" y="42665"/>
                    </a:lnTo>
                    <a:lnTo>
                      <a:pt x="15323" y="42774"/>
                    </a:lnTo>
                    <a:lnTo>
                      <a:pt x="15323" y="42774"/>
                    </a:lnTo>
                    <a:lnTo>
                      <a:pt x="15510" y="42899"/>
                    </a:lnTo>
                    <a:cubicBezTo>
                      <a:pt x="15510" y="42899"/>
                      <a:pt x="15510" y="42899"/>
                      <a:pt x="15417" y="42899"/>
                    </a:cubicBezTo>
                    <a:cubicBezTo>
                      <a:pt x="15680" y="43066"/>
                      <a:pt x="15956" y="43212"/>
                      <a:pt x="16243" y="43335"/>
                    </a:cubicBezTo>
                    <a:lnTo>
                      <a:pt x="16243" y="43335"/>
                    </a:lnTo>
                    <a:cubicBezTo>
                      <a:pt x="16149" y="43335"/>
                      <a:pt x="16243" y="43335"/>
                      <a:pt x="16243" y="43335"/>
                    </a:cubicBezTo>
                    <a:lnTo>
                      <a:pt x="16243" y="43335"/>
                    </a:lnTo>
                    <a:cubicBezTo>
                      <a:pt x="16389" y="43422"/>
                      <a:pt x="16539" y="43501"/>
                      <a:pt x="16695" y="43569"/>
                    </a:cubicBezTo>
                    <a:lnTo>
                      <a:pt x="16492" y="43569"/>
                    </a:lnTo>
                    <a:close/>
                    <a:moveTo>
                      <a:pt x="18659" y="9182"/>
                    </a:moveTo>
                    <a:cubicBezTo>
                      <a:pt x="18410" y="9446"/>
                      <a:pt x="18659" y="9088"/>
                      <a:pt x="18659" y="9057"/>
                    </a:cubicBezTo>
                    <a:cubicBezTo>
                      <a:pt x="18659" y="9026"/>
                      <a:pt x="18534" y="9197"/>
                      <a:pt x="18410" y="9369"/>
                    </a:cubicBezTo>
                    <a:cubicBezTo>
                      <a:pt x="17989" y="9150"/>
                      <a:pt x="17770" y="9961"/>
                      <a:pt x="17505" y="9899"/>
                    </a:cubicBezTo>
                    <a:cubicBezTo>
                      <a:pt x="17724" y="10132"/>
                      <a:pt x="17334" y="9899"/>
                      <a:pt x="17381" y="10132"/>
                    </a:cubicBezTo>
                    <a:cubicBezTo>
                      <a:pt x="17256" y="9945"/>
                      <a:pt x="17381" y="10132"/>
                      <a:pt x="17381" y="10132"/>
                    </a:cubicBezTo>
                    <a:cubicBezTo>
                      <a:pt x="17381" y="9899"/>
                      <a:pt x="17381" y="10397"/>
                      <a:pt x="17240" y="10132"/>
                    </a:cubicBezTo>
                    <a:cubicBezTo>
                      <a:pt x="16960" y="10132"/>
                      <a:pt x="17240" y="10507"/>
                      <a:pt x="16866" y="10507"/>
                    </a:cubicBezTo>
                    <a:cubicBezTo>
                      <a:pt x="16866" y="10507"/>
                      <a:pt x="16633" y="10912"/>
                      <a:pt x="16570" y="10803"/>
                    </a:cubicBezTo>
                    <a:cubicBezTo>
                      <a:pt x="16508" y="10694"/>
                      <a:pt x="16196" y="11302"/>
                      <a:pt x="16336" y="10990"/>
                    </a:cubicBezTo>
                    <a:cubicBezTo>
                      <a:pt x="15915" y="11255"/>
                      <a:pt x="16430" y="10834"/>
                      <a:pt x="16103" y="10896"/>
                    </a:cubicBezTo>
                    <a:cubicBezTo>
                      <a:pt x="16492" y="10600"/>
                      <a:pt x="16399" y="10662"/>
                      <a:pt x="15884" y="10694"/>
                    </a:cubicBezTo>
                    <a:cubicBezTo>
                      <a:pt x="15962" y="10267"/>
                      <a:pt x="16121" y="9860"/>
                      <a:pt x="16352" y="9493"/>
                    </a:cubicBezTo>
                    <a:cubicBezTo>
                      <a:pt x="16352" y="9275"/>
                      <a:pt x="16539" y="9493"/>
                      <a:pt x="16742" y="9197"/>
                    </a:cubicBezTo>
                    <a:cubicBezTo>
                      <a:pt x="16321" y="9353"/>
                      <a:pt x="16321" y="9197"/>
                      <a:pt x="16742" y="8839"/>
                    </a:cubicBezTo>
                    <a:cubicBezTo>
                      <a:pt x="16648" y="8839"/>
                      <a:pt x="16523" y="8839"/>
                      <a:pt x="16648" y="8839"/>
                    </a:cubicBezTo>
                    <a:cubicBezTo>
                      <a:pt x="16773" y="8839"/>
                      <a:pt x="16648" y="8745"/>
                      <a:pt x="17209" y="8480"/>
                    </a:cubicBezTo>
                    <a:cubicBezTo>
                      <a:pt x="16071" y="8901"/>
                      <a:pt x="17599" y="8137"/>
                      <a:pt x="17038" y="8262"/>
                    </a:cubicBezTo>
                    <a:cubicBezTo>
                      <a:pt x="17490" y="7856"/>
                      <a:pt x="17381" y="8433"/>
                      <a:pt x="17537" y="8262"/>
                    </a:cubicBezTo>
                    <a:cubicBezTo>
                      <a:pt x="17240" y="8262"/>
                      <a:pt x="17848" y="8044"/>
                      <a:pt x="17537" y="8137"/>
                    </a:cubicBezTo>
                    <a:cubicBezTo>
                      <a:pt x="17646" y="8028"/>
                      <a:pt x="17396" y="8137"/>
                      <a:pt x="17194" y="8137"/>
                    </a:cubicBezTo>
                    <a:cubicBezTo>
                      <a:pt x="17630" y="7747"/>
                      <a:pt x="17459" y="8246"/>
                      <a:pt x="17786" y="7872"/>
                    </a:cubicBezTo>
                    <a:cubicBezTo>
                      <a:pt x="17505" y="8028"/>
                      <a:pt x="17552" y="7763"/>
                      <a:pt x="17786" y="7872"/>
                    </a:cubicBezTo>
                    <a:cubicBezTo>
                      <a:pt x="17976" y="7744"/>
                      <a:pt x="18154" y="7598"/>
                      <a:pt x="18316" y="7436"/>
                    </a:cubicBezTo>
                    <a:cubicBezTo>
                      <a:pt x="18145" y="7436"/>
                      <a:pt x="18316" y="6594"/>
                      <a:pt x="18472" y="7217"/>
                    </a:cubicBezTo>
                    <a:cubicBezTo>
                      <a:pt x="18472" y="7217"/>
                      <a:pt x="18612" y="6999"/>
                      <a:pt x="18659" y="7046"/>
                    </a:cubicBezTo>
                    <a:cubicBezTo>
                      <a:pt x="18706" y="7093"/>
                      <a:pt x="19189" y="6344"/>
                      <a:pt x="18768" y="6703"/>
                    </a:cubicBezTo>
                    <a:cubicBezTo>
                      <a:pt x="18347" y="7061"/>
                      <a:pt x="19205" y="6282"/>
                      <a:pt x="19735" y="5752"/>
                    </a:cubicBezTo>
                    <a:cubicBezTo>
                      <a:pt x="21013" y="4770"/>
                      <a:pt x="19735" y="4988"/>
                      <a:pt x="20795" y="4521"/>
                    </a:cubicBezTo>
                    <a:cubicBezTo>
                      <a:pt x="20950" y="4521"/>
                      <a:pt x="21060" y="4599"/>
                      <a:pt x="21169" y="4396"/>
                    </a:cubicBezTo>
                    <a:cubicBezTo>
                      <a:pt x="23897" y="3227"/>
                      <a:pt x="23211" y="3866"/>
                      <a:pt x="24286" y="3351"/>
                    </a:cubicBezTo>
                    <a:cubicBezTo>
                      <a:pt x="23974" y="3523"/>
                      <a:pt x="24286" y="3351"/>
                      <a:pt x="24395" y="3351"/>
                    </a:cubicBezTo>
                    <a:cubicBezTo>
                      <a:pt x="24052" y="3585"/>
                      <a:pt x="24239" y="3351"/>
                      <a:pt x="24146" y="3585"/>
                    </a:cubicBezTo>
                    <a:cubicBezTo>
                      <a:pt x="24286" y="3757"/>
                      <a:pt x="23382" y="3850"/>
                      <a:pt x="23787" y="3819"/>
                    </a:cubicBezTo>
                    <a:cubicBezTo>
                      <a:pt x="24193" y="3788"/>
                      <a:pt x="23647" y="3944"/>
                      <a:pt x="23787" y="3928"/>
                    </a:cubicBezTo>
                    <a:cubicBezTo>
                      <a:pt x="24099" y="3679"/>
                      <a:pt x="23787" y="4069"/>
                      <a:pt x="23663" y="4084"/>
                    </a:cubicBezTo>
                    <a:cubicBezTo>
                      <a:pt x="22946" y="4645"/>
                      <a:pt x="24536" y="3398"/>
                      <a:pt x="23943" y="4193"/>
                    </a:cubicBezTo>
                    <a:cubicBezTo>
                      <a:pt x="23694" y="4396"/>
                      <a:pt x="23429" y="4411"/>
                      <a:pt x="23647" y="4489"/>
                    </a:cubicBezTo>
                    <a:cubicBezTo>
                      <a:pt x="23298" y="4794"/>
                      <a:pt x="23057" y="5205"/>
                      <a:pt x="22961" y="5659"/>
                    </a:cubicBezTo>
                    <a:cubicBezTo>
                      <a:pt x="22868" y="5331"/>
                      <a:pt x="22462" y="5830"/>
                      <a:pt x="22790" y="5783"/>
                    </a:cubicBezTo>
                    <a:cubicBezTo>
                      <a:pt x="22540" y="5986"/>
                      <a:pt x="22790" y="5783"/>
                      <a:pt x="22696" y="5986"/>
                    </a:cubicBezTo>
                    <a:cubicBezTo>
                      <a:pt x="22603" y="6189"/>
                      <a:pt x="22540" y="5986"/>
                      <a:pt x="22462" y="5986"/>
                    </a:cubicBezTo>
                    <a:cubicBezTo>
                      <a:pt x="22385" y="5986"/>
                      <a:pt x="22462" y="6313"/>
                      <a:pt x="22462" y="6142"/>
                    </a:cubicBezTo>
                    <a:cubicBezTo>
                      <a:pt x="22462" y="6235"/>
                      <a:pt x="22743" y="6469"/>
                      <a:pt x="22462" y="6516"/>
                    </a:cubicBezTo>
                    <a:cubicBezTo>
                      <a:pt x="22026" y="6126"/>
                      <a:pt x="22462" y="6874"/>
                      <a:pt x="22182" y="6796"/>
                    </a:cubicBezTo>
                    <a:cubicBezTo>
                      <a:pt x="21745" y="7015"/>
                      <a:pt x="22182" y="6407"/>
                      <a:pt x="21901" y="6796"/>
                    </a:cubicBezTo>
                    <a:cubicBezTo>
                      <a:pt x="21901" y="6609"/>
                      <a:pt x="21605" y="6906"/>
                      <a:pt x="21543" y="6921"/>
                    </a:cubicBezTo>
                    <a:cubicBezTo>
                      <a:pt x="21917" y="6921"/>
                      <a:pt x="21543" y="7046"/>
                      <a:pt x="21543" y="7061"/>
                    </a:cubicBezTo>
                    <a:cubicBezTo>
                      <a:pt x="21995" y="7061"/>
                      <a:pt x="21543" y="7186"/>
                      <a:pt x="21621" y="7249"/>
                    </a:cubicBezTo>
                    <a:cubicBezTo>
                      <a:pt x="22182" y="7342"/>
                      <a:pt x="21340" y="8807"/>
                      <a:pt x="21402" y="7498"/>
                    </a:cubicBezTo>
                    <a:cubicBezTo>
                      <a:pt x="20904" y="7171"/>
                      <a:pt x="21761" y="7856"/>
                      <a:pt x="20997" y="7732"/>
                    </a:cubicBezTo>
                    <a:cubicBezTo>
                      <a:pt x="21137" y="7841"/>
                      <a:pt x="20576" y="7966"/>
                      <a:pt x="20810" y="7919"/>
                    </a:cubicBezTo>
                    <a:cubicBezTo>
                      <a:pt x="21044" y="7872"/>
                      <a:pt x="21169" y="8090"/>
                      <a:pt x="20810" y="8028"/>
                    </a:cubicBezTo>
                    <a:cubicBezTo>
                      <a:pt x="20452" y="7966"/>
                      <a:pt x="21855" y="8028"/>
                      <a:pt x="21278" y="8277"/>
                    </a:cubicBezTo>
                    <a:cubicBezTo>
                      <a:pt x="21278" y="8277"/>
                      <a:pt x="21028" y="8464"/>
                      <a:pt x="20997" y="8418"/>
                    </a:cubicBezTo>
                    <a:cubicBezTo>
                      <a:pt x="20966" y="8371"/>
                      <a:pt x="19844" y="8948"/>
                      <a:pt x="19922" y="8527"/>
                    </a:cubicBezTo>
                    <a:cubicBezTo>
                      <a:pt x="20000" y="8106"/>
                      <a:pt x="19922" y="8745"/>
                      <a:pt x="19812" y="8761"/>
                    </a:cubicBezTo>
                    <a:cubicBezTo>
                      <a:pt x="19407" y="8792"/>
                      <a:pt x="18706" y="9556"/>
                      <a:pt x="18659" y="9182"/>
                    </a:cubicBezTo>
                    <a:close/>
                    <a:moveTo>
                      <a:pt x="21480" y="10382"/>
                    </a:moveTo>
                    <a:cubicBezTo>
                      <a:pt x="21480" y="10507"/>
                      <a:pt x="21293" y="10475"/>
                      <a:pt x="21247" y="10382"/>
                    </a:cubicBezTo>
                    <a:cubicBezTo>
                      <a:pt x="21200" y="10288"/>
                      <a:pt x="21075" y="10382"/>
                      <a:pt x="21122" y="10273"/>
                    </a:cubicBezTo>
                    <a:cubicBezTo>
                      <a:pt x="21169" y="10164"/>
                      <a:pt x="21044" y="10273"/>
                      <a:pt x="21122" y="10273"/>
                    </a:cubicBezTo>
                    <a:cubicBezTo>
                      <a:pt x="21030" y="10296"/>
                      <a:pt x="20933" y="10296"/>
                      <a:pt x="20841" y="10273"/>
                    </a:cubicBezTo>
                    <a:cubicBezTo>
                      <a:pt x="20841" y="10273"/>
                      <a:pt x="20841" y="10273"/>
                      <a:pt x="20841" y="10273"/>
                    </a:cubicBezTo>
                    <a:cubicBezTo>
                      <a:pt x="20841" y="10273"/>
                      <a:pt x="20841" y="10273"/>
                      <a:pt x="20841" y="10195"/>
                    </a:cubicBezTo>
                    <a:cubicBezTo>
                      <a:pt x="20841" y="10117"/>
                      <a:pt x="20841" y="10195"/>
                      <a:pt x="20841" y="10195"/>
                    </a:cubicBezTo>
                    <a:cubicBezTo>
                      <a:pt x="20841" y="10195"/>
                      <a:pt x="20982" y="10070"/>
                      <a:pt x="21060" y="10117"/>
                    </a:cubicBezTo>
                    <a:cubicBezTo>
                      <a:pt x="21137" y="10164"/>
                      <a:pt x="20826" y="10210"/>
                      <a:pt x="21060" y="10008"/>
                    </a:cubicBezTo>
                    <a:cubicBezTo>
                      <a:pt x="21060" y="10086"/>
                      <a:pt x="20919" y="10008"/>
                      <a:pt x="21060" y="9930"/>
                    </a:cubicBezTo>
                    <a:cubicBezTo>
                      <a:pt x="21200" y="9852"/>
                      <a:pt x="20826" y="9930"/>
                      <a:pt x="20826" y="9821"/>
                    </a:cubicBezTo>
                    <a:cubicBezTo>
                      <a:pt x="20826" y="9711"/>
                      <a:pt x="21060" y="9743"/>
                      <a:pt x="21075" y="9821"/>
                    </a:cubicBezTo>
                    <a:cubicBezTo>
                      <a:pt x="21091" y="9899"/>
                      <a:pt x="21231" y="9821"/>
                      <a:pt x="21247" y="9727"/>
                    </a:cubicBezTo>
                    <a:cubicBezTo>
                      <a:pt x="21262" y="9634"/>
                      <a:pt x="21137" y="9727"/>
                      <a:pt x="21247" y="9727"/>
                    </a:cubicBezTo>
                    <a:cubicBezTo>
                      <a:pt x="21356" y="9727"/>
                      <a:pt x="21137" y="9727"/>
                      <a:pt x="21247" y="9649"/>
                    </a:cubicBezTo>
                    <a:cubicBezTo>
                      <a:pt x="21356" y="9571"/>
                      <a:pt x="21247" y="9649"/>
                      <a:pt x="21247" y="9649"/>
                    </a:cubicBezTo>
                    <a:cubicBezTo>
                      <a:pt x="21247" y="9649"/>
                      <a:pt x="21247" y="9727"/>
                      <a:pt x="21247" y="9649"/>
                    </a:cubicBezTo>
                    <a:cubicBezTo>
                      <a:pt x="21247" y="9571"/>
                      <a:pt x="21247" y="9649"/>
                      <a:pt x="21247" y="9649"/>
                    </a:cubicBezTo>
                    <a:cubicBezTo>
                      <a:pt x="21075" y="9867"/>
                      <a:pt x="20982" y="9509"/>
                      <a:pt x="21137" y="9649"/>
                    </a:cubicBezTo>
                    <a:cubicBezTo>
                      <a:pt x="21293" y="9789"/>
                      <a:pt x="21137" y="9509"/>
                      <a:pt x="21137" y="9649"/>
                    </a:cubicBezTo>
                    <a:cubicBezTo>
                      <a:pt x="21137" y="9789"/>
                      <a:pt x="21137" y="9649"/>
                      <a:pt x="21137" y="9649"/>
                    </a:cubicBezTo>
                    <a:cubicBezTo>
                      <a:pt x="21137" y="9649"/>
                      <a:pt x="21137" y="9556"/>
                      <a:pt x="21137" y="9649"/>
                    </a:cubicBezTo>
                    <a:cubicBezTo>
                      <a:pt x="21137" y="9743"/>
                      <a:pt x="21137" y="9509"/>
                      <a:pt x="21137" y="9649"/>
                    </a:cubicBezTo>
                    <a:cubicBezTo>
                      <a:pt x="21137" y="9789"/>
                      <a:pt x="21247" y="9649"/>
                      <a:pt x="21137" y="9649"/>
                    </a:cubicBezTo>
                    <a:cubicBezTo>
                      <a:pt x="21028" y="9649"/>
                      <a:pt x="21231" y="9649"/>
                      <a:pt x="21137" y="9649"/>
                    </a:cubicBezTo>
                    <a:cubicBezTo>
                      <a:pt x="21044" y="9649"/>
                      <a:pt x="20982" y="9509"/>
                      <a:pt x="21137" y="9509"/>
                    </a:cubicBezTo>
                    <a:cubicBezTo>
                      <a:pt x="20872" y="9415"/>
                      <a:pt x="21231" y="9415"/>
                      <a:pt x="21137" y="9602"/>
                    </a:cubicBezTo>
                    <a:cubicBezTo>
                      <a:pt x="21137" y="9602"/>
                      <a:pt x="21137" y="9602"/>
                      <a:pt x="21137" y="9602"/>
                    </a:cubicBezTo>
                    <a:cubicBezTo>
                      <a:pt x="21137" y="9602"/>
                      <a:pt x="21137" y="9711"/>
                      <a:pt x="21137" y="9602"/>
                    </a:cubicBezTo>
                    <a:cubicBezTo>
                      <a:pt x="21147" y="9627"/>
                      <a:pt x="21147" y="9655"/>
                      <a:pt x="21137" y="9680"/>
                    </a:cubicBezTo>
                    <a:cubicBezTo>
                      <a:pt x="21137" y="9680"/>
                      <a:pt x="21137" y="9758"/>
                      <a:pt x="21137" y="9789"/>
                    </a:cubicBezTo>
                    <a:cubicBezTo>
                      <a:pt x="21137" y="9821"/>
                      <a:pt x="21137" y="9789"/>
                      <a:pt x="21137" y="9867"/>
                    </a:cubicBezTo>
                    <a:cubicBezTo>
                      <a:pt x="21156" y="9800"/>
                      <a:pt x="21201" y="9744"/>
                      <a:pt x="21262" y="9711"/>
                    </a:cubicBezTo>
                    <a:cubicBezTo>
                      <a:pt x="21262" y="9899"/>
                      <a:pt x="21262" y="9509"/>
                      <a:pt x="21418" y="9493"/>
                    </a:cubicBezTo>
                    <a:cubicBezTo>
                      <a:pt x="21574" y="9478"/>
                      <a:pt x="21418" y="9602"/>
                      <a:pt x="21418" y="9618"/>
                    </a:cubicBezTo>
                    <a:cubicBezTo>
                      <a:pt x="21418" y="9634"/>
                      <a:pt x="21496" y="9493"/>
                      <a:pt x="21590" y="9509"/>
                    </a:cubicBezTo>
                    <a:cubicBezTo>
                      <a:pt x="21628" y="9598"/>
                      <a:pt x="21628" y="9700"/>
                      <a:pt x="21590" y="9789"/>
                    </a:cubicBezTo>
                    <a:cubicBezTo>
                      <a:pt x="21683" y="9711"/>
                      <a:pt x="21590" y="9493"/>
                      <a:pt x="21745" y="9540"/>
                    </a:cubicBezTo>
                    <a:cubicBezTo>
                      <a:pt x="21901" y="9587"/>
                      <a:pt x="21886" y="9415"/>
                      <a:pt x="21870" y="9540"/>
                    </a:cubicBezTo>
                    <a:cubicBezTo>
                      <a:pt x="21855" y="9665"/>
                      <a:pt x="22104" y="9275"/>
                      <a:pt x="22073" y="9540"/>
                    </a:cubicBezTo>
                    <a:cubicBezTo>
                      <a:pt x="22042" y="9805"/>
                      <a:pt x="22182" y="9400"/>
                      <a:pt x="22260" y="9540"/>
                    </a:cubicBezTo>
                    <a:cubicBezTo>
                      <a:pt x="22338" y="9680"/>
                      <a:pt x="22104" y="9680"/>
                      <a:pt x="22260" y="9649"/>
                    </a:cubicBezTo>
                    <a:cubicBezTo>
                      <a:pt x="22416" y="9618"/>
                      <a:pt x="22166" y="9649"/>
                      <a:pt x="22260" y="9805"/>
                    </a:cubicBezTo>
                    <a:cubicBezTo>
                      <a:pt x="22353" y="9961"/>
                      <a:pt x="22260" y="9805"/>
                      <a:pt x="22260" y="9805"/>
                    </a:cubicBezTo>
                    <a:cubicBezTo>
                      <a:pt x="22462" y="9805"/>
                      <a:pt x="22338" y="9805"/>
                      <a:pt x="22260" y="9914"/>
                    </a:cubicBezTo>
                    <a:cubicBezTo>
                      <a:pt x="22182" y="10023"/>
                      <a:pt x="22260" y="10054"/>
                      <a:pt x="22260" y="10117"/>
                    </a:cubicBezTo>
                    <a:cubicBezTo>
                      <a:pt x="22120" y="9914"/>
                      <a:pt x="22260" y="10382"/>
                      <a:pt x="22042" y="10117"/>
                    </a:cubicBezTo>
                    <a:cubicBezTo>
                      <a:pt x="22042" y="10226"/>
                      <a:pt x="21839" y="10226"/>
                      <a:pt x="21761" y="10335"/>
                    </a:cubicBezTo>
                    <a:lnTo>
                      <a:pt x="21761" y="10335"/>
                    </a:lnTo>
                    <a:cubicBezTo>
                      <a:pt x="21761" y="10335"/>
                      <a:pt x="21636" y="10335"/>
                      <a:pt x="21590" y="10335"/>
                    </a:cubicBezTo>
                    <a:cubicBezTo>
                      <a:pt x="21543" y="10335"/>
                      <a:pt x="21590" y="10335"/>
                      <a:pt x="21590" y="10335"/>
                    </a:cubicBezTo>
                    <a:cubicBezTo>
                      <a:pt x="21590" y="10335"/>
                      <a:pt x="21543" y="10522"/>
                      <a:pt x="21480" y="10382"/>
                    </a:cubicBezTo>
                    <a:close/>
                    <a:moveTo>
                      <a:pt x="34652" y="37692"/>
                    </a:moveTo>
                    <a:cubicBezTo>
                      <a:pt x="34543" y="37412"/>
                      <a:pt x="35011" y="37100"/>
                      <a:pt x="35214" y="36882"/>
                    </a:cubicBezTo>
                    <a:cubicBezTo>
                      <a:pt x="35416" y="36664"/>
                      <a:pt x="35416" y="36056"/>
                      <a:pt x="35884" y="35869"/>
                    </a:cubicBezTo>
                    <a:lnTo>
                      <a:pt x="35884" y="35869"/>
                    </a:lnTo>
                    <a:cubicBezTo>
                      <a:pt x="35884" y="35869"/>
                      <a:pt x="35884" y="35869"/>
                      <a:pt x="35884" y="35869"/>
                    </a:cubicBezTo>
                    <a:cubicBezTo>
                      <a:pt x="35884" y="35869"/>
                      <a:pt x="35977" y="35869"/>
                      <a:pt x="36102" y="35744"/>
                    </a:cubicBezTo>
                    <a:cubicBezTo>
                      <a:pt x="35993" y="36009"/>
                      <a:pt x="36367" y="35463"/>
                      <a:pt x="36258" y="35744"/>
                    </a:cubicBezTo>
                    <a:cubicBezTo>
                      <a:pt x="36149" y="36024"/>
                      <a:pt x="36258" y="35744"/>
                      <a:pt x="36258" y="35744"/>
                    </a:cubicBezTo>
                    <a:cubicBezTo>
                      <a:pt x="36258" y="35744"/>
                      <a:pt x="36258" y="35744"/>
                      <a:pt x="36258" y="35619"/>
                    </a:cubicBezTo>
                    <a:cubicBezTo>
                      <a:pt x="36258" y="35494"/>
                      <a:pt x="36367" y="35619"/>
                      <a:pt x="36258" y="35619"/>
                    </a:cubicBezTo>
                    <a:lnTo>
                      <a:pt x="36258" y="35619"/>
                    </a:lnTo>
                    <a:cubicBezTo>
                      <a:pt x="36258" y="35619"/>
                      <a:pt x="36258" y="35619"/>
                      <a:pt x="36258" y="35728"/>
                    </a:cubicBezTo>
                    <a:cubicBezTo>
                      <a:pt x="36258" y="35837"/>
                      <a:pt x="36383" y="35572"/>
                      <a:pt x="36398" y="35635"/>
                    </a:cubicBezTo>
                    <a:cubicBezTo>
                      <a:pt x="36414" y="35697"/>
                      <a:pt x="36398" y="35635"/>
                      <a:pt x="36398" y="35526"/>
                    </a:cubicBezTo>
                    <a:cubicBezTo>
                      <a:pt x="36398" y="35417"/>
                      <a:pt x="36538" y="35526"/>
                      <a:pt x="36398" y="35432"/>
                    </a:cubicBezTo>
                    <a:cubicBezTo>
                      <a:pt x="36258" y="35339"/>
                      <a:pt x="36398" y="35526"/>
                      <a:pt x="36538" y="35339"/>
                    </a:cubicBezTo>
                    <a:cubicBezTo>
                      <a:pt x="36679" y="35152"/>
                      <a:pt x="36788" y="35152"/>
                      <a:pt x="36741" y="34996"/>
                    </a:cubicBezTo>
                    <a:cubicBezTo>
                      <a:pt x="36694" y="34840"/>
                      <a:pt x="36835" y="34996"/>
                      <a:pt x="36913" y="34887"/>
                    </a:cubicBezTo>
                    <a:cubicBezTo>
                      <a:pt x="36991" y="34777"/>
                      <a:pt x="36913" y="35089"/>
                      <a:pt x="36913" y="35089"/>
                    </a:cubicBezTo>
                    <a:cubicBezTo>
                      <a:pt x="37521" y="35323"/>
                      <a:pt x="34044" y="39532"/>
                      <a:pt x="34652" y="37692"/>
                    </a:cubicBezTo>
                    <a:close/>
                    <a:moveTo>
                      <a:pt x="44613" y="24131"/>
                    </a:moveTo>
                    <a:cubicBezTo>
                      <a:pt x="44613" y="24131"/>
                      <a:pt x="44613" y="24131"/>
                      <a:pt x="44613" y="24131"/>
                    </a:cubicBezTo>
                    <a:cubicBezTo>
                      <a:pt x="44296" y="25340"/>
                      <a:pt x="44062" y="26569"/>
                      <a:pt x="43912" y="27809"/>
                    </a:cubicBezTo>
                    <a:cubicBezTo>
                      <a:pt x="43912" y="27716"/>
                      <a:pt x="43756" y="27934"/>
                      <a:pt x="43756" y="27997"/>
                    </a:cubicBezTo>
                    <a:cubicBezTo>
                      <a:pt x="43584" y="28651"/>
                      <a:pt x="43179" y="24380"/>
                      <a:pt x="43210" y="24006"/>
                    </a:cubicBezTo>
                    <a:cubicBezTo>
                      <a:pt x="43070" y="24006"/>
                      <a:pt x="43210" y="23834"/>
                      <a:pt x="43210" y="23741"/>
                    </a:cubicBezTo>
                    <a:cubicBezTo>
                      <a:pt x="43210" y="23647"/>
                      <a:pt x="43132" y="23741"/>
                      <a:pt x="43132" y="23741"/>
                    </a:cubicBezTo>
                    <a:cubicBezTo>
                      <a:pt x="43132" y="24099"/>
                      <a:pt x="42992" y="24832"/>
                      <a:pt x="42743" y="24146"/>
                    </a:cubicBezTo>
                    <a:cubicBezTo>
                      <a:pt x="42743" y="24146"/>
                      <a:pt x="42571" y="23897"/>
                      <a:pt x="42649" y="23944"/>
                    </a:cubicBezTo>
                    <a:lnTo>
                      <a:pt x="42649" y="23944"/>
                    </a:lnTo>
                    <a:cubicBezTo>
                      <a:pt x="42649" y="24084"/>
                      <a:pt x="42649" y="23944"/>
                      <a:pt x="42649" y="23944"/>
                    </a:cubicBezTo>
                    <a:cubicBezTo>
                      <a:pt x="42649" y="23944"/>
                      <a:pt x="42836" y="23663"/>
                      <a:pt x="42727" y="23632"/>
                    </a:cubicBezTo>
                    <a:cubicBezTo>
                      <a:pt x="42727" y="23944"/>
                      <a:pt x="42275" y="23632"/>
                      <a:pt x="42478" y="23445"/>
                    </a:cubicBezTo>
                    <a:cubicBezTo>
                      <a:pt x="42478" y="23445"/>
                      <a:pt x="42478" y="23538"/>
                      <a:pt x="42368" y="23569"/>
                    </a:cubicBezTo>
                    <a:cubicBezTo>
                      <a:pt x="42259" y="23601"/>
                      <a:pt x="42368" y="23492"/>
                      <a:pt x="42244" y="23569"/>
                    </a:cubicBezTo>
                    <a:cubicBezTo>
                      <a:pt x="42119" y="23647"/>
                      <a:pt x="42244" y="23320"/>
                      <a:pt x="42135" y="23195"/>
                    </a:cubicBezTo>
                    <a:cubicBezTo>
                      <a:pt x="41963" y="23351"/>
                      <a:pt x="42135" y="22977"/>
                      <a:pt x="41854" y="23086"/>
                    </a:cubicBezTo>
                    <a:cubicBezTo>
                      <a:pt x="41854" y="23086"/>
                      <a:pt x="41714" y="23164"/>
                      <a:pt x="41667" y="23242"/>
                    </a:cubicBezTo>
                    <a:cubicBezTo>
                      <a:pt x="41620" y="23320"/>
                      <a:pt x="41573" y="23242"/>
                      <a:pt x="41511" y="23242"/>
                    </a:cubicBezTo>
                    <a:cubicBezTo>
                      <a:pt x="41449" y="23242"/>
                      <a:pt x="41386" y="23242"/>
                      <a:pt x="41340" y="23382"/>
                    </a:cubicBezTo>
                    <a:cubicBezTo>
                      <a:pt x="41293" y="23523"/>
                      <a:pt x="41340" y="23382"/>
                      <a:pt x="41231" y="23382"/>
                    </a:cubicBezTo>
                    <a:cubicBezTo>
                      <a:pt x="41121" y="23382"/>
                      <a:pt x="41075" y="23492"/>
                      <a:pt x="41028" y="23304"/>
                    </a:cubicBezTo>
                    <a:cubicBezTo>
                      <a:pt x="41028" y="23398"/>
                      <a:pt x="40669" y="23304"/>
                      <a:pt x="40591" y="23304"/>
                    </a:cubicBezTo>
                    <a:cubicBezTo>
                      <a:pt x="40513" y="23304"/>
                      <a:pt x="40451" y="23304"/>
                      <a:pt x="40342" y="23304"/>
                    </a:cubicBezTo>
                    <a:cubicBezTo>
                      <a:pt x="40093" y="22400"/>
                      <a:pt x="40061" y="23180"/>
                      <a:pt x="39625" y="23055"/>
                    </a:cubicBezTo>
                    <a:cubicBezTo>
                      <a:pt x="39531" y="23055"/>
                      <a:pt x="39251" y="22946"/>
                      <a:pt x="39282" y="22821"/>
                    </a:cubicBezTo>
                    <a:cubicBezTo>
                      <a:pt x="39313" y="22697"/>
                      <a:pt x="38877" y="22821"/>
                      <a:pt x="38846" y="22509"/>
                    </a:cubicBezTo>
                    <a:cubicBezTo>
                      <a:pt x="38846" y="22509"/>
                      <a:pt x="38736" y="22509"/>
                      <a:pt x="38846" y="22509"/>
                    </a:cubicBezTo>
                    <a:cubicBezTo>
                      <a:pt x="38690" y="22509"/>
                      <a:pt x="38627" y="21948"/>
                      <a:pt x="38456" y="22167"/>
                    </a:cubicBezTo>
                    <a:cubicBezTo>
                      <a:pt x="38456" y="22089"/>
                      <a:pt x="38316" y="22167"/>
                      <a:pt x="38362" y="22026"/>
                    </a:cubicBezTo>
                    <a:cubicBezTo>
                      <a:pt x="38409" y="21886"/>
                      <a:pt x="38362" y="22026"/>
                      <a:pt x="38362" y="22026"/>
                    </a:cubicBezTo>
                    <a:cubicBezTo>
                      <a:pt x="38362" y="22026"/>
                      <a:pt x="38362" y="22229"/>
                      <a:pt x="38362" y="22026"/>
                    </a:cubicBezTo>
                    <a:cubicBezTo>
                      <a:pt x="38362" y="21824"/>
                      <a:pt x="38362" y="22307"/>
                      <a:pt x="38206" y="22322"/>
                    </a:cubicBezTo>
                    <a:lnTo>
                      <a:pt x="38316" y="22322"/>
                    </a:lnTo>
                    <a:lnTo>
                      <a:pt x="38316" y="22322"/>
                    </a:lnTo>
                    <a:cubicBezTo>
                      <a:pt x="38316" y="22322"/>
                      <a:pt x="38316" y="22416"/>
                      <a:pt x="38316" y="22447"/>
                    </a:cubicBezTo>
                    <a:cubicBezTo>
                      <a:pt x="38316" y="22478"/>
                      <a:pt x="38316" y="22541"/>
                      <a:pt x="38316" y="22447"/>
                    </a:cubicBezTo>
                    <a:cubicBezTo>
                      <a:pt x="38351" y="22594"/>
                      <a:pt x="38447" y="22719"/>
                      <a:pt x="38581" y="22790"/>
                    </a:cubicBezTo>
                    <a:cubicBezTo>
                      <a:pt x="38581" y="22790"/>
                      <a:pt x="38861" y="23086"/>
                      <a:pt x="38814" y="23242"/>
                    </a:cubicBezTo>
                    <a:lnTo>
                      <a:pt x="38814" y="23242"/>
                    </a:lnTo>
                    <a:cubicBezTo>
                      <a:pt x="39017" y="23460"/>
                      <a:pt x="39048" y="23881"/>
                      <a:pt x="39064" y="23398"/>
                    </a:cubicBezTo>
                    <a:cubicBezTo>
                      <a:pt x="39064" y="23273"/>
                      <a:pt x="39064" y="23086"/>
                      <a:pt x="39173" y="23258"/>
                    </a:cubicBezTo>
                    <a:cubicBezTo>
                      <a:pt x="39144" y="23402"/>
                      <a:pt x="39144" y="23550"/>
                      <a:pt x="39173" y="23694"/>
                    </a:cubicBezTo>
                    <a:cubicBezTo>
                      <a:pt x="39173" y="23694"/>
                      <a:pt x="39173" y="23866"/>
                      <a:pt x="39173" y="23788"/>
                    </a:cubicBezTo>
                    <a:lnTo>
                      <a:pt x="39173" y="23928"/>
                    </a:lnTo>
                    <a:cubicBezTo>
                      <a:pt x="39360" y="23757"/>
                      <a:pt x="39609" y="23928"/>
                      <a:pt x="39718" y="23679"/>
                    </a:cubicBezTo>
                    <a:lnTo>
                      <a:pt x="39718" y="23679"/>
                    </a:lnTo>
                    <a:cubicBezTo>
                      <a:pt x="39718" y="23445"/>
                      <a:pt x="39952" y="23227"/>
                      <a:pt x="39983" y="22977"/>
                    </a:cubicBezTo>
                    <a:lnTo>
                      <a:pt x="39983" y="22977"/>
                    </a:lnTo>
                    <a:cubicBezTo>
                      <a:pt x="39983" y="22977"/>
                      <a:pt x="39983" y="22821"/>
                      <a:pt x="39983" y="22884"/>
                    </a:cubicBezTo>
                    <a:cubicBezTo>
                      <a:pt x="39983" y="22946"/>
                      <a:pt x="39983" y="23195"/>
                      <a:pt x="39983" y="23149"/>
                    </a:cubicBezTo>
                    <a:cubicBezTo>
                      <a:pt x="39983" y="23460"/>
                      <a:pt x="40155" y="23850"/>
                      <a:pt x="40513" y="23679"/>
                    </a:cubicBezTo>
                    <a:cubicBezTo>
                      <a:pt x="40790" y="23996"/>
                      <a:pt x="40790" y="24468"/>
                      <a:pt x="40513" y="24785"/>
                    </a:cubicBezTo>
                    <a:cubicBezTo>
                      <a:pt x="40513" y="24598"/>
                      <a:pt x="40373" y="25191"/>
                      <a:pt x="40513" y="25300"/>
                    </a:cubicBezTo>
                    <a:cubicBezTo>
                      <a:pt x="40139" y="25300"/>
                      <a:pt x="40389" y="25674"/>
                      <a:pt x="40030" y="25752"/>
                    </a:cubicBezTo>
                    <a:cubicBezTo>
                      <a:pt x="40030" y="25861"/>
                      <a:pt x="40030" y="25954"/>
                      <a:pt x="40030" y="26064"/>
                    </a:cubicBezTo>
                    <a:cubicBezTo>
                      <a:pt x="39792" y="26098"/>
                      <a:pt x="39579" y="26227"/>
                      <a:pt x="39438" y="26422"/>
                    </a:cubicBezTo>
                    <a:cubicBezTo>
                      <a:pt x="39438" y="26749"/>
                      <a:pt x="38955" y="26859"/>
                      <a:pt x="38736" y="27014"/>
                    </a:cubicBezTo>
                    <a:cubicBezTo>
                      <a:pt x="38518" y="27170"/>
                      <a:pt x="38565" y="27264"/>
                      <a:pt x="38440" y="27217"/>
                    </a:cubicBezTo>
                    <a:cubicBezTo>
                      <a:pt x="38341" y="27402"/>
                      <a:pt x="38130" y="27497"/>
                      <a:pt x="37926" y="27451"/>
                    </a:cubicBezTo>
                    <a:cubicBezTo>
                      <a:pt x="37797" y="27641"/>
                      <a:pt x="37592" y="27766"/>
                      <a:pt x="37365" y="27794"/>
                    </a:cubicBezTo>
                    <a:cubicBezTo>
                      <a:pt x="37240" y="27513"/>
                      <a:pt x="37365" y="27139"/>
                      <a:pt x="37115" y="26890"/>
                    </a:cubicBezTo>
                    <a:cubicBezTo>
                      <a:pt x="37349" y="26329"/>
                      <a:pt x="36538" y="25596"/>
                      <a:pt x="36164" y="25144"/>
                    </a:cubicBezTo>
                    <a:cubicBezTo>
                      <a:pt x="36164" y="24770"/>
                      <a:pt x="36071" y="24131"/>
                      <a:pt x="35650" y="24146"/>
                    </a:cubicBezTo>
                    <a:cubicBezTo>
                      <a:pt x="35494" y="23414"/>
                      <a:pt x="34637" y="23024"/>
                      <a:pt x="34793" y="22463"/>
                    </a:cubicBezTo>
                    <a:cubicBezTo>
                      <a:pt x="34684" y="22665"/>
                      <a:pt x="34793" y="22915"/>
                      <a:pt x="34668" y="23086"/>
                    </a:cubicBezTo>
                    <a:cubicBezTo>
                      <a:pt x="34438" y="22899"/>
                      <a:pt x="34238" y="22679"/>
                      <a:pt x="34076" y="22432"/>
                    </a:cubicBezTo>
                    <a:cubicBezTo>
                      <a:pt x="34341" y="23024"/>
                      <a:pt x="34761" y="23616"/>
                      <a:pt x="35104" y="24224"/>
                    </a:cubicBezTo>
                    <a:lnTo>
                      <a:pt x="35104" y="24224"/>
                    </a:lnTo>
                    <a:cubicBezTo>
                      <a:pt x="35138" y="24273"/>
                      <a:pt x="35180" y="24316"/>
                      <a:pt x="35229" y="24349"/>
                    </a:cubicBezTo>
                    <a:cubicBezTo>
                      <a:pt x="35229" y="24349"/>
                      <a:pt x="35136" y="24349"/>
                      <a:pt x="35120" y="24349"/>
                    </a:cubicBezTo>
                    <a:cubicBezTo>
                      <a:pt x="35120" y="24801"/>
                      <a:pt x="35603" y="24785"/>
                      <a:pt x="35681" y="25253"/>
                    </a:cubicBezTo>
                    <a:cubicBezTo>
                      <a:pt x="35556" y="25253"/>
                      <a:pt x="35775" y="25580"/>
                      <a:pt x="35681" y="25752"/>
                    </a:cubicBezTo>
                    <a:cubicBezTo>
                      <a:pt x="35588" y="25923"/>
                      <a:pt x="35977" y="26064"/>
                      <a:pt x="36040" y="26219"/>
                    </a:cubicBezTo>
                    <a:cubicBezTo>
                      <a:pt x="36102" y="26375"/>
                      <a:pt x="36196" y="26827"/>
                      <a:pt x="36320" y="26968"/>
                    </a:cubicBezTo>
                    <a:cubicBezTo>
                      <a:pt x="36445" y="27108"/>
                      <a:pt x="36429" y="27233"/>
                      <a:pt x="36320" y="27046"/>
                    </a:cubicBezTo>
                    <a:cubicBezTo>
                      <a:pt x="36211" y="26859"/>
                      <a:pt x="36320" y="27264"/>
                      <a:pt x="36476" y="27170"/>
                    </a:cubicBezTo>
                    <a:cubicBezTo>
                      <a:pt x="36819" y="27170"/>
                      <a:pt x="36944" y="27763"/>
                      <a:pt x="37146" y="27794"/>
                    </a:cubicBezTo>
                    <a:cubicBezTo>
                      <a:pt x="37349" y="27825"/>
                      <a:pt x="37146" y="27903"/>
                      <a:pt x="37240" y="27903"/>
                    </a:cubicBezTo>
                    <a:cubicBezTo>
                      <a:pt x="37242" y="28033"/>
                      <a:pt x="37150" y="28145"/>
                      <a:pt x="37022" y="28168"/>
                    </a:cubicBezTo>
                    <a:cubicBezTo>
                      <a:pt x="37240" y="28168"/>
                      <a:pt x="37287" y="28464"/>
                      <a:pt x="37505" y="28542"/>
                    </a:cubicBezTo>
                    <a:cubicBezTo>
                      <a:pt x="37918" y="28320"/>
                      <a:pt x="38358" y="28152"/>
                      <a:pt x="38814" y="28043"/>
                    </a:cubicBezTo>
                    <a:cubicBezTo>
                      <a:pt x="38894" y="27982"/>
                      <a:pt x="38962" y="27909"/>
                      <a:pt x="39017" y="27825"/>
                    </a:cubicBezTo>
                    <a:cubicBezTo>
                      <a:pt x="39173" y="27825"/>
                      <a:pt x="39017" y="28152"/>
                      <a:pt x="39017" y="28324"/>
                    </a:cubicBezTo>
                    <a:cubicBezTo>
                      <a:pt x="39017" y="28495"/>
                      <a:pt x="39017" y="28324"/>
                      <a:pt x="39017" y="28324"/>
                    </a:cubicBezTo>
                    <a:cubicBezTo>
                      <a:pt x="38736" y="30475"/>
                      <a:pt x="35541" y="31753"/>
                      <a:pt x="35323" y="33608"/>
                    </a:cubicBezTo>
                    <a:cubicBezTo>
                      <a:pt x="35323" y="33608"/>
                      <a:pt x="35136" y="33764"/>
                      <a:pt x="35214" y="33858"/>
                    </a:cubicBezTo>
                    <a:cubicBezTo>
                      <a:pt x="35291" y="33951"/>
                      <a:pt x="35026" y="34372"/>
                      <a:pt x="35214" y="34497"/>
                    </a:cubicBezTo>
                    <a:cubicBezTo>
                      <a:pt x="35058" y="34855"/>
                      <a:pt x="34933" y="35385"/>
                      <a:pt x="34808" y="35619"/>
                    </a:cubicBezTo>
                    <a:cubicBezTo>
                      <a:pt x="34684" y="35853"/>
                      <a:pt x="34621" y="35728"/>
                      <a:pt x="34808" y="35713"/>
                    </a:cubicBezTo>
                    <a:cubicBezTo>
                      <a:pt x="34543" y="36102"/>
                      <a:pt x="34044" y="36212"/>
                      <a:pt x="33686" y="36477"/>
                    </a:cubicBezTo>
                    <a:lnTo>
                      <a:pt x="33686" y="36477"/>
                    </a:lnTo>
                    <a:cubicBezTo>
                      <a:pt x="33489" y="36693"/>
                      <a:pt x="33235" y="36850"/>
                      <a:pt x="32953" y="36929"/>
                    </a:cubicBezTo>
                    <a:cubicBezTo>
                      <a:pt x="32979" y="36983"/>
                      <a:pt x="32979" y="37046"/>
                      <a:pt x="32953" y="37100"/>
                    </a:cubicBezTo>
                    <a:cubicBezTo>
                      <a:pt x="32953" y="37100"/>
                      <a:pt x="32953" y="37209"/>
                      <a:pt x="32953" y="37240"/>
                    </a:cubicBezTo>
                    <a:cubicBezTo>
                      <a:pt x="32953" y="37272"/>
                      <a:pt x="32953" y="37474"/>
                      <a:pt x="32953" y="37568"/>
                    </a:cubicBezTo>
                    <a:cubicBezTo>
                      <a:pt x="32953" y="37661"/>
                      <a:pt x="32953" y="37490"/>
                      <a:pt x="32953" y="37474"/>
                    </a:cubicBezTo>
                    <a:lnTo>
                      <a:pt x="32953" y="37474"/>
                    </a:lnTo>
                    <a:lnTo>
                      <a:pt x="32953" y="37474"/>
                    </a:lnTo>
                    <a:cubicBezTo>
                      <a:pt x="32953" y="37614"/>
                      <a:pt x="32782" y="37724"/>
                      <a:pt x="32719" y="37848"/>
                    </a:cubicBezTo>
                    <a:lnTo>
                      <a:pt x="32719" y="37848"/>
                    </a:lnTo>
                    <a:cubicBezTo>
                      <a:pt x="32548" y="38222"/>
                      <a:pt x="31878" y="38113"/>
                      <a:pt x="31769" y="38472"/>
                    </a:cubicBezTo>
                    <a:lnTo>
                      <a:pt x="31878" y="38472"/>
                    </a:lnTo>
                    <a:cubicBezTo>
                      <a:pt x="31839" y="38544"/>
                      <a:pt x="31786" y="38608"/>
                      <a:pt x="31722" y="38659"/>
                    </a:cubicBezTo>
                    <a:lnTo>
                      <a:pt x="31722" y="38659"/>
                    </a:lnTo>
                    <a:cubicBezTo>
                      <a:pt x="31003" y="39409"/>
                      <a:pt x="30091" y="39948"/>
                      <a:pt x="29087" y="40218"/>
                    </a:cubicBezTo>
                    <a:cubicBezTo>
                      <a:pt x="28667" y="40077"/>
                      <a:pt x="28246" y="40342"/>
                      <a:pt x="27825" y="40311"/>
                    </a:cubicBezTo>
                    <a:cubicBezTo>
                      <a:pt x="27825" y="40233"/>
                      <a:pt x="27825" y="40311"/>
                      <a:pt x="27825" y="40311"/>
                    </a:cubicBezTo>
                    <a:cubicBezTo>
                      <a:pt x="27825" y="40311"/>
                      <a:pt x="27731" y="40233"/>
                      <a:pt x="27825" y="40311"/>
                    </a:cubicBezTo>
                    <a:cubicBezTo>
                      <a:pt x="27918" y="40389"/>
                      <a:pt x="27949" y="40140"/>
                      <a:pt x="27825" y="40015"/>
                    </a:cubicBezTo>
                    <a:cubicBezTo>
                      <a:pt x="28121" y="39875"/>
                      <a:pt x="27825" y="39485"/>
                      <a:pt x="27825" y="39204"/>
                    </a:cubicBezTo>
                    <a:cubicBezTo>
                      <a:pt x="27342" y="38472"/>
                      <a:pt x="27622" y="37381"/>
                      <a:pt x="27077" y="36570"/>
                    </a:cubicBezTo>
                    <a:cubicBezTo>
                      <a:pt x="27077" y="35728"/>
                      <a:pt x="28324" y="35354"/>
                      <a:pt x="27762" y="34528"/>
                    </a:cubicBezTo>
                    <a:cubicBezTo>
                      <a:pt x="28012" y="34341"/>
                      <a:pt x="27762" y="33967"/>
                      <a:pt x="27653" y="33764"/>
                    </a:cubicBezTo>
                    <a:lnTo>
                      <a:pt x="27747" y="33764"/>
                    </a:lnTo>
                    <a:cubicBezTo>
                      <a:pt x="27747" y="33764"/>
                      <a:pt x="27529" y="33764"/>
                      <a:pt x="27638" y="33624"/>
                    </a:cubicBezTo>
                    <a:cubicBezTo>
                      <a:pt x="27451" y="33078"/>
                      <a:pt x="26827" y="32891"/>
                      <a:pt x="26702" y="32314"/>
                    </a:cubicBezTo>
                    <a:cubicBezTo>
                      <a:pt x="26843" y="32314"/>
                      <a:pt x="26874" y="32205"/>
                      <a:pt x="26889" y="32034"/>
                    </a:cubicBezTo>
                    <a:cubicBezTo>
                      <a:pt x="26905" y="31862"/>
                      <a:pt x="27014" y="32034"/>
                      <a:pt x="27061" y="32034"/>
                    </a:cubicBezTo>
                    <a:cubicBezTo>
                      <a:pt x="26990" y="32037"/>
                      <a:pt x="26926" y="31992"/>
                      <a:pt x="26905" y="31925"/>
                    </a:cubicBezTo>
                    <a:cubicBezTo>
                      <a:pt x="27014" y="31925"/>
                      <a:pt x="26999" y="31816"/>
                      <a:pt x="26905" y="31800"/>
                    </a:cubicBezTo>
                    <a:cubicBezTo>
                      <a:pt x="27132" y="31576"/>
                      <a:pt x="27200" y="31237"/>
                      <a:pt x="27077" y="30943"/>
                    </a:cubicBezTo>
                    <a:cubicBezTo>
                      <a:pt x="26936" y="31036"/>
                      <a:pt x="26874" y="30943"/>
                      <a:pt x="26874" y="30771"/>
                    </a:cubicBezTo>
                    <a:cubicBezTo>
                      <a:pt x="26826" y="30817"/>
                      <a:pt x="26751" y="30817"/>
                      <a:pt x="26702" y="30771"/>
                    </a:cubicBezTo>
                    <a:cubicBezTo>
                      <a:pt x="26562" y="30943"/>
                      <a:pt x="26110" y="30927"/>
                      <a:pt x="25861" y="30896"/>
                    </a:cubicBezTo>
                    <a:cubicBezTo>
                      <a:pt x="25518" y="29774"/>
                      <a:pt x="24302" y="30428"/>
                      <a:pt x="23538" y="30693"/>
                    </a:cubicBezTo>
                    <a:cubicBezTo>
                      <a:pt x="21979" y="30226"/>
                      <a:pt x="21745" y="31301"/>
                      <a:pt x="20420" y="29664"/>
                    </a:cubicBezTo>
                    <a:cubicBezTo>
                      <a:pt x="20265" y="29664"/>
                      <a:pt x="20296" y="29431"/>
                      <a:pt x="20171" y="29368"/>
                    </a:cubicBezTo>
                    <a:cubicBezTo>
                      <a:pt x="20046" y="29306"/>
                      <a:pt x="20171" y="29259"/>
                      <a:pt x="20171" y="29166"/>
                    </a:cubicBezTo>
                    <a:cubicBezTo>
                      <a:pt x="20171" y="29072"/>
                      <a:pt x="19859" y="28947"/>
                      <a:pt x="19953" y="28885"/>
                    </a:cubicBezTo>
                    <a:cubicBezTo>
                      <a:pt x="19610" y="28885"/>
                      <a:pt x="19797" y="28573"/>
                      <a:pt x="19594" y="28620"/>
                    </a:cubicBezTo>
                    <a:cubicBezTo>
                      <a:pt x="19392" y="28667"/>
                      <a:pt x="19594" y="28542"/>
                      <a:pt x="19454" y="28542"/>
                    </a:cubicBezTo>
                    <a:lnTo>
                      <a:pt x="19454" y="28542"/>
                    </a:lnTo>
                    <a:lnTo>
                      <a:pt x="19454" y="28542"/>
                    </a:lnTo>
                    <a:cubicBezTo>
                      <a:pt x="19454" y="28542"/>
                      <a:pt x="19454" y="28542"/>
                      <a:pt x="19454" y="28449"/>
                    </a:cubicBezTo>
                    <a:cubicBezTo>
                      <a:pt x="19454" y="28355"/>
                      <a:pt x="19625" y="28449"/>
                      <a:pt x="19641" y="28449"/>
                    </a:cubicBezTo>
                    <a:cubicBezTo>
                      <a:pt x="19657" y="28449"/>
                      <a:pt x="19127" y="28449"/>
                      <a:pt x="19282" y="28277"/>
                    </a:cubicBezTo>
                    <a:cubicBezTo>
                      <a:pt x="19158" y="28277"/>
                      <a:pt x="19127" y="28277"/>
                      <a:pt x="19095" y="28121"/>
                    </a:cubicBezTo>
                    <a:cubicBezTo>
                      <a:pt x="19064" y="27965"/>
                      <a:pt x="19205" y="28121"/>
                      <a:pt x="19251" y="28121"/>
                    </a:cubicBezTo>
                    <a:cubicBezTo>
                      <a:pt x="19298" y="28121"/>
                      <a:pt x="19127" y="28121"/>
                      <a:pt x="19080" y="28121"/>
                    </a:cubicBezTo>
                    <a:cubicBezTo>
                      <a:pt x="19033" y="28121"/>
                      <a:pt x="19080" y="27997"/>
                      <a:pt x="19080" y="27934"/>
                    </a:cubicBezTo>
                    <a:cubicBezTo>
                      <a:pt x="19080" y="27872"/>
                      <a:pt x="19220" y="28074"/>
                      <a:pt x="19329" y="27934"/>
                    </a:cubicBezTo>
                    <a:cubicBezTo>
                      <a:pt x="19438" y="27794"/>
                      <a:pt x="19080" y="27856"/>
                      <a:pt x="19189" y="27794"/>
                    </a:cubicBezTo>
                    <a:lnTo>
                      <a:pt x="19189" y="27794"/>
                    </a:lnTo>
                    <a:cubicBezTo>
                      <a:pt x="19189" y="27794"/>
                      <a:pt x="19049" y="27560"/>
                      <a:pt x="18986" y="27498"/>
                    </a:cubicBezTo>
                    <a:cubicBezTo>
                      <a:pt x="19389" y="27087"/>
                      <a:pt x="19533" y="26488"/>
                      <a:pt x="19360" y="25939"/>
                    </a:cubicBezTo>
                    <a:cubicBezTo>
                      <a:pt x="19485" y="25939"/>
                      <a:pt x="19360" y="25767"/>
                      <a:pt x="19454" y="25736"/>
                    </a:cubicBezTo>
                    <a:cubicBezTo>
                      <a:pt x="19547" y="25705"/>
                      <a:pt x="19298" y="25643"/>
                      <a:pt x="19282" y="25534"/>
                    </a:cubicBezTo>
                    <a:lnTo>
                      <a:pt x="19282" y="25612"/>
                    </a:lnTo>
                    <a:cubicBezTo>
                      <a:pt x="19265" y="25345"/>
                      <a:pt x="19382" y="25087"/>
                      <a:pt x="19594" y="24926"/>
                    </a:cubicBezTo>
                    <a:cubicBezTo>
                      <a:pt x="19922" y="23866"/>
                      <a:pt x="20966" y="23445"/>
                      <a:pt x="21714" y="22728"/>
                    </a:cubicBezTo>
                    <a:cubicBezTo>
                      <a:pt x="21722" y="22582"/>
                      <a:pt x="21722" y="22437"/>
                      <a:pt x="21714" y="22291"/>
                    </a:cubicBezTo>
                    <a:cubicBezTo>
                      <a:pt x="21714" y="22120"/>
                      <a:pt x="22042" y="22042"/>
                      <a:pt x="21901" y="21855"/>
                    </a:cubicBezTo>
                    <a:cubicBezTo>
                      <a:pt x="22394" y="21610"/>
                      <a:pt x="22814" y="21239"/>
                      <a:pt x="23117" y="20779"/>
                    </a:cubicBezTo>
                    <a:cubicBezTo>
                      <a:pt x="23117" y="21091"/>
                      <a:pt x="23600" y="21075"/>
                      <a:pt x="23772" y="20966"/>
                    </a:cubicBezTo>
                    <a:cubicBezTo>
                      <a:pt x="24068" y="21325"/>
                      <a:pt x="24707" y="20717"/>
                      <a:pt x="25034" y="20623"/>
                    </a:cubicBezTo>
                    <a:cubicBezTo>
                      <a:pt x="25362" y="20530"/>
                      <a:pt x="26110" y="20623"/>
                      <a:pt x="26375" y="20499"/>
                    </a:cubicBezTo>
                    <a:cubicBezTo>
                      <a:pt x="26640" y="20374"/>
                      <a:pt x="26578" y="20717"/>
                      <a:pt x="26656" y="20499"/>
                    </a:cubicBezTo>
                    <a:cubicBezTo>
                      <a:pt x="26905" y="20717"/>
                      <a:pt x="27170" y="20374"/>
                      <a:pt x="27373" y="20499"/>
                    </a:cubicBezTo>
                    <a:cubicBezTo>
                      <a:pt x="27373" y="20327"/>
                      <a:pt x="27497" y="20623"/>
                      <a:pt x="27575" y="20670"/>
                    </a:cubicBezTo>
                    <a:cubicBezTo>
                      <a:pt x="27903" y="20343"/>
                      <a:pt x="27669" y="20748"/>
                      <a:pt x="27575" y="20888"/>
                    </a:cubicBezTo>
                    <a:cubicBezTo>
                      <a:pt x="28152" y="21278"/>
                      <a:pt x="27186" y="21434"/>
                      <a:pt x="27575" y="21699"/>
                    </a:cubicBezTo>
                    <a:cubicBezTo>
                      <a:pt x="27575" y="21699"/>
                      <a:pt x="27575" y="21699"/>
                      <a:pt x="27684" y="21699"/>
                    </a:cubicBezTo>
                    <a:cubicBezTo>
                      <a:pt x="27794" y="21699"/>
                      <a:pt x="27684" y="21621"/>
                      <a:pt x="27684" y="21699"/>
                    </a:cubicBezTo>
                    <a:cubicBezTo>
                      <a:pt x="27840" y="22073"/>
                      <a:pt x="28417" y="21792"/>
                      <a:pt x="28698" y="21995"/>
                    </a:cubicBezTo>
                    <a:cubicBezTo>
                      <a:pt x="31628" y="24022"/>
                      <a:pt x="29352" y="21387"/>
                      <a:pt x="31285" y="21995"/>
                    </a:cubicBezTo>
                    <a:cubicBezTo>
                      <a:pt x="31613" y="22307"/>
                      <a:pt x="32345" y="22213"/>
                      <a:pt x="32844" y="22416"/>
                    </a:cubicBezTo>
                    <a:cubicBezTo>
                      <a:pt x="33343" y="22619"/>
                      <a:pt x="33327" y="22322"/>
                      <a:pt x="33655" y="22229"/>
                    </a:cubicBezTo>
                    <a:cubicBezTo>
                      <a:pt x="33436" y="22307"/>
                      <a:pt x="33655" y="22229"/>
                      <a:pt x="33748" y="22229"/>
                    </a:cubicBezTo>
                    <a:cubicBezTo>
                      <a:pt x="33842" y="22229"/>
                      <a:pt x="33748" y="22229"/>
                      <a:pt x="33748" y="22229"/>
                    </a:cubicBezTo>
                    <a:cubicBezTo>
                      <a:pt x="33748" y="22229"/>
                      <a:pt x="33951" y="22229"/>
                      <a:pt x="33998" y="22229"/>
                    </a:cubicBezTo>
                    <a:cubicBezTo>
                      <a:pt x="34044" y="22229"/>
                      <a:pt x="34091" y="22338"/>
                      <a:pt x="34091" y="22385"/>
                    </a:cubicBezTo>
                    <a:cubicBezTo>
                      <a:pt x="34091" y="22432"/>
                      <a:pt x="34091" y="22291"/>
                      <a:pt x="34091" y="22229"/>
                    </a:cubicBezTo>
                    <a:cubicBezTo>
                      <a:pt x="35151" y="22587"/>
                      <a:pt x="34793" y="20670"/>
                      <a:pt x="34855" y="20312"/>
                    </a:cubicBezTo>
                    <a:cubicBezTo>
                      <a:pt x="34684" y="20452"/>
                      <a:pt x="34387" y="20312"/>
                      <a:pt x="34341" y="20561"/>
                    </a:cubicBezTo>
                    <a:cubicBezTo>
                      <a:pt x="34029" y="20919"/>
                      <a:pt x="33374" y="20062"/>
                      <a:pt x="33374" y="20561"/>
                    </a:cubicBezTo>
                    <a:cubicBezTo>
                      <a:pt x="33234" y="20561"/>
                      <a:pt x="32875" y="20717"/>
                      <a:pt x="32922" y="20452"/>
                    </a:cubicBezTo>
                    <a:cubicBezTo>
                      <a:pt x="32922" y="20452"/>
                      <a:pt x="32922" y="20452"/>
                      <a:pt x="32797" y="20452"/>
                    </a:cubicBezTo>
                    <a:cubicBezTo>
                      <a:pt x="32673" y="20452"/>
                      <a:pt x="32626" y="20592"/>
                      <a:pt x="32610" y="20452"/>
                    </a:cubicBezTo>
                    <a:lnTo>
                      <a:pt x="32423" y="20452"/>
                    </a:lnTo>
                    <a:cubicBezTo>
                      <a:pt x="32423" y="20374"/>
                      <a:pt x="32626" y="20452"/>
                      <a:pt x="32626" y="20327"/>
                    </a:cubicBezTo>
                    <a:cubicBezTo>
                      <a:pt x="32626" y="20202"/>
                      <a:pt x="32267" y="20421"/>
                      <a:pt x="32454" y="20327"/>
                    </a:cubicBezTo>
                    <a:cubicBezTo>
                      <a:pt x="32236" y="20187"/>
                      <a:pt x="32454" y="20062"/>
                      <a:pt x="32127" y="19984"/>
                    </a:cubicBezTo>
                    <a:cubicBezTo>
                      <a:pt x="31800" y="19906"/>
                      <a:pt x="32127" y="19859"/>
                      <a:pt x="32127" y="19813"/>
                    </a:cubicBezTo>
                    <a:cubicBezTo>
                      <a:pt x="32127" y="19766"/>
                      <a:pt x="32127" y="19922"/>
                      <a:pt x="32283" y="19813"/>
                    </a:cubicBezTo>
                    <a:lnTo>
                      <a:pt x="32283" y="19813"/>
                    </a:lnTo>
                    <a:cubicBezTo>
                      <a:pt x="32283" y="19813"/>
                      <a:pt x="32408" y="19813"/>
                      <a:pt x="32376" y="19688"/>
                    </a:cubicBezTo>
                    <a:cubicBezTo>
                      <a:pt x="32345" y="19563"/>
                      <a:pt x="32221" y="19532"/>
                      <a:pt x="32376" y="19501"/>
                    </a:cubicBezTo>
                    <a:cubicBezTo>
                      <a:pt x="31940" y="19657"/>
                      <a:pt x="32158" y="19002"/>
                      <a:pt x="32470" y="19220"/>
                    </a:cubicBezTo>
                    <a:cubicBezTo>
                      <a:pt x="32470" y="19096"/>
                      <a:pt x="32735" y="19220"/>
                      <a:pt x="32875" y="19220"/>
                    </a:cubicBezTo>
                    <a:cubicBezTo>
                      <a:pt x="32595" y="19111"/>
                      <a:pt x="33000" y="19127"/>
                      <a:pt x="33031" y="19049"/>
                    </a:cubicBezTo>
                    <a:cubicBezTo>
                      <a:pt x="32376" y="18846"/>
                      <a:pt x="33374" y="18940"/>
                      <a:pt x="33421" y="18862"/>
                    </a:cubicBezTo>
                    <a:cubicBezTo>
                      <a:pt x="33546" y="18519"/>
                      <a:pt x="34013" y="18566"/>
                      <a:pt x="34294" y="18488"/>
                    </a:cubicBezTo>
                    <a:cubicBezTo>
                      <a:pt x="34294" y="18644"/>
                      <a:pt x="34450" y="18659"/>
                      <a:pt x="34543" y="18488"/>
                    </a:cubicBezTo>
                    <a:cubicBezTo>
                      <a:pt x="34637" y="18316"/>
                      <a:pt x="34668" y="18753"/>
                      <a:pt x="34746" y="18628"/>
                    </a:cubicBezTo>
                    <a:cubicBezTo>
                      <a:pt x="36991" y="19080"/>
                      <a:pt x="35385" y="17537"/>
                      <a:pt x="34356" y="17287"/>
                    </a:cubicBezTo>
                    <a:cubicBezTo>
                      <a:pt x="34356" y="17287"/>
                      <a:pt x="34356" y="17287"/>
                      <a:pt x="34356" y="17163"/>
                    </a:cubicBezTo>
                    <a:cubicBezTo>
                      <a:pt x="34356" y="17038"/>
                      <a:pt x="34543" y="17163"/>
                      <a:pt x="34465" y="17054"/>
                    </a:cubicBezTo>
                    <a:cubicBezTo>
                      <a:pt x="34387" y="16944"/>
                      <a:pt x="34668" y="16913"/>
                      <a:pt x="34465" y="16835"/>
                    </a:cubicBezTo>
                    <a:cubicBezTo>
                      <a:pt x="34263" y="16757"/>
                      <a:pt x="34372" y="16835"/>
                      <a:pt x="34356" y="16742"/>
                    </a:cubicBezTo>
                    <a:cubicBezTo>
                      <a:pt x="34341" y="16648"/>
                      <a:pt x="34512" y="16742"/>
                      <a:pt x="34512" y="16742"/>
                    </a:cubicBezTo>
                    <a:cubicBezTo>
                      <a:pt x="34512" y="16742"/>
                      <a:pt x="34637" y="16617"/>
                      <a:pt x="34606" y="16539"/>
                    </a:cubicBezTo>
                    <a:cubicBezTo>
                      <a:pt x="34574" y="16461"/>
                      <a:pt x="34169" y="16539"/>
                      <a:pt x="34076" y="16789"/>
                    </a:cubicBezTo>
                    <a:cubicBezTo>
                      <a:pt x="34076" y="16789"/>
                      <a:pt x="33982" y="16867"/>
                      <a:pt x="33904" y="16789"/>
                    </a:cubicBezTo>
                    <a:cubicBezTo>
                      <a:pt x="33826" y="16711"/>
                      <a:pt x="33811" y="16789"/>
                      <a:pt x="33764" y="16789"/>
                    </a:cubicBezTo>
                    <a:cubicBezTo>
                      <a:pt x="33717" y="16789"/>
                      <a:pt x="33764" y="17038"/>
                      <a:pt x="33764" y="16976"/>
                    </a:cubicBezTo>
                    <a:cubicBezTo>
                      <a:pt x="33764" y="16913"/>
                      <a:pt x="33764" y="16867"/>
                      <a:pt x="33764" y="16851"/>
                    </a:cubicBezTo>
                    <a:cubicBezTo>
                      <a:pt x="33764" y="16835"/>
                      <a:pt x="33546" y="16991"/>
                      <a:pt x="33468" y="17054"/>
                    </a:cubicBezTo>
                    <a:cubicBezTo>
                      <a:pt x="33390" y="17116"/>
                      <a:pt x="33733" y="17054"/>
                      <a:pt x="33701" y="17194"/>
                    </a:cubicBezTo>
                    <a:cubicBezTo>
                      <a:pt x="33670" y="17334"/>
                      <a:pt x="33701" y="17194"/>
                      <a:pt x="33701" y="17194"/>
                    </a:cubicBezTo>
                    <a:cubicBezTo>
                      <a:pt x="33701" y="17194"/>
                      <a:pt x="33701" y="17303"/>
                      <a:pt x="33873" y="17287"/>
                    </a:cubicBezTo>
                    <a:cubicBezTo>
                      <a:pt x="34044" y="17272"/>
                      <a:pt x="33592" y="17085"/>
                      <a:pt x="33655" y="16976"/>
                    </a:cubicBezTo>
                    <a:cubicBezTo>
                      <a:pt x="33717" y="16867"/>
                      <a:pt x="33826" y="17225"/>
                      <a:pt x="33935" y="17256"/>
                    </a:cubicBezTo>
                    <a:cubicBezTo>
                      <a:pt x="34044" y="17287"/>
                      <a:pt x="33935" y="17256"/>
                      <a:pt x="34044" y="17256"/>
                    </a:cubicBezTo>
                    <a:cubicBezTo>
                      <a:pt x="34154" y="17256"/>
                      <a:pt x="34138" y="17178"/>
                      <a:pt x="34200" y="17178"/>
                    </a:cubicBezTo>
                    <a:cubicBezTo>
                      <a:pt x="34263" y="17178"/>
                      <a:pt x="34200" y="17381"/>
                      <a:pt x="33998" y="17334"/>
                    </a:cubicBezTo>
                    <a:cubicBezTo>
                      <a:pt x="33795" y="17287"/>
                      <a:pt x="33452" y="17833"/>
                      <a:pt x="33499" y="17334"/>
                    </a:cubicBezTo>
                    <a:cubicBezTo>
                      <a:pt x="33374" y="17225"/>
                      <a:pt x="33094" y="17334"/>
                      <a:pt x="33359" y="17116"/>
                    </a:cubicBezTo>
                    <a:cubicBezTo>
                      <a:pt x="33624" y="16898"/>
                      <a:pt x="33234" y="16882"/>
                      <a:pt x="33125" y="17007"/>
                    </a:cubicBezTo>
                    <a:cubicBezTo>
                      <a:pt x="33016" y="17132"/>
                      <a:pt x="32953" y="17007"/>
                      <a:pt x="33016" y="16898"/>
                    </a:cubicBezTo>
                    <a:cubicBezTo>
                      <a:pt x="33078" y="16789"/>
                      <a:pt x="32844" y="16898"/>
                      <a:pt x="32813" y="16898"/>
                    </a:cubicBezTo>
                    <a:cubicBezTo>
                      <a:pt x="32782" y="16898"/>
                      <a:pt x="33016" y="16898"/>
                      <a:pt x="33078" y="16898"/>
                    </a:cubicBezTo>
                    <a:cubicBezTo>
                      <a:pt x="33030" y="16943"/>
                      <a:pt x="32955" y="16943"/>
                      <a:pt x="32906" y="16898"/>
                    </a:cubicBezTo>
                    <a:cubicBezTo>
                      <a:pt x="32906" y="17054"/>
                      <a:pt x="32782" y="16898"/>
                      <a:pt x="32751" y="17007"/>
                    </a:cubicBezTo>
                    <a:cubicBezTo>
                      <a:pt x="32719" y="17116"/>
                      <a:pt x="32751" y="17178"/>
                      <a:pt x="32595" y="17194"/>
                    </a:cubicBezTo>
                    <a:cubicBezTo>
                      <a:pt x="32439" y="17209"/>
                      <a:pt x="32595" y="17443"/>
                      <a:pt x="32486" y="17319"/>
                    </a:cubicBezTo>
                    <a:cubicBezTo>
                      <a:pt x="32595" y="17599"/>
                      <a:pt x="32486" y="17615"/>
                      <a:pt x="32314" y="17786"/>
                    </a:cubicBezTo>
                    <a:cubicBezTo>
                      <a:pt x="32143" y="17958"/>
                      <a:pt x="32314" y="18020"/>
                      <a:pt x="32314" y="18145"/>
                    </a:cubicBezTo>
                    <a:cubicBezTo>
                      <a:pt x="32314" y="18269"/>
                      <a:pt x="32127" y="18238"/>
                      <a:pt x="32189" y="18379"/>
                    </a:cubicBezTo>
                    <a:cubicBezTo>
                      <a:pt x="32252" y="18519"/>
                      <a:pt x="32314" y="18550"/>
                      <a:pt x="32314" y="18784"/>
                    </a:cubicBezTo>
                    <a:cubicBezTo>
                      <a:pt x="32314" y="19018"/>
                      <a:pt x="32719" y="18909"/>
                      <a:pt x="32579" y="19049"/>
                    </a:cubicBezTo>
                    <a:cubicBezTo>
                      <a:pt x="32439" y="19189"/>
                      <a:pt x="32158" y="19189"/>
                      <a:pt x="31956" y="19361"/>
                    </a:cubicBezTo>
                    <a:cubicBezTo>
                      <a:pt x="31956" y="19267"/>
                      <a:pt x="31956" y="19220"/>
                      <a:pt x="32049" y="19189"/>
                    </a:cubicBezTo>
                    <a:cubicBezTo>
                      <a:pt x="31862" y="19189"/>
                      <a:pt x="31628" y="18955"/>
                      <a:pt x="31519" y="19189"/>
                    </a:cubicBezTo>
                    <a:cubicBezTo>
                      <a:pt x="31363" y="19189"/>
                      <a:pt x="31410" y="19189"/>
                      <a:pt x="31301" y="19267"/>
                    </a:cubicBezTo>
                    <a:cubicBezTo>
                      <a:pt x="31192" y="19345"/>
                      <a:pt x="31301" y="19361"/>
                      <a:pt x="31410" y="19407"/>
                    </a:cubicBezTo>
                    <a:cubicBezTo>
                      <a:pt x="31519" y="19454"/>
                      <a:pt x="31239" y="19329"/>
                      <a:pt x="31254" y="19407"/>
                    </a:cubicBezTo>
                    <a:cubicBezTo>
                      <a:pt x="31270" y="19485"/>
                      <a:pt x="31363" y="19407"/>
                      <a:pt x="31254" y="19485"/>
                    </a:cubicBezTo>
                    <a:cubicBezTo>
                      <a:pt x="31145" y="19563"/>
                      <a:pt x="31005" y="19376"/>
                      <a:pt x="31254" y="19485"/>
                    </a:cubicBezTo>
                    <a:cubicBezTo>
                      <a:pt x="31129" y="19485"/>
                      <a:pt x="31083" y="19361"/>
                      <a:pt x="31005" y="19314"/>
                    </a:cubicBezTo>
                    <a:cubicBezTo>
                      <a:pt x="30927" y="19267"/>
                      <a:pt x="30786" y="19423"/>
                      <a:pt x="31005" y="19532"/>
                    </a:cubicBezTo>
                    <a:cubicBezTo>
                      <a:pt x="31223" y="19641"/>
                      <a:pt x="31348" y="19953"/>
                      <a:pt x="31005" y="19719"/>
                    </a:cubicBezTo>
                    <a:cubicBezTo>
                      <a:pt x="31005" y="19719"/>
                      <a:pt x="31005" y="19719"/>
                      <a:pt x="31005" y="19719"/>
                    </a:cubicBezTo>
                    <a:cubicBezTo>
                      <a:pt x="31005" y="19719"/>
                      <a:pt x="31005" y="19828"/>
                      <a:pt x="31005" y="19813"/>
                    </a:cubicBezTo>
                    <a:cubicBezTo>
                      <a:pt x="31176" y="19937"/>
                      <a:pt x="31472" y="19984"/>
                      <a:pt x="31457" y="20234"/>
                    </a:cubicBezTo>
                    <a:cubicBezTo>
                      <a:pt x="31348" y="20234"/>
                      <a:pt x="31285" y="20124"/>
                      <a:pt x="31161" y="20234"/>
                    </a:cubicBezTo>
                    <a:cubicBezTo>
                      <a:pt x="31036" y="20343"/>
                      <a:pt x="31441" y="20452"/>
                      <a:pt x="31270" y="20389"/>
                    </a:cubicBezTo>
                    <a:cubicBezTo>
                      <a:pt x="31098" y="20327"/>
                      <a:pt x="31270" y="20389"/>
                      <a:pt x="31270" y="20389"/>
                    </a:cubicBezTo>
                    <a:cubicBezTo>
                      <a:pt x="31270" y="20389"/>
                      <a:pt x="31270" y="20608"/>
                      <a:pt x="31270" y="20670"/>
                    </a:cubicBezTo>
                    <a:cubicBezTo>
                      <a:pt x="31270" y="20732"/>
                      <a:pt x="31051" y="20499"/>
                      <a:pt x="31083" y="20670"/>
                    </a:cubicBezTo>
                    <a:cubicBezTo>
                      <a:pt x="31083" y="20530"/>
                      <a:pt x="30989" y="20545"/>
                      <a:pt x="30927" y="20436"/>
                    </a:cubicBezTo>
                    <a:cubicBezTo>
                      <a:pt x="30864" y="20327"/>
                      <a:pt x="30927" y="20514"/>
                      <a:pt x="30927" y="20561"/>
                    </a:cubicBezTo>
                    <a:cubicBezTo>
                      <a:pt x="30845" y="20514"/>
                      <a:pt x="30806" y="20417"/>
                      <a:pt x="30833" y="20327"/>
                    </a:cubicBezTo>
                    <a:cubicBezTo>
                      <a:pt x="30724" y="20234"/>
                      <a:pt x="30553" y="20171"/>
                      <a:pt x="30724" y="20047"/>
                    </a:cubicBezTo>
                    <a:cubicBezTo>
                      <a:pt x="30896" y="19922"/>
                      <a:pt x="31036" y="20202"/>
                      <a:pt x="31176" y="20047"/>
                    </a:cubicBezTo>
                    <a:cubicBezTo>
                      <a:pt x="31051" y="20047"/>
                      <a:pt x="30911" y="19891"/>
                      <a:pt x="30818" y="20047"/>
                    </a:cubicBezTo>
                    <a:cubicBezTo>
                      <a:pt x="30724" y="20202"/>
                      <a:pt x="30709" y="19937"/>
                      <a:pt x="30662" y="20047"/>
                    </a:cubicBezTo>
                    <a:cubicBezTo>
                      <a:pt x="30444" y="19828"/>
                      <a:pt x="30288" y="19485"/>
                      <a:pt x="30007" y="19345"/>
                    </a:cubicBezTo>
                    <a:cubicBezTo>
                      <a:pt x="30007" y="19174"/>
                      <a:pt x="30007" y="18987"/>
                      <a:pt x="30007" y="18815"/>
                    </a:cubicBezTo>
                    <a:cubicBezTo>
                      <a:pt x="29820" y="18815"/>
                      <a:pt x="29711" y="18566"/>
                      <a:pt x="29571" y="18441"/>
                    </a:cubicBezTo>
                    <a:cubicBezTo>
                      <a:pt x="29430" y="18316"/>
                      <a:pt x="29337" y="18441"/>
                      <a:pt x="29290" y="18441"/>
                    </a:cubicBezTo>
                    <a:cubicBezTo>
                      <a:pt x="29243" y="18441"/>
                      <a:pt x="29290" y="18441"/>
                      <a:pt x="29399" y="18441"/>
                    </a:cubicBezTo>
                    <a:cubicBezTo>
                      <a:pt x="29508" y="18441"/>
                      <a:pt x="29134" y="18207"/>
                      <a:pt x="28978" y="18269"/>
                    </a:cubicBezTo>
                    <a:cubicBezTo>
                      <a:pt x="28822" y="18332"/>
                      <a:pt x="28511" y="18004"/>
                      <a:pt x="28807" y="18020"/>
                    </a:cubicBezTo>
                    <a:cubicBezTo>
                      <a:pt x="28448" y="17802"/>
                      <a:pt x="28620" y="17365"/>
                      <a:pt x="28292" y="17817"/>
                    </a:cubicBezTo>
                    <a:cubicBezTo>
                      <a:pt x="28292" y="17724"/>
                      <a:pt x="28168" y="17615"/>
                      <a:pt x="28292" y="17521"/>
                    </a:cubicBezTo>
                    <a:cubicBezTo>
                      <a:pt x="28417" y="17428"/>
                      <a:pt x="27981" y="17521"/>
                      <a:pt x="27903" y="17630"/>
                    </a:cubicBezTo>
                    <a:cubicBezTo>
                      <a:pt x="27903" y="18098"/>
                      <a:pt x="28448" y="18394"/>
                      <a:pt x="28729" y="18768"/>
                    </a:cubicBezTo>
                    <a:cubicBezTo>
                      <a:pt x="28869" y="18768"/>
                      <a:pt x="29243" y="18768"/>
                      <a:pt x="29025" y="18955"/>
                    </a:cubicBezTo>
                    <a:cubicBezTo>
                      <a:pt x="29243" y="19080"/>
                      <a:pt x="29929" y="19205"/>
                      <a:pt x="29773" y="19548"/>
                    </a:cubicBezTo>
                    <a:cubicBezTo>
                      <a:pt x="29633" y="19548"/>
                      <a:pt x="29773" y="19314"/>
                      <a:pt x="29524" y="19361"/>
                    </a:cubicBezTo>
                    <a:cubicBezTo>
                      <a:pt x="29274" y="19407"/>
                      <a:pt x="29274" y="19548"/>
                      <a:pt x="29321" y="19626"/>
                    </a:cubicBezTo>
                    <a:cubicBezTo>
                      <a:pt x="29649" y="19719"/>
                      <a:pt x="29321" y="19906"/>
                      <a:pt x="29321" y="20093"/>
                    </a:cubicBezTo>
                    <a:cubicBezTo>
                      <a:pt x="29321" y="20280"/>
                      <a:pt x="28900" y="20343"/>
                      <a:pt x="29119" y="20093"/>
                    </a:cubicBezTo>
                    <a:cubicBezTo>
                      <a:pt x="29219" y="19835"/>
                      <a:pt x="29104" y="19543"/>
                      <a:pt x="28854" y="19423"/>
                    </a:cubicBezTo>
                    <a:cubicBezTo>
                      <a:pt x="28713" y="19423"/>
                      <a:pt x="28854" y="19314"/>
                      <a:pt x="28729" y="19267"/>
                    </a:cubicBezTo>
                    <a:cubicBezTo>
                      <a:pt x="28603" y="19264"/>
                      <a:pt x="28490" y="19192"/>
                      <a:pt x="28433" y="19080"/>
                    </a:cubicBezTo>
                    <a:cubicBezTo>
                      <a:pt x="27513" y="19080"/>
                      <a:pt x="27357" y="17225"/>
                      <a:pt x="26391" y="18347"/>
                    </a:cubicBezTo>
                    <a:cubicBezTo>
                      <a:pt x="26391" y="18534"/>
                      <a:pt x="26079" y="18347"/>
                      <a:pt x="25985" y="18254"/>
                    </a:cubicBezTo>
                    <a:cubicBezTo>
                      <a:pt x="25019" y="18145"/>
                      <a:pt x="25985" y="18987"/>
                      <a:pt x="24910" y="19142"/>
                    </a:cubicBezTo>
                    <a:cubicBezTo>
                      <a:pt x="24988" y="19142"/>
                      <a:pt x="24910" y="19298"/>
                      <a:pt x="24910" y="19252"/>
                    </a:cubicBezTo>
                    <a:cubicBezTo>
                      <a:pt x="24271" y="19750"/>
                      <a:pt x="24910" y="19719"/>
                      <a:pt x="24676" y="19969"/>
                    </a:cubicBezTo>
                    <a:cubicBezTo>
                      <a:pt x="24458" y="19969"/>
                      <a:pt x="24567" y="20374"/>
                      <a:pt x="24364" y="20327"/>
                    </a:cubicBezTo>
                    <a:cubicBezTo>
                      <a:pt x="23974" y="20748"/>
                      <a:pt x="23522" y="20327"/>
                      <a:pt x="23070" y="20779"/>
                    </a:cubicBezTo>
                    <a:cubicBezTo>
                      <a:pt x="22774" y="20779"/>
                      <a:pt x="22821" y="20140"/>
                      <a:pt x="22416" y="20421"/>
                    </a:cubicBezTo>
                    <a:cubicBezTo>
                      <a:pt x="22416" y="20421"/>
                      <a:pt x="22229" y="20296"/>
                      <a:pt x="22151" y="20421"/>
                    </a:cubicBezTo>
                    <a:cubicBezTo>
                      <a:pt x="22167" y="20247"/>
                      <a:pt x="22198" y="20075"/>
                      <a:pt x="22244" y="19906"/>
                    </a:cubicBezTo>
                    <a:cubicBezTo>
                      <a:pt x="21948" y="19906"/>
                      <a:pt x="22244" y="19906"/>
                      <a:pt x="22244" y="19750"/>
                    </a:cubicBezTo>
                    <a:cubicBezTo>
                      <a:pt x="21870" y="19984"/>
                      <a:pt x="22338" y="19329"/>
                      <a:pt x="22353" y="19189"/>
                    </a:cubicBezTo>
                    <a:cubicBezTo>
                      <a:pt x="22369" y="19049"/>
                      <a:pt x="22353" y="18690"/>
                      <a:pt x="22447" y="18566"/>
                    </a:cubicBezTo>
                    <a:lnTo>
                      <a:pt x="22447" y="18566"/>
                    </a:lnTo>
                    <a:cubicBezTo>
                      <a:pt x="22447" y="18566"/>
                      <a:pt x="22447" y="18566"/>
                      <a:pt x="22447" y="18457"/>
                    </a:cubicBezTo>
                    <a:cubicBezTo>
                      <a:pt x="22447" y="18347"/>
                      <a:pt x="22447" y="18457"/>
                      <a:pt x="22447" y="18363"/>
                    </a:cubicBezTo>
                    <a:cubicBezTo>
                      <a:pt x="22447" y="18269"/>
                      <a:pt x="22634" y="18238"/>
                      <a:pt x="22712" y="18192"/>
                    </a:cubicBezTo>
                    <a:cubicBezTo>
                      <a:pt x="22790" y="18145"/>
                      <a:pt x="23055" y="18192"/>
                      <a:pt x="23133" y="18192"/>
                    </a:cubicBezTo>
                    <a:cubicBezTo>
                      <a:pt x="23460" y="18192"/>
                      <a:pt x="23819" y="18347"/>
                      <a:pt x="24146" y="18269"/>
                    </a:cubicBezTo>
                    <a:cubicBezTo>
                      <a:pt x="24723" y="18722"/>
                      <a:pt x="24364" y="17163"/>
                      <a:pt x="24754" y="17755"/>
                    </a:cubicBezTo>
                    <a:cubicBezTo>
                      <a:pt x="24754" y="17662"/>
                      <a:pt x="24660" y="17521"/>
                      <a:pt x="24551" y="17506"/>
                    </a:cubicBezTo>
                    <a:cubicBezTo>
                      <a:pt x="24707" y="17303"/>
                      <a:pt x="24411" y="17256"/>
                      <a:pt x="24333" y="17116"/>
                    </a:cubicBezTo>
                    <a:cubicBezTo>
                      <a:pt x="24255" y="16976"/>
                      <a:pt x="24333" y="16898"/>
                      <a:pt x="24458" y="16991"/>
                    </a:cubicBezTo>
                    <a:cubicBezTo>
                      <a:pt x="24364" y="16851"/>
                      <a:pt x="24255" y="17085"/>
                      <a:pt x="24255" y="16835"/>
                    </a:cubicBezTo>
                    <a:cubicBezTo>
                      <a:pt x="24146" y="16835"/>
                      <a:pt x="23959" y="16648"/>
                      <a:pt x="23803" y="16757"/>
                    </a:cubicBezTo>
                    <a:cubicBezTo>
                      <a:pt x="23647" y="16867"/>
                      <a:pt x="23803" y="16757"/>
                      <a:pt x="23803" y="16648"/>
                    </a:cubicBezTo>
                    <a:cubicBezTo>
                      <a:pt x="23803" y="16539"/>
                      <a:pt x="23897" y="16508"/>
                      <a:pt x="23803" y="16648"/>
                    </a:cubicBezTo>
                    <a:cubicBezTo>
                      <a:pt x="23709" y="16789"/>
                      <a:pt x="23803" y="16648"/>
                      <a:pt x="23803" y="16648"/>
                    </a:cubicBezTo>
                    <a:cubicBezTo>
                      <a:pt x="23460" y="16539"/>
                      <a:pt x="23990" y="16524"/>
                      <a:pt x="24099" y="16446"/>
                    </a:cubicBezTo>
                    <a:cubicBezTo>
                      <a:pt x="24224" y="16602"/>
                      <a:pt x="24317" y="16446"/>
                      <a:pt x="24520" y="16555"/>
                    </a:cubicBezTo>
                    <a:cubicBezTo>
                      <a:pt x="24493" y="16422"/>
                      <a:pt x="24457" y="16292"/>
                      <a:pt x="24411" y="16165"/>
                    </a:cubicBezTo>
                    <a:cubicBezTo>
                      <a:pt x="24411" y="16165"/>
                      <a:pt x="24551" y="16165"/>
                      <a:pt x="24598" y="16165"/>
                    </a:cubicBezTo>
                    <a:cubicBezTo>
                      <a:pt x="24645" y="16165"/>
                      <a:pt x="24863" y="16337"/>
                      <a:pt x="24957" y="16165"/>
                    </a:cubicBezTo>
                    <a:cubicBezTo>
                      <a:pt x="24738" y="15994"/>
                      <a:pt x="25206" y="16072"/>
                      <a:pt x="25206" y="15978"/>
                    </a:cubicBezTo>
                    <a:cubicBezTo>
                      <a:pt x="25206" y="15884"/>
                      <a:pt x="25284" y="15775"/>
                      <a:pt x="25315" y="15682"/>
                    </a:cubicBezTo>
                    <a:cubicBezTo>
                      <a:pt x="25346" y="15588"/>
                      <a:pt x="25596" y="15417"/>
                      <a:pt x="25814" y="15542"/>
                    </a:cubicBezTo>
                    <a:cubicBezTo>
                      <a:pt x="25658" y="15542"/>
                      <a:pt x="25611" y="15354"/>
                      <a:pt x="25814" y="15542"/>
                    </a:cubicBezTo>
                    <a:cubicBezTo>
                      <a:pt x="26017" y="15729"/>
                      <a:pt x="25705" y="15432"/>
                      <a:pt x="25907" y="15448"/>
                    </a:cubicBezTo>
                    <a:cubicBezTo>
                      <a:pt x="25580" y="15214"/>
                      <a:pt x="26250" y="14622"/>
                      <a:pt x="26578" y="14918"/>
                    </a:cubicBezTo>
                    <a:cubicBezTo>
                      <a:pt x="26344" y="14747"/>
                      <a:pt x="26671" y="14622"/>
                      <a:pt x="26734" y="14918"/>
                    </a:cubicBezTo>
                    <a:cubicBezTo>
                      <a:pt x="26734" y="14700"/>
                      <a:pt x="26734" y="14918"/>
                      <a:pt x="26858" y="14918"/>
                    </a:cubicBezTo>
                    <a:cubicBezTo>
                      <a:pt x="26718" y="14544"/>
                      <a:pt x="26999" y="14731"/>
                      <a:pt x="27186" y="14793"/>
                    </a:cubicBezTo>
                    <a:cubicBezTo>
                      <a:pt x="26671" y="14559"/>
                      <a:pt x="26812" y="14061"/>
                      <a:pt x="26671" y="13718"/>
                    </a:cubicBezTo>
                    <a:cubicBezTo>
                      <a:pt x="26889" y="13718"/>
                      <a:pt x="26796" y="13577"/>
                      <a:pt x="26921" y="13718"/>
                    </a:cubicBezTo>
                    <a:cubicBezTo>
                      <a:pt x="26921" y="13281"/>
                      <a:pt x="27077" y="13718"/>
                      <a:pt x="27248" y="13718"/>
                    </a:cubicBezTo>
                    <a:cubicBezTo>
                      <a:pt x="27248" y="13952"/>
                      <a:pt x="26796" y="14092"/>
                      <a:pt x="27154" y="14528"/>
                    </a:cubicBezTo>
                    <a:cubicBezTo>
                      <a:pt x="27154" y="14419"/>
                      <a:pt x="27529" y="14528"/>
                      <a:pt x="27279" y="14606"/>
                    </a:cubicBezTo>
                    <a:cubicBezTo>
                      <a:pt x="27762" y="14606"/>
                      <a:pt x="27575" y="14310"/>
                      <a:pt x="28027" y="14606"/>
                    </a:cubicBezTo>
                    <a:cubicBezTo>
                      <a:pt x="28246" y="14949"/>
                      <a:pt x="28729" y="13936"/>
                      <a:pt x="29134" y="14310"/>
                    </a:cubicBezTo>
                    <a:cubicBezTo>
                      <a:pt x="28885" y="14310"/>
                      <a:pt x="29134" y="14559"/>
                      <a:pt x="29337" y="14310"/>
                    </a:cubicBezTo>
                    <a:cubicBezTo>
                      <a:pt x="29312" y="14365"/>
                      <a:pt x="29267" y="14410"/>
                      <a:pt x="29212" y="14435"/>
                    </a:cubicBezTo>
                    <a:cubicBezTo>
                      <a:pt x="30927" y="14357"/>
                      <a:pt x="28729" y="13858"/>
                      <a:pt x="29680" y="13157"/>
                    </a:cubicBezTo>
                    <a:cubicBezTo>
                      <a:pt x="30023" y="13687"/>
                      <a:pt x="30132" y="13328"/>
                      <a:pt x="29976" y="12907"/>
                    </a:cubicBezTo>
                    <a:cubicBezTo>
                      <a:pt x="29976" y="13094"/>
                      <a:pt x="29711" y="12907"/>
                      <a:pt x="29804" y="12767"/>
                    </a:cubicBezTo>
                    <a:cubicBezTo>
                      <a:pt x="29524" y="12767"/>
                      <a:pt x="29804" y="12486"/>
                      <a:pt x="29804" y="12424"/>
                    </a:cubicBezTo>
                    <a:cubicBezTo>
                      <a:pt x="29804" y="12362"/>
                      <a:pt x="30023" y="12424"/>
                      <a:pt x="29929" y="12424"/>
                    </a:cubicBezTo>
                    <a:lnTo>
                      <a:pt x="30506" y="12517"/>
                    </a:lnTo>
                    <a:cubicBezTo>
                      <a:pt x="30334" y="12252"/>
                      <a:pt x="30506" y="12424"/>
                      <a:pt x="30631" y="12221"/>
                    </a:cubicBezTo>
                    <a:cubicBezTo>
                      <a:pt x="30755" y="12019"/>
                      <a:pt x="30225" y="12128"/>
                      <a:pt x="30444" y="11972"/>
                    </a:cubicBezTo>
                    <a:cubicBezTo>
                      <a:pt x="30444" y="11972"/>
                      <a:pt x="30334" y="12065"/>
                      <a:pt x="30319" y="11972"/>
                    </a:cubicBezTo>
                    <a:cubicBezTo>
                      <a:pt x="30319" y="12112"/>
                      <a:pt x="30038" y="12128"/>
                      <a:pt x="29976" y="12081"/>
                    </a:cubicBezTo>
                    <a:cubicBezTo>
                      <a:pt x="29914" y="12034"/>
                      <a:pt x="29976" y="12081"/>
                      <a:pt x="29976" y="12081"/>
                    </a:cubicBezTo>
                    <a:cubicBezTo>
                      <a:pt x="29976" y="12081"/>
                      <a:pt x="29976" y="12299"/>
                      <a:pt x="29976" y="12081"/>
                    </a:cubicBezTo>
                    <a:cubicBezTo>
                      <a:pt x="29976" y="12206"/>
                      <a:pt x="29586" y="12221"/>
                      <a:pt x="29555" y="12362"/>
                    </a:cubicBezTo>
                    <a:cubicBezTo>
                      <a:pt x="29555" y="12081"/>
                      <a:pt x="29415" y="12174"/>
                      <a:pt x="29197" y="12034"/>
                    </a:cubicBezTo>
                    <a:cubicBezTo>
                      <a:pt x="28978" y="11894"/>
                      <a:pt x="28760" y="11021"/>
                      <a:pt x="28963" y="10943"/>
                    </a:cubicBezTo>
                    <a:cubicBezTo>
                      <a:pt x="29165" y="10865"/>
                      <a:pt x="28963" y="10865"/>
                      <a:pt x="29056" y="10943"/>
                    </a:cubicBezTo>
                    <a:cubicBezTo>
                      <a:pt x="29150" y="11021"/>
                      <a:pt x="29056" y="10818"/>
                      <a:pt x="29056" y="10725"/>
                    </a:cubicBezTo>
                    <a:cubicBezTo>
                      <a:pt x="29056" y="10631"/>
                      <a:pt x="29259" y="10304"/>
                      <a:pt x="29321" y="10397"/>
                    </a:cubicBezTo>
                    <a:cubicBezTo>
                      <a:pt x="29134" y="9992"/>
                      <a:pt x="28776" y="10117"/>
                      <a:pt x="28589" y="10148"/>
                    </a:cubicBezTo>
                    <a:cubicBezTo>
                      <a:pt x="28698" y="10304"/>
                      <a:pt x="28589" y="10507"/>
                      <a:pt x="28729" y="10631"/>
                    </a:cubicBezTo>
                    <a:cubicBezTo>
                      <a:pt x="28616" y="10941"/>
                      <a:pt x="28422" y="11216"/>
                      <a:pt x="28168" y="11426"/>
                    </a:cubicBezTo>
                    <a:cubicBezTo>
                      <a:pt x="28277" y="11504"/>
                      <a:pt x="28168" y="11660"/>
                      <a:pt x="28292" y="11769"/>
                    </a:cubicBezTo>
                    <a:cubicBezTo>
                      <a:pt x="28027" y="11909"/>
                      <a:pt x="29212" y="12704"/>
                      <a:pt x="28479" y="12517"/>
                    </a:cubicBezTo>
                    <a:cubicBezTo>
                      <a:pt x="28479" y="12517"/>
                      <a:pt x="28043" y="12517"/>
                      <a:pt x="28324" y="12627"/>
                    </a:cubicBezTo>
                    <a:cubicBezTo>
                      <a:pt x="28604" y="12736"/>
                      <a:pt x="28869" y="12814"/>
                      <a:pt x="28573" y="12751"/>
                    </a:cubicBezTo>
                    <a:cubicBezTo>
                      <a:pt x="28573" y="12751"/>
                      <a:pt x="28573" y="12938"/>
                      <a:pt x="28464" y="12876"/>
                    </a:cubicBezTo>
                    <a:cubicBezTo>
                      <a:pt x="28355" y="12814"/>
                      <a:pt x="28557" y="13001"/>
                      <a:pt x="28464" y="13016"/>
                    </a:cubicBezTo>
                    <a:cubicBezTo>
                      <a:pt x="28573" y="13016"/>
                      <a:pt x="28604" y="13250"/>
                      <a:pt x="28464" y="13172"/>
                    </a:cubicBezTo>
                    <a:cubicBezTo>
                      <a:pt x="28589" y="13422"/>
                      <a:pt x="28604" y="14076"/>
                      <a:pt x="28214" y="13827"/>
                    </a:cubicBezTo>
                    <a:cubicBezTo>
                      <a:pt x="27965" y="14793"/>
                      <a:pt x="27279" y="12845"/>
                      <a:pt x="27373" y="12751"/>
                    </a:cubicBezTo>
                    <a:cubicBezTo>
                      <a:pt x="27217" y="12658"/>
                      <a:pt x="27170" y="12564"/>
                      <a:pt x="27170" y="12533"/>
                    </a:cubicBezTo>
                    <a:cubicBezTo>
                      <a:pt x="27188" y="12620"/>
                      <a:pt x="27188" y="12711"/>
                      <a:pt x="27170" y="12798"/>
                    </a:cubicBezTo>
                    <a:cubicBezTo>
                      <a:pt x="27170" y="12798"/>
                      <a:pt x="27170" y="12798"/>
                      <a:pt x="26983" y="12673"/>
                    </a:cubicBezTo>
                    <a:cubicBezTo>
                      <a:pt x="26983" y="12814"/>
                      <a:pt x="26983" y="13032"/>
                      <a:pt x="26858" y="12969"/>
                    </a:cubicBezTo>
                    <a:cubicBezTo>
                      <a:pt x="26983" y="13125"/>
                      <a:pt x="26578" y="13234"/>
                      <a:pt x="26484" y="13094"/>
                    </a:cubicBezTo>
                    <a:cubicBezTo>
                      <a:pt x="26391" y="13203"/>
                      <a:pt x="26001" y="12751"/>
                      <a:pt x="26484" y="12798"/>
                    </a:cubicBezTo>
                    <a:cubicBezTo>
                      <a:pt x="26282" y="12798"/>
                      <a:pt x="26484" y="12704"/>
                      <a:pt x="26328" y="12595"/>
                    </a:cubicBezTo>
                    <a:cubicBezTo>
                      <a:pt x="26328" y="12876"/>
                      <a:pt x="26110" y="12424"/>
                      <a:pt x="26328" y="12595"/>
                    </a:cubicBezTo>
                    <a:cubicBezTo>
                      <a:pt x="26547" y="12767"/>
                      <a:pt x="26328" y="12595"/>
                      <a:pt x="26469" y="12502"/>
                    </a:cubicBezTo>
                    <a:cubicBezTo>
                      <a:pt x="26282" y="12502"/>
                      <a:pt x="26469" y="12206"/>
                      <a:pt x="26469" y="12393"/>
                    </a:cubicBezTo>
                    <a:cubicBezTo>
                      <a:pt x="26426" y="12350"/>
                      <a:pt x="26425" y="12281"/>
                      <a:pt x="26467" y="12238"/>
                    </a:cubicBezTo>
                    <a:cubicBezTo>
                      <a:pt x="26467" y="12238"/>
                      <a:pt x="26468" y="12237"/>
                      <a:pt x="26469" y="12237"/>
                    </a:cubicBezTo>
                    <a:cubicBezTo>
                      <a:pt x="26266" y="12315"/>
                      <a:pt x="26157" y="12455"/>
                      <a:pt x="26266" y="12237"/>
                    </a:cubicBezTo>
                    <a:cubicBezTo>
                      <a:pt x="26126" y="12237"/>
                      <a:pt x="26079" y="12315"/>
                      <a:pt x="26266" y="12143"/>
                    </a:cubicBezTo>
                    <a:cubicBezTo>
                      <a:pt x="25954" y="12019"/>
                      <a:pt x="26812" y="12237"/>
                      <a:pt x="26640" y="11941"/>
                    </a:cubicBezTo>
                    <a:cubicBezTo>
                      <a:pt x="26640" y="12097"/>
                      <a:pt x="25939" y="12065"/>
                      <a:pt x="26313" y="11941"/>
                    </a:cubicBezTo>
                    <a:cubicBezTo>
                      <a:pt x="26001" y="11941"/>
                      <a:pt x="26313" y="11832"/>
                      <a:pt x="26484" y="11816"/>
                    </a:cubicBezTo>
                    <a:cubicBezTo>
                      <a:pt x="26157" y="11816"/>
                      <a:pt x="26094" y="11644"/>
                      <a:pt x="26359" y="11722"/>
                    </a:cubicBezTo>
                    <a:cubicBezTo>
                      <a:pt x="26282" y="11722"/>
                      <a:pt x="26359" y="11598"/>
                      <a:pt x="26484" y="11722"/>
                    </a:cubicBezTo>
                    <a:lnTo>
                      <a:pt x="26484" y="11613"/>
                    </a:lnTo>
                    <a:cubicBezTo>
                      <a:pt x="26484" y="11613"/>
                      <a:pt x="26484" y="11613"/>
                      <a:pt x="26718" y="11613"/>
                    </a:cubicBezTo>
                    <a:cubicBezTo>
                      <a:pt x="26422" y="11613"/>
                      <a:pt x="26593" y="11426"/>
                      <a:pt x="26843" y="11613"/>
                    </a:cubicBezTo>
                    <a:cubicBezTo>
                      <a:pt x="26515" y="11348"/>
                      <a:pt x="26843" y="11613"/>
                      <a:pt x="26843" y="11504"/>
                    </a:cubicBezTo>
                    <a:cubicBezTo>
                      <a:pt x="26843" y="11395"/>
                      <a:pt x="27154" y="11083"/>
                      <a:pt x="27014" y="11504"/>
                    </a:cubicBezTo>
                    <a:cubicBezTo>
                      <a:pt x="27232" y="11379"/>
                      <a:pt x="27201" y="11379"/>
                      <a:pt x="27279" y="11161"/>
                    </a:cubicBezTo>
                    <a:cubicBezTo>
                      <a:pt x="27357" y="10943"/>
                      <a:pt x="27030" y="11629"/>
                      <a:pt x="27045" y="11270"/>
                    </a:cubicBezTo>
                    <a:cubicBezTo>
                      <a:pt x="26921" y="11364"/>
                      <a:pt x="27045" y="11037"/>
                      <a:pt x="27045" y="11068"/>
                    </a:cubicBezTo>
                    <a:cubicBezTo>
                      <a:pt x="27045" y="11099"/>
                      <a:pt x="27217" y="10896"/>
                      <a:pt x="27357" y="10678"/>
                    </a:cubicBezTo>
                    <a:cubicBezTo>
                      <a:pt x="27217" y="10787"/>
                      <a:pt x="27279" y="10460"/>
                      <a:pt x="27357" y="10538"/>
                    </a:cubicBezTo>
                    <a:cubicBezTo>
                      <a:pt x="27435" y="10616"/>
                      <a:pt x="27357" y="10382"/>
                      <a:pt x="27357" y="10460"/>
                    </a:cubicBezTo>
                    <a:cubicBezTo>
                      <a:pt x="27264" y="10273"/>
                      <a:pt x="27357" y="10382"/>
                      <a:pt x="27357" y="10288"/>
                    </a:cubicBezTo>
                    <a:cubicBezTo>
                      <a:pt x="27170" y="10288"/>
                      <a:pt x="27357" y="10195"/>
                      <a:pt x="27248" y="10117"/>
                    </a:cubicBezTo>
                    <a:cubicBezTo>
                      <a:pt x="27139" y="10039"/>
                      <a:pt x="27248" y="9821"/>
                      <a:pt x="27529" y="9961"/>
                    </a:cubicBezTo>
                    <a:cubicBezTo>
                      <a:pt x="27388" y="9883"/>
                      <a:pt x="27326" y="9743"/>
                      <a:pt x="27529" y="9836"/>
                    </a:cubicBezTo>
                    <a:cubicBezTo>
                      <a:pt x="27731" y="9930"/>
                      <a:pt x="27373" y="9711"/>
                      <a:pt x="27529" y="9696"/>
                    </a:cubicBezTo>
                    <a:cubicBezTo>
                      <a:pt x="27264" y="9696"/>
                      <a:pt x="27529" y="9696"/>
                      <a:pt x="27529" y="9509"/>
                    </a:cubicBezTo>
                    <a:cubicBezTo>
                      <a:pt x="27700" y="9509"/>
                      <a:pt x="27669" y="9509"/>
                      <a:pt x="27684" y="9509"/>
                    </a:cubicBezTo>
                    <a:cubicBezTo>
                      <a:pt x="28059" y="9587"/>
                      <a:pt x="27419" y="9369"/>
                      <a:pt x="27684" y="9369"/>
                    </a:cubicBezTo>
                    <a:cubicBezTo>
                      <a:pt x="27684" y="9369"/>
                      <a:pt x="27684" y="9275"/>
                      <a:pt x="27684" y="9275"/>
                    </a:cubicBezTo>
                    <a:cubicBezTo>
                      <a:pt x="27684" y="9275"/>
                      <a:pt x="27684" y="8994"/>
                      <a:pt x="27778" y="9182"/>
                    </a:cubicBezTo>
                    <a:cubicBezTo>
                      <a:pt x="27872" y="9369"/>
                      <a:pt x="27778" y="9182"/>
                      <a:pt x="27778" y="9182"/>
                    </a:cubicBezTo>
                    <a:cubicBezTo>
                      <a:pt x="27575" y="9057"/>
                      <a:pt x="27778" y="9088"/>
                      <a:pt x="27778" y="9182"/>
                    </a:cubicBezTo>
                    <a:cubicBezTo>
                      <a:pt x="27778" y="9275"/>
                      <a:pt x="27778" y="8870"/>
                      <a:pt x="27778" y="9182"/>
                    </a:cubicBezTo>
                    <a:cubicBezTo>
                      <a:pt x="27778" y="8776"/>
                      <a:pt x="27778" y="9291"/>
                      <a:pt x="27949" y="9182"/>
                    </a:cubicBezTo>
                    <a:cubicBezTo>
                      <a:pt x="27778" y="8870"/>
                      <a:pt x="28152" y="9182"/>
                      <a:pt x="27949" y="8839"/>
                    </a:cubicBezTo>
                    <a:cubicBezTo>
                      <a:pt x="28043" y="8839"/>
                      <a:pt x="28168" y="8994"/>
                      <a:pt x="28246" y="8979"/>
                    </a:cubicBezTo>
                    <a:cubicBezTo>
                      <a:pt x="28324" y="8963"/>
                      <a:pt x="28246" y="8714"/>
                      <a:pt x="28246" y="8729"/>
                    </a:cubicBezTo>
                    <a:cubicBezTo>
                      <a:pt x="28246" y="8745"/>
                      <a:pt x="28105" y="8589"/>
                      <a:pt x="28246" y="8729"/>
                    </a:cubicBezTo>
                    <a:cubicBezTo>
                      <a:pt x="28386" y="8870"/>
                      <a:pt x="28246" y="8620"/>
                      <a:pt x="28246" y="8729"/>
                    </a:cubicBezTo>
                    <a:cubicBezTo>
                      <a:pt x="28355" y="8574"/>
                      <a:pt x="28386" y="9462"/>
                      <a:pt x="28370" y="8729"/>
                    </a:cubicBezTo>
                    <a:cubicBezTo>
                      <a:pt x="28620" y="9197"/>
                      <a:pt x="28370" y="8636"/>
                      <a:pt x="28542" y="8620"/>
                    </a:cubicBezTo>
                    <a:cubicBezTo>
                      <a:pt x="28713" y="8605"/>
                      <a:pt x="28542" y="8761"/>
                      <a:pt x="28635" y="8932"/>
                    </a:cubicBezTo>
                    <a:cubicBezTo>
                      <a:pt x="28729" y="9104"/>
                      <a:pt x="28713" y="8932"/>
                      <a:pt x="28744" y="8932"/>
                    </a:cubicBezTo>
                    <a:cubicBezTo>
                      <a:pt x="28589" y="8620"/>
                      <a:pt x="28916" y="8792"/>
                      <a:pt x="28900" y="8932"/>
                    </a:cubicBezTo>
                    <a:cubicBezTo>
                      <a:pt x="29197" y="8932"/>
                      <a:pt x="29087" y="9197"/>
                      <a:pt x="28807" y="9104"/>
                    </a:cubicBezTo>
                    <a:cubicBezTo>
                      <a:pt x="28900" y="9104"/>
                      <a:pt x="28994" y="9104"/>
                      <a:pt x="29041" y="9275"/>
                    </a:cubicBezTo>
                    <a:cubicBezTo>
                      <a:pt x="29087" y="9446"/>
                      <a:pt x="29150" y="9150"/>
                      <a:pt x="29290" y="9275"/>
                    </a:cubicBezTo>
                    <a:cubicBezTo>
                      <a:pt x="29290" y="9166"/>
                      <a:pt x="29290" y="9182"/>
                      <a:pt x="29290" y="9119"/>
                    </a:cubicBezTo>
                    <a:cubicBezTo>
                      <a:pt x="29290" y="9057"/>
                      <a:pt x="29633" y="9353"/>
                      <a:pt x="29384" y="9119"/>
                    </a:cubicBezTo>
                    <a:cubicBezTo>
                      <a:pt x="29384" y="9291"/>
                      <a:pt x="29555" y="9119"/>
                      <a:pt x="29571" y="9275"/>
                    </a:cubicBezTo>
                    <a:cubicBezTo>
                      <a:pt x="29586" y="9431"/>
                      <a:pt x="30147" y="9275"/>
                      <a:pt x="30568" y="9556"/>
                    </a:cubicBezTo>
                    <a:cubicBezTo>
                      <a:pt x="30459" y="9431"/>
                      <a:pt x="30896" y="9743"/>
                      <a:pt x="30677" y="9556"/>
                    </a:cubicBezTo>
                    <a:cubicBezTo>
                      <a:pt x="31488" y="9836"/>
                      <a:pt x="31410" y="10756"/>
                      <a:pt x="30490" y="10304"/>
                    </a:cubicBezTo>
                    <a:cubicBezTo>
                      <a:pt x="30381" y="10304"/>
                      <a:pt x="30381" y="10304"/>
                      <a:pt x="30334" y="10304"/>
                    </a:cubicBezTo>
                    <a:cubicBezTo>
                      <a:pt x="30288" y="10304"/>
                      <a:pt x="29867" y="10070"/>
                      <a:pt x="30007" y="10304"/>
                    </a:cubicBezTo>
                    <a:cubicBezTo>
                      <a:pt x="30147" y="10538"/>
                      <a:pt x="30366" y="10429"/>
                      <a:pt x="30272" y="10584"/>
                    </a:cubicBezTo>
                    <a:cubicBezTo>
                      <a:pt x="30521" y="10584"/>
                      <a:pt x="31613" y="12050"/>
                      <a:pt x="31379" y="11192"/>
                    </a:cubicBezTo>
                    <a:cubicBezTo>
                      <a:pt x="31207" y="11348"/>
                      <a:pt x="30958" y="10943"/>
                      <a:pt x="31083" y="10896"/>
                    </a:cubicBezTo>
                    <a:cubicBezTo>
                      <a:pt x="32392" y="11722"/>
                      <a:pt x="30833" y="10117"/>
                      <a:pt x="31737" y="10413"/>
                    </a:cubicBezTo>
                    <a:cubicBezTo>
                      <a:pt x="31737" y="10288"/>
                      <a:pt x="31846" y="10413"/>
                      <a:pt x="31893" y="10413"/>
                    </a:cubicBezTo>
                    <a:cubicBezTo>
                      <a:pt x="31668" y="10019"/>
                      <a:pt x="31372" y="9671"/>
                      <a:pt x="31020" y="9384"/>
                    </a:cubicBezTo>
                    <a:cubicBezTo>
                      <a:pt x="31301" y="9384"/>
                      <a:pt x="31737" y="9478"/>
                      <a:pt x="31581" y="9758"/>
                    </a:cubicBezTo>
                    <a:cubicBezTo>
                      <a:pt x="31940" y="10304"/>
                      <a:pt x="32080" y="9758"/>
                      <a:pt x="31893" y="9556"/>
                    </a:cubicBezTo>
                    <a:cubicBezTo>
                      <a:pt x="32049" y="9556"/>
                      <a:pt x="31893" y="9026"/>
                      <a:pt x="32127" y="9337"/>
                    </a:cubicBezTo>
                    <a:cubicBezTo>
                      <a:pt x="32127" y="9244"/>
                      <a:pt x="31924" y="9057"/>
                      <a:pt x="32127" y="9213"/>
                    </a:cubicBezTo>
                    <a:cubicBezTo>
                      <a:pt x="31971" y="8807"/>
                      <a:pt x="32236" y="9213"/>
                      <a:pt x="32423" y="9353"/>
                    </a:cubicBezTo>
                    <a:cubicBezTo>
                      <a:pt x="32423" y="9259"/>
                      <a:pt x="32423" y="9228"/>
                      <a:pt x="32423" y="9353"/>
                    </a:cubicBezTo>
                    <a:cubicBezTo>
                      <a:pt x="32221" y="9119"/>
                      <a:pt x="32564" y="9197"/>
                      <a:pt x="32517" y="8932"/>
                    </a:cubicBezTo>
                    <a:cubicBezTo>
                      <a:pt x="32626" y="9072"/>
                      <a:pt x="32953" y="9322"/>
                      <a:pt x="32688" y="9026"/>
                    </a:cubicBezTo>
                    <a:cubicBezTo>
                      <a:pt x="32844" y="9026"/>
                      <a:pt x="32595" y="8885"/>
                      <a:pt x="32782" y="9026"/>
                    </a:cubicBezTo>
                    <a:cubicBezTo>
                      <a:pt x="32702" y="8968"/>
                      <a:pt x="32619" y="8916"/>
                      <a:pt x="32532" y="8870"/>
                    </a:cubicBezTo>
                    <a:lnTo>
                      <a:pt x="32532" y="8870"/>
                    </a:lnTo>
                    <a:cubicBezTo>
                      <a:pt x="31815" y="8309"/>
                      <a:pt x="33203" y="8729"/>
                      <a:pt x="33561" y="8979"/>
                    </a:cubicBezTo>
                    <a:cubicBezTo>
                      <a:pt x="33390" y="8729"/>
                      <a:pt x="33140" y="8683"/>
                      <a:pt x="32906" y="8496"/>
                    </a:cubicBezTo>
                    <a:lnTo>
                      <a:pt x="32906" y="8496"/>
                    </a:lnTo>
                    <a:cubicBezTo>
                      <a:pt x="32906" y="8496"/>
                      <a:pt x="32906" y="8496"/>
                      <a:pt x="32797" y="8496"/>
                    </a:cubicBezTo>
                    <a:lnTo>
                      <a:pt x="32797" y="8496"/>
                    </a:lnTo>
                    <a:lnTo>
                      <a:pt x="32564" y="8309"/>
                    </a:lnTo>
                    <a:cubicBezTo>
                      <a:pt x="32688" y="8309"/>
                      <a:pt x="32330" y="8153"/>
                      <a:pt x="32423" y="8153"/>
                    </a:cubicBezTo>
                    <a:cubicBezTo>
                      <a:pt x="32221" y="8059"/>
                      <a:pt x="31176" y="7186"/>
                      <a:pt x="31394" y="7155"/>
                    </a:cubicBezTo>
                    <a:cubicBezTo>
                      <a:pt x="32158" y="7436"/>
                      <a:pt x="32953" y="8246"/>
                      <a:pt x="33701" y="8714"/>
                    </a:cubicBezTo>
                    <a:lnTo>
                      <a:pt x="33701" y="8714"/>
                    </a:lnTo>
                    <a:cubicBezTo>
                      <a:pt x="33931" y="8894"/>
                      <a:pt x="34135" y="9103"/>
                      <a:pt x="34309" y="9337"/>
                    </a:cubicBezTo>
                    <a:lnTo>
                      <a:pt x="34309" y="9337"/>
                    </a:lnTo>
                    <a:cubicBezTo>
                      <a:pt x="34481" y="9446"/>
                      <a:pt x="34465" y="9602"/>
                      <a:pt x="34309" y="9337"/>
                    </a:cubicBezTo>
                    <a:cubicBezTo>
                      <a:pt x="34309" y="9337"/>
                      <a:pt x="34013" y="9337"/>
                      <a:pt x="34216" y="9462"/>
                    </a:cubicBezTo>
                    <a:cubicBezTo>
                      <a:pt x="35338" y="9711"/>
                      <a:pt x="33811" y="8729"/>
                      <a:pt x="33670" y="8418"/>
                    </a:cubicBezTo>
                    <a:cubicBezTo>
                      <a:pt x="33670" y="8418"/>
                      <a:pt x="33670" y="8418"/>
                      <a:pt x="33670" y="8418"/>
                    </a:cubicBezTo>
                    <a:cubicBezTo>
                      <a:pt x="32928" y="8092"/>
                      <a:pt x="32240" y="7655"/>
                      <a:pt x="31628" y="7124"/>
                    </a:cubicBezTo>
                    <a:cubicBezTo>
                      <a:pt x="31971" y="7280"/>
                      <a:pt x="32283" y="7623"/>
                      <a:pt x="32610" y="7669"/>
                    </a:cubicBezTo>
                    <a:cubicBezTo>
                      <a:pt x="32486" y="7498"/>
                      <a:pt x="32860" y="7779"/>
                      <a:pt x="32766" y="7669"/>
                    </a:cubicBezTo>
                    <a:cubicBezTo>
                      <a:pt x="32514" y="7656"/>
                      <a:pt x="32275" y="7551"/>
                      <a:pt x="32096" y="7373"/>
                    </a:cubicBezTo>
                    <a:cubicBezTo>
                      <a:pt x="32423" y="7514"/>
                      <a:pt x="32096" y="7373"/>
                      <a:pt x="32096" y="7295"/>
                    </a:cubicBezTo>
                    <a:lnTo>
                      <a:pt x="32096" y="7295"/>
                    </a:lnTo>
                    <a:cubicBezTo>
                      <a:pt x="31659" y="6765"/>
                      <a:pt x="33655" y="8059"/>
                      <a:pt x="33000" y="7560"/>
                    </a:cubicBezTo>
                    <a:cubicBezTo>
                      <a:pt x="33249" y="7742"/>
                      <a:pt x="33522" y="7889"/>
                      <a:pt x="33811" y="7997"/>
                    </a:cubicBezTo>
                    <a:cubicBezTo>
                      <a:pt x="33530" y="7810"/>
                      <a:pt x="33811" y="7888"/>
                      <a:pt x="33966" y="7997"/>
                    </a:cubicBezTo>
                    <a:cubicBezTo>
                      <a:pt x="33873" y="7903"/>
                      <a:pt x="33608" y="7794"/>
                      <a:pt x="33670" y="7903"/>
                    </a:cubicBezTo>
                    <a:cubicBezTo>
                      <a:pt x="33187" y="7685"/>
                      <a:pt x="32688" y="7311"/>
                      <a:pt x="32111" y="7077"/>
                    </a:cubicBezTo>
                    <a:cubicBezTo>
                      <a:pt x="31956" y="7077"/>
                      <a:pt x="31223" y="6719"/>
                      <a:pt x="31332" y="6563"/>
                    </a:cubicBezTo>
                    <a:cubicBezTo>
                      <a:pt x="31114" y="6282"/>
                      <a:pt x="31488" y="6656"/>
                      <a:pt x="31628" y="6641"/>
                    </a:cubicBezTo>
                    <a:cubicBezTo>
                      <a:pt x="31426" y="6641"/>
                      <a:pt x="31301" y="6391"/>
                      <a:pt x="31098" y="6360"/>
                    </a:cubicBezTo>
                    <a:cubicBezTo>
                      <a:pt x="30896" y="6329"/>
                      <a:pt x="30911" y="6360"/>
                      <a:pt x="30880" y="6282"/>
                    </a:cubicBezTo>
                    <a:cubicBezTo>
                      <a:pt x="30849" y="6204"/>
                      <a:pt x="30974" y="6282"/>
                      <a:pt x="30880" y="6282"/>
                    </a:cubicBezTo>
                    <a:cubicBezTo>
                      <a:pt x="30786" y="6282"/>
                      <a:pt x="30709" y="6204"/>
                      <a:pt x="30740" y="6282"/>
                    </a:cubicBezTo>
                    <a:cubicBezTo>
                      <a:pt x="30771" y="6360"/>
                      <a:pt x="30568" y="6173"/>
                      <a:pt x="30740" y="6282"/>
                    </a:cubicBezTo>
                    <a:lnTo>
                      <a:pt x="30506" y="6142"/>
                    </a:lnTo>
                    <a:cubicBezTo>
                      <a:pt x="30506" y="6142"/>
                      <a:pt x="30506" y="6142"/>
                      <a:pt x="30506" y="6142"/>
                    </a:cubicBezTo>
                    <a:lnTo>
                      <a:pt x="30101" y="5861"/>
                    </a:lnTo>
                    <a:lnTo>
                      <a:pt x="30101" y="5861"/>
                    </a:lnTo>
                    <a:cubicBezTo>
                      <a:pt x="30026" y="5804"/>
                      <a:pt x="29948" y="5752"/>
                      <a:pt x="29867" y="5705"/>
                    </a:cubicBezTo>
                    <a:lnTo>
                      <a:pt x="29867" y="5705"/>
                    </a:lnTo>
                    <a:lnTo>
                      <a:pt x="29867" y="5705"/>
                    </a:lnTo>
                    <a:lnTo>
                      <a:pt x="29867" y="5705"/>
                    </a:lnTo>
                    <a:lnTo>
                      <a:pt x="29664" y="5612"/>
                    </a:lnTo>
                    <a:lnTo>
                      <a:pt x="29664" y="5612"/>
                    </a:lnTo>
                    <a:cubicBezTo>
                      <a:pt x="29664" y="5612"/>
                      <a:pt x="29508" y="5612"/>
                      <a:pt x="29664" y="5612"/>
                    </a:cubicBezTo>
                    <a:lnTo>
                      <a:pt x="29664" y="5612"/>
                    </a:lnTo>
                    <a:lnTo>
                      <a:pt x="29664" y="5612"/>
                    </a:lnTo>
                    <a:lnTo>
                      <a:pt x="29914" y="5705"/>
                    </a:lnTo>
                    <a:lnTo>
                      <a:pt x="29711" y="5612"/>
                    </a:lnTo>
                    <a:lnTo>
                      <a:pt x="29851" y="5612"/>
                    </a:lnTo>
                    <a:lnTo>
                      <a:pt x="29773" y="5612"/>
                    </a:lnTo>
                    <a:cubicBezTo>
                      <a:pt x="29732" y="5603"/>
                      <a:pt x="29690" y="5603"/>
                      <a:pt x="29649" y="5612"/>
                    </a:cubicBezTo>
                    <a:lnTo>
                      <a:pt x="29649" y="5612"/>
                    </a:lnTo>
                    <a:cubicBezTo>
                      <a:pt x="29607" y="5620"/>
                      <a:pt x="29565" y="5620"/>
                      <a:pt x="29524" y="5612"/>
                    </a:cubicBezTo>
                    <a:lnTo>
                      <a:pt x="29836" y="5721"/>
                    </a:lnTo>
                    <a:cubicBezTo>
                      <a:pt x="29722" y="5665"/>
                      <a:pt x="29601" y="5623"/>
                      <a:pt x="29477" y="5596"/>
                    </a:cubicBezTo>
                    <a:lnTo>
                      <a:pt x="29477" y="5596"/>
                    </a:lnTo>
                    <a:cubicBezTo>
                      <a:pt x="29477" y="5596"/>
                      <a:pt x="29306" y="5596"/>
                      <a:pt x="29352" y="5596"/>
                    </a:cubicBezTo>
                    <a:cubicBezTo>
                      <a:pt x="29399" y="5596"/>
                      <a:pt x="29352" y="5596"/>
                      <a:pt x="29352" y="5596"/>
                    </a:cubicBezTo>
                    <a:lnTo>
                      <a:pt x="29352" y="5596"/>
                    </a:lnTo>
                    <a:lnTo>
                      <a:pt x="29228" y="5596"/>
                    </a:lnTo>
                    <a:lnTo>
                      <a:pt x="29228" y="5596"/>
                    </a:lnTo>
                    <a:lnTo>
                      <a:pt x="28807" y="5471"/>
                    </a:lnTo>
                    <a:lnTo>
                      <a:pt x="28807" y="5471"/>
                    </a:lnTo>
                    <a:cubicBezTo>
                      <a:pt x="28651" y="5471"/>
                      <a:pt x="27918" y="5191"/>
                      <a:pt x="28090" y="5222"/>
                    </a:cubicBezTo>
                    <a:lnTo>
                      <a:pt x="28090" y="5222"/>
                    </a:lnTo>
                    <a:lnTo>
                      <a:pt x="28183" y="5222"/>
                    </a:lnTo>
                    <a:lnTo>
                      <a:pt x="28183" y="5222"/>
                    </a:lnTo>
                    <a:cubicBezTo>
                      <a:pt x="28355" y="5222"/>
                      <a:pt x="28511" y="5316"/>
                      <a:pt x="28682" y="5362"/>
                    </a:cubicBezTo>
                    <a:lnTo>
                      <a:pt x="28511" y="5362"/>
                    </a:lnTo>
                    <a:lnTo>
                      <a:pt x="28667" y="5362"/>
                    </a:lnTo>
                    <a:lnTo>
                      <a:pt x="28573" y="5362"/>
                    </a:lnTo>
                    <a:cubicBezTo>
                      <a:pt x="28667" y="5362"/>
                      <a:pt x="28464" y="5362"/>
                      <a:pt x="28573" y="5362"/>
                    </a:cubicBezTo>
                    <a:lnTo>
                      <a:pt x="28573" y="5362"/>
                    </a:lnTo>
                    <a:cubicBezTo>
                      <a:pt x="28854" y="5440"/>
                      <a:pt x="29477" y="5627"/>
                      <a:pt x="28869" y="5362"/>
                    </a:cubicBezTo>
                    <a:lnTo>
                      <a:pt x="28869" y="5362"/>
                    </a:lnTo>
                    <a:lnTo>
                      <a:pt x="28776" y="5362"/>
                    </a:lnTo>
                    <a:lnTo>
                      <a:pt x="28776" y="5362"/>
                    </a:lnTo>
                    <a:lnTo>
                      <a:pt x="28776" y="5362"/>
                    </a:lnTo>
                    <a:lnTo>
                      <a:pt x="28776" y="5362"/>
                    </a:lnTo>
                    <a:lnTo>
                      <a:pt x="28776" y="5362"/>
                    </a:lnTo>
                    <a:lnTo>
                      <a:pt x="29306" y="5487"/>
                    </a:lnTo>
                    <a:lnTo>
                      <a:pt x="29087" y="5487"/>
                    </a:lnTo>
                    <a:lnTo>
                      <a:pt x="29384" y="5487"/>
                    </a:lnTo>
                    <a:lnTo>
                      <a:pt x="29617" y="5487"/>
                    </a:lnTo>
                    <a:lnTo>
                      <a:pt x="29617" y="5487"/>
                    </a:lnTo>
                    <a:cubicBezTo>
                      <a:pt x="29415" y="5487"/>
                      <a:pt x="29617" y="5487"/>
                      <a:pt x="29742" y="5487"/>
                    </a:cubicBezTo>
                    <a:lnTo>
                      <a:pt x="29742" y="5487"/>
                    </a:lnTo>
                    <a:lnTo>
                      <a:pt x="29742" y="5487"/>
                    </a:lnTo>
                    <a:cubicBezTo>
                      <a:pt x="30128" y="5587"/>
                      <a:pt x="30504" y="5722"/>
                      <a:pt x="30864" y="5892"/>
                    </a:cubicBezTo>
                    <a:cubicBezTo>
                      <a:pt x="30864" y="5892"/>
                      <a:pt x="30864" y="5892"/>
                      <a:pt x="30864" y="5892"/>
                    </a:cubicBezTo>
                    <a:cubicBezTo>
                      <a:pt x="30864" y="5892"/>
                      <a:pt x="31270" y="6048"/>
                      <a:pt x="31441" y="6142"/>
                    </a:cubicBezTo>
                    <a:lnTo>
                      <a:pt x="31441" y="6142"/>
                    </a:lnTo>
                    <a:lnTo>
                      <a:pt x="32189" y="6500"/>
                    </a:lnTo>
                    <a:cubicBezTo>
                      <a:pt x="31956" y="6376"/>
                      <a:pt x="31722" y="6235"/>
                      <a:pt x="31457" y="6111"/>
                    </a:cubicBezTo>
                    <a:lnTo>
                      <a:pt x="31457" y="6111"/>
                    </a:lnTo>
                    <a:lnTo>
                      <a:pt x="31176" y="5986"/>
                    </a:lnTo>
                    <a:lnTo>
                      <a:pt x="31301" y="5986"/>
                    </a:lnTo>
                    <a:cubicBezTo>
                      <a:pt x="31301" y="5986"/>
                      <a:pt x="30896" y="5846"/>
                      <a:pt x="31083" y="5892"/>
                    </a:cubicBezTo>
                    <a:lnTo>
                      <a:pt x="30958" y="5892"/>
                    </a:lnTo>
                    <a:lnTo>
                      <a:pt x="31239" y="5986"/>
                    </a:lnTo>
                    <a:cubicBezTo>
                      <a:pt x="31152" y="5934"/>
                      <a:pt x="31057" y="5897"/>
                      <a:pt x="30958" y="5877"/>
                    </a:cubicBezTo>
                    <a:cubicBezTo>
                      <a:pt x="31116" y="5914"/>
                      <a:pt x="31273" y="5961"/>
                      <a:pt x="31426" y="6017"/>
                    </a:cubicBezTo>
                    <a:lnTo>
                      <a:pt x="31285" y="6017"/>
                    </a:lnTo>
                    <a:lnTo>
                      <a:pt x="31285" y="6017"/>
                    </a:lnTo>
                    <a:lnTo>
                      <a:pt x="30584" y="4380"/>
                    </a:lnTo>
                    <a:cubicBezTo>
                      <a:pt x="38732" y="7070"/>
                      <a:pt x="44371" y="14514"/>
                      <a:pt x="44753" y="23086"/>
                    </a:cubicBezTo>
                    <a:cubicBezTo>
                      <a:pt x="44742" y="23396"/>
                      <a:pt x="44700" y="23704"/>
                      <a:pt x="44629" y="24006"/>
                    </a:cubicBezTo>
                    <a:cubicBezTo>
                      <a:pt x="44691" y="23912"/>
                      <a:pt x="44613" y="24084"/>
                      <a:pt x="44613" y="24131"/>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 name="Google Shape;21;p5"/>
              <p:cNvSpPr/>
              <p:nvPr/>
            </p:nvSpPr>
            <p:spPr>
              <a:xfrm rot="-5400000">
                <a:off x="10654635" y="7242900"/>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 name="Google Shape;22;p5"/>
              <p:cNvSpPr/>
              <p:nvPr/>
            </p:nvSpPr>
            <p:spPr>
              <a:xfrm rot="-5400000">
                <a:off x="10647776" y="7212394"/>
                <a:ext cx="41027" cy="46516"/>
              </a:xfrm>
              <a:custGeom>
                <a:avLst/>
                <a:gdLst/>
                <a:ahLst/>
                <a:cxnLst/>
                <a:rect l="l" t="t" r="r" b="b"/>
                <a:pathLst>
                  <a:path w="41027" h="46516" extrusionOk="0">
                    <a:moveTo>
                      <a:pt x="36554" y="3664"/>
                    </a:moveTo>
                    <a:cubicBezTo>
                      <a:pt x="39537" y="6127"/>
                      <a:pt x="41028" y="10206"/>
                      <a:pt x="41028" y="15901"/>
                    </a:cubicBezTo>
                    <a:lnTo>
                      <a:pt x="41028" y="46517"/>
                    </a:lnTo>
                    <a:lnTo>
                      <a:pt x="28854" y="46517"/>
                    </a:lnTo>
                    <a:lnTo>
                      <a:pt x="28854" y="18863"/>
                    </a:lnTo>
                    <a:cubicBezTo>
                      <a:pt x="28943" y="16981"/>
                      <a:pt x="28618" y="15103"/>
                      <a:pt x="27903" y="13360"/>
                    </a:cubicBezTo>
                    <a:cubicBezTo>
                      <a:pt x="26734" y="11038"/>
                      <a:pt x="24536" y="9869"/>
                      <a:pt x="21278" y="9869"/>
                    </a:cubicBezTo>
                    <a:cubicBezTo>
                      <a:pt x="17705" y="9597"/>
                      <a:pt x="14368" y="11672"/>
                      <a:pt x="13032" y="14997"/>
                    </a:cubicBezTo>
                    <a:cubicBezTo>
                      <a:pt x="12195" y="17206"/>
                      <a:pt x="11803" y="19558"/>
                      <a:pt x="11878" y="21918"/>
                    </a:cubicBezTo>
                    <a:lnTo>
                      <a:pt x="11878" y="46517"/>
                    </a:lnTo>
                    <a:lnTo>
                      <a:pt x="0" y="46517"/>
                    </a:lnTo>
                    <a:lnTo>
                      <a:pt x="0" y="1155"/>
                    </a:lnTo>
                    <a:lnTo>
                      <a:pt x="11504" y="1155"/>
                    </a:lnTo>
                    <a:lnTo>
                      <a:pt x="11504" y="7811"/>
                    </a:lnTo>
                    <a:cubicBezTo>
                      <a:pt x="12650" y="5897"/>
                      <a:pt x="14110" y="4190"/>
                      <a:pt x="15822" y="2760"/>
                    </a:cubicBezTo>
                    <a:cubicBezTo>
                      <a:pt x="18522" y="851"/>
                      <a:pt x="21777" y="-114"/>
                      <a:pt x="25081" y="17"/>
                    </a:cubicBezTo>
                    <a:cubicBezTo>
                      <a:pt x="29217" y="-165"/>
                      <a:pt x="33283" y="1128"/>
                      <a:pt x="36554" y="366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 name="Google Shape;23;p5"/>
              <p:cNvSpPr/>
              <p:nvPr/>
            </p:nvSpPr>
            <p:spPr>
              <a:xfrm rot="-5400000">
                <a:off x="10647372" y="7164586"/>
                <a:ext cx="26265" cy="62088"/>
              </a:xfrm>
              <a:custGeom>
                <a:avLst/>
                <a:gdLst/>
                <a:ahLst/>
                <a:cxnLst/>
                <a:rect l="l" t="t" r="r" b="b"/>
                <a:pathLst>
                  <a:path w="26265" h="62088" extrusionOk="0">
                    <a:moveTo>
                      <a:pt x="23476" y="0"/>
                    </a:moveTo>
                    <a:lnTo>
                      <a:pt x="25970" y="187"/>
                    </a:lnTo>
                    <a:lnTo>
                      <a:pt x="25970" y="9930"/>
                    </a:lnTo>
                    <a:cubicBezTo>
                      <a:pt x="24857" y="9809"/>
                      <a:pt x="23738" y="9746"/>
                      <a:pt x="22618" y="9743"/>
                    </a:cubicBezTo>
                    <a:cubicBezTo>
                      <a:pt x="21432" y="9564"/>
                      <a:pt x="20229" y="9943"/>
                      <a:pt x="19360" y="10771"/>
                    </a:cubicBezTo>
                    <a:cubicBezTo>
                      <a:pt x="18789" y="11459"/>
                      <a:pt x="18475" y="12325"/>
                      <a:pt x="18472" y="13219"/>
                    </a:cubicBezTo>
                    <a:lnTo>
                      <a:pt x="18472" y="17054"/>
                    </a:lnTo>
                    <a:lnTo>
                      <a:pt x="26266" y="17054"/>
                    </a:lnTo>
                    <a:lnTo>
                      <a:pt x="26266" y="25440"/>
                    </a:lnTo>
                    <a:lnTo>
                      <a:pt x="18472" y="25440"/>
                    </a:lnTo>
                    <a:lnTo>
                      <a:pt x="18472" y="62088"/>
                    </a:lnTo>
                    <a:lnTo>
                      <a:pt x="6672" y="62088"/>
                    </a:lnTo>
                    <a:lnTo>
                      <a:pt x="6672" y="25440"/>
                    </a:lnTo>
                    <a:lnTo>
                      <a:pt x="0" y="25440"/>
                    </a:lnTo>
                    <a:lnTo>
                      <a:pt x="0" y="17054"/>
                    </a:lnTo>
                    <a:lnTo>
                      <a:pt x="6500" y="17054"/>
                    </a:lnTo>
                    <a:lnTo>
                      <a:pt x="6500" y="14139"/>
                    </a:lnTo>
                    <a:cubicBezTo>
                      <a:pt x="6500" y="9275"/>
                      <a:pt x="7321" y="5924"/>
                      <a:pt x="8963" y="4084"/>
                    </a:cubicBezTo>
                    <a:cubicBezTo>
                      <a:pt x="10693" y="1356"/>
                      <a:pt x="14840" y="0"/>
                      <a:pt x="21434" y="0"/>
                    </a:cubicBezTo>
                    <a:cubicBezTo>
                      <a:pt x="22182" y="0"/>
                      <a:pt x="22868" y="0"/>
                      <a:pt x="23476" y="0"/>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 name="Google Shape;24;p5"/>
              <p:cNvSpPr/>
              <p:nvPr/>
            </p:nvSpPr>
            <p:spPr>
              <a:xfrm rot="-5400000">
                <a:off x="10646133" y="6877843"/>
                <a:ext cx="44501" cy="46328"/>
              </a:xfrm>
              <a:custGeom>
                <a:avLst/>
                <a:gdLst/>
                <a:ahLst/>
                <a:cxnLst/>
                <a:rect l="l" t="t" r="r" b="b"/>
                <a:pathLst>
                  <a:path w="44501" h="46328" extrusionOk="0">
                    <a:moveTo>
                      <a:pt x="38977" y="39516"/>
                    </a:moveTo>
                    <a:cubicBezTo>
                      <a:pt x="35309" y="44047"/>
                      <a:pt x="29733" y="46318"/>
                      <a:pt x="22251" y="46328"/>
                    </a:cubicBezTo>
                    <a:cubicBezTo>
                      <a:pt x="14769" y="46339"/>
                      <a:pt x="9188" y="44068"/>
                      <a:pt x="5510" y="39516"/>
                    </a:cubicBezTo>
                    <a:cubicBezTo>
                      <a:pt x="1815" y="34897"/>
                      <a:pt x="-132" y="29124"/>
                      <a:pt x="7" y="23211"/>
                    </a:cubicBezTo>
                    <a:cubicBezTo>
                      <a:pt x="-118" y="17296"/>
                      <a:pt x="1829" y="11523"/>
                      <a:pt x="5510" y="6890"/>
                    </a:cubicBezTo>
                    <a:cubicBezTo>
                      <a:pt x="9188" y="2286"/>
                      <a:pt x="14769" y="-10"/>
                      <a:pt x="22251" y="0"/>
                    </a:cubicBezTo>
                    <a:cubicBezTo>
                      <a:pt x="29733" y="10"/>
                      <a:pt x="35309" y="2307"/>
                      <a:pt x="38977" y="6890"/>
                    </a:cubicBezTo>
                    <a:cubicBezTo>
                      <a:pt x="42662" y="11521"/>
                      <a:pt x="44614" y="17294"/>
                      <a:pt x="44495" y="23211"/>
                    </a:cubicBezTo>
                    <a:cubicBezTo>
                      <a:pt x="44629" y="29126"/>
                      <a:pt x="42675" y="34898"/>
                      <a:pt x="38977" y="39516"/>
                    </a:cubicBezTo>
                    <a:close/>
                    <a:moveTo>
                      <a:pt x="29874" y="33281"/>
                    </a:moveTo>
                    <a:cubicBezTo>
                      <a:pt x="31833" y="30303"/>
                      <a:pt x="32775" y="26769"/>
                      <a:pt x="32555" y="23211"/>
                    </a:cubicBezTo>
                    <a:cubicBezTo>
                      <a:pt x="32782" y="19652"/>
                      <a:pt x="31841" y="16116"/>
                      <a:pt x="29874" y="13141"/>
                    </a:cubicBezTo>
                    <a:cubicBezTo>
                      <a:pt x="26221" y="8901"/>
                      <a:pt x="19824" y="8424"/>
                      <a:pt x="15584" y="12076"/>
                    </a:cubicBezTo>
                    <a:cubicBezTo>
                      <a:pt x="15204" y="12404"/>
                      <a:pt x="14847" y="12760"/>
                      <a:pt x="14519" y="13141"/>
                    </a:cubicBezTo>
                    <a:cubicBezTo>
                      <a:pt x="12548" y="16114"/>
                      <a:pt x="11600" y="19650"/>
                      <a:pt x="11823" y="23211"/>
                    </a:cubicBezTo>
                    <a:cubicBezTo>
                      <a:pt x="11600" y="26782"/>
                      <a:pt x="12546" y="30328"/>
                      <a:pt x="14519" y="33312"/>
                    </a:cubicBezTo>
                    <a:cubicBezTo>
                      <a:pt x="18145" y="37552"/>
                      <a:pt x="24521" y="38050"/>
                      <a:pt x="28761" y="34425"/>
                    </a:cubicBezTo>
                    <a:cubicBezTo>
                      <a:pt x="29160" y="34083"/>
                      <a:pt x="29532" y="33711"/>
                      <a:pt x="29874" y="333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 name="Google Shape;25;p5"/>
              <p:cNvSpPr/>
              <p:nvPr/>
            </p:nvSpPr>
            <p:spPr>
              <a:xfrm rot="-5400000">
                <a:off x="10635737" y="7067825"/>
                <a:ext cx="65151" cy="46470"/>
              </a:xfrm>
              <a:custGeom>
                <a:avLst/>
                <a:gdLst/>
                <a:ahLst/>
                <a:cxnLst/>
                <a:rect l="l" t="t" r="r" b="b"/>
                <a:pathLst>
                  <a:path w="65151" h="46470" extrusionOk="0">
                    <a:moveTo>
                      <a:pt x="56850" y="1186"/>
                    </a:moveTo>
                    <a:cubicBezTo>
                      <a:pt x="58932" y="2071"/>
                      <a:pt x="60753" y="3478"/>
                      <a:pt x="62134" y="5271"/>
                    </a:cubicBezTo>
                    <a:cubicBezTo>
                      <a:pt x="63468" y="6974"/>
                      <a:pt x="64359" y="8983"/>
                      <a:pt x="64722" y="11116"/>
                    </a:cubicBezTo>
                    <a:cubicBezTo>
                      <a:pt x="65051" y="13335"/>
                      <a:pt x="65191" y="15577"/>
                      <a:pt x="65143" y="17819"/>
                    </a:cubicBezTo>
                    <a:lnTo>
                      <a:pt x="65143" y="46470"/>
                    </a:lnTo>
                    <a:lnTo>
                      <a:pt x="52953" y="46470"/>
                    </a:lnTo>
                    <a:lnTo>
                      <a:pt x="52953" y="17523"/>
                    </a:lnTo>
                    <a:cubicBezTo>
                      <a:pt x="53012" y="16064"/>
                      <a:pt x="52728" y="14612"/>
                      <a:pt x="52127" y="13283"/>
                    </a:cubicBezTo>
                    <a:cubicBezTo>
                      <a:pt x="50992" y="11152"/>
                      <a:pt x="48682" y="9920"/>
                      <a:pt x="46281" y="10165"/>
                    </a:cubicBezTo>
                    <a:cubicBezTo>
                      <a:pt x="43382" y="9944"/>
                      <a:pt x="40660" y="11583"/>
                      <a:pt x="39500" y="14249"/>
                    </a:cubicBezTo>
                    <a:cubicBezTo>
                      <a:pt x="38811" y="15902"/>
                      <a:pt x="38482" y="17682"/>
                      <a:pt x="38534" y="19471"/>
                    </a:cubicBezTo>
                    <a:lnTo>
                      <a:pt x="38534" y="46470"/>
                    </a:lnTo>
                    <a:lnTo>
                      <a:pt x="26562" y="46470"/>
                    </a:lnTo>
                    <a:lnTo>
                      <a:pt x="26562" y="19409"/>
                    </a:lnTo>
                    <a:cubicBezTo>
                      <a:pt x="26671" y="17415"/>
                      <a:pt x="26391" y="15419"/>
                      <a:pt x="25736" y="13532"/>
                    </a:cubicBezTo>
                    <a:cubicBezTo>
                      <a:pt x="24678" y="11295"/>
                      <a:pt x="22321" y="9970"/>
                      <a:pt x="19859" y="10228"/>
                    </a:cubicBezTo>
                    <a:cubicBezTo>
                      <a:pt x="16461" y="10228"/>
                      <a:pt x="14180" y="11329"/>
                      <a:pt x="13016" y="13532"/>
                    </a:cubicBezTo>
                    <a:cubicBezTo>
                      <a:pt x="12276" y="15295"/>
                      <a:pt x="11945" y="17204"/>
                      <a:pt x="12050" y="19113"/>
                    </a:cubicBezTo>
                    <a:lnTo>
                      <a:pt x="12050" y="46470"/>
                    </a:lnTo>
                    <a:lnTo>
                      <a:pt x="0" y="46470"/>
                    </a:lnTo>
                    <a:lnTo>
                      <a:pt x="0" y="1108"/>
                    </a:lnTo>
                    <a:lnTo>
                      <a:pt x="11551" y="1108"/>
                    </a:lnTo>
                    <a:lnTo>
                      <a:pt x="11551" y="7765"/>
                    </a:lnTo>
                    <a:cubicBezTo>
                      <a:pt x="12642" y="5853"/>
                      <a:pt x="14056" y="4144"/>
                      <a:pt x="15728" y="2714"/>
                    </a:cubicBezTo>
                    <a:cubicBezTo>
                      <a:pt x="20982" y="-698"/>
                      <a:pt x="27714" y="-843"/>
                      <a:pt x="33109" y="2340"/>
                    </a:cubicBezTo>
                    <a:cubicBezTo>
                      <a:pt x="34832" y="3792"/>
                      <a:pt x="36157" y="5659"/>
                      <a:pt x="36959" y="7765"/>
                    </a:cubicBezTo>
                    <a:cubicBezTo>
                      <a:pt x="38303" y="5303"/>
                      <a:pt x="40306" y="3263"/>
                      <a:pt x="42743" y="1872"/>
                    </a:cubicBezTo>
                    <a:cubicBezTo>
                      <a:pt x="45282" y="604"/>
                      <a:pt x="48088" y="-38"/>
                      <a:pt x="50926" y="2"/>
                    </a:cubicBezTo>
                    <a:cubicBezTo>
                      <a:pt x="52959" y="13"/>
                      <a:pt x="54970" y="415"/>
                      <a:pt x="56850" y="11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 name="Google Shape;26;p5"/>
              <p:cNvSpPr/>
              <p:nvPr/>
            </p:nvSpPr>
            <p:spPr>
              <a:xfrm rot="-5400000">
                <a:off x="10654635" y="7010498"/>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 name="Google Shape;27;p5"/>
              <p:cNvSpPr/>
              <p:nvPr/>
            </p:nvSpPr>
            <p:spPr>
              <a:xfrm rot="-5400000">
                <a:off x="10647776" y="6979991"/>
                <a:ext cx="41027" cy="46516"/>
              </a:xfrm>
              <a:custGeom>
                <a:avLst/>
                <a:gdLst/>
                <a:ahLst/>
                <a:cxnLst/>
                <a:rect l="l" t="t" r="r" b="b"/>
                <a:pathLst>
                  <a:path w="41027" h="46516" extrusionOk="0">
                    <a:moveTo>
                      <a:pt x="36570" y="3664"/>
                    </a:moveTo>
                    <a:cubicBezTo>
                      <a:pt x="39531" y="6127"/>
                      <a:pt x="41028" y="10211"/>
                      <a:pt x="41028" y="15901"/>
                    </a:cubicBezTo>
                    <a:lnTo>
                      <a:pt x="41028" y="46517"/>
                    </a:lnTo>
                    <a:lnTo>
                      <a:pt x="28854" y="46517"/>
                    </a:lnTo>
                    <a:lnTo>
                      <a:pt x="28854" y="18863"/>
                    </a:lnTo>
                    <a:cubicBezTo>
                      <a:pt x="28950" y="16981"/>
                      <a:pt x="28626" y="15101"/>
                      <a:pt x="27903" y="13360"/>
                    </a:cubicBezTo>
                    <a:cubicBezTo>
                      <a:pt x="26734" y="11038"/>
                      <a:pt x="24536" y="9869"/>
                      <a:pt x="21278" y="9869"/>
                    </a:cubicBezTo>
                    <a:cubicBezTo>
                      <a:pt x="17707" y="9588"/>
                      <a:pt x="14369" y="11668"/>
                      <a:pt x="13047" y="14997"/>
                    </a:cubicBezTo>
                    <a:cubicBezTo>
                      <a:pt x="12196" y="17202"/>
                      <a:pt x="11799" y="19556"/>
                      <a:pt x="11878" y="21918"/>
                    </a:cubicBezTo>
                    <a:lnTo>
                      <a:pt x="11878" y="46517"/>
                    </a:lnTo>
                    <a:lnTo>
                      <a:pt x="0" y="46517"/>
                    </a:lnTo>
                    <a:lnTo>
                      <a:pt x="0" y="1155"/>
                    </a:lnTo>
                    <a:lnTo>
                      <a:pt x="11504" y="1155"/>
                    </a:lnTo>
                    <a:lnTo>
                      <a:pt x="11504" y="7811"/>
                    </a:lnTo>
                    <a:cubicBezTo>
                      <a:pt x="12656" y="5901"/>
                      <a:pt x="14115" y="4195"/>
                      <a:pt x="15822" y="2760"/>
                    </a:cubicBezTo>
                    <a:cubicBezTo>
                      <a:pt x="18522" y="851"/>
                      <a:pt x="21777" y="-114"/>
                      <a:pt x="25081" y="17"/>
                    </a:cubicBezTo>
                    <a:cubicBezTo>
                      <a:pt x="29221" y="-164"/>
                      <a:pt x="33292" y="1128"/>
                      <a:pt x="36570"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 name="Google Shape;28;p5"/>
              <p:cNvSpPr/>
              <p:nvPr/>
            </p:nvSpPr>
            <p:spPr>
              <a:xfrm rot="-5400000">
                <a:off x="10646435" y="6930030"/>
                <a:ext cx="43636" cy="46747"/>
              </a:xfrm>
              <a:custGeom>
                <a:avLst/>
                <a:gdLst/>
                <a:ahLst/>
                <a:cxnLst/>
                <a:rect l="l" t="t" r="r" b="b"/>
                <a:pathLst>
                  <a:path w="43636" h="46747" extrusionOk="0">
                    <a:moveTo>
                      <a:pt x="32111" y="2070"/>
                    </a:moveTo>
                    <a:cubicBezTo>
                      <a:pt x="35215" y="3467"/>
                      <a:pt x="37854" y="5723"/>
                      <a:pt x="39718" y="8570"/>
                    </a:cubicBezTo>
                    <a:cubicBezTo>
                      <a:pt x="41567" y="11297"/>
                      <a:pt x="42768" y="14411"/>
                      <a:pt x="43226" y="17674"/>
                    </a:cubicBezTo>
                    <a:cubicBezTo>
                      <a:pt x="43580" y="20569"/>
                      <a:pt x="43706" y="23488"/>
                      <a:pt x="43600" y="26403"/>
                    </a:cubicBezTo>
                    <a:lnTo>
                      <a:pt x="11535" y="26403"/>
                    </a:lnTo>
                    <a:cubicBezTo>
                      <a:pt x="11707" y="30815"/>
                      <a:pt x="13250" y="33917"/>
                      <a:pt x="16134" y="35756"/>
                    </a:cubicBezTo>
                    <a:cubicBezTo>
                      <a:pt x="18045" y="36908"/>
                      <a:pt x="20247" y="37487"/>
                      <a:pt x="22478" y="37424"/>
                    </a:cubicBezTo>
                    <a:cubicBezTo>
                      <a:pt x="24782" y="37530"/>
                      <a:pt x="27047" y="36812"/>
                      <a:pt x="28869" y="35398"/>
                    </a:cubicBezTo>
                    <a:cubicBezTo>
                      <a:pt x="29850" y="34559"/>
                      <a:pt x="30651" y="33530"/>
                      <a:pt x="31223" y="32374"/>
                    </a:cubicBezTo>
                    <a:lnTo>
                      <a:pt x="43023" y="32374"/>
                    </a:lnTo>
                    <a:cubicBezTo>
                      <a:pt x="42488" y="35413"/>
                      <a:pt x="40992" y="38200"/>
                      <a:pt x="38752" y="40324"/>
                    </a:cubicBezTo>
                    <a:cubicBezTo>
                      <a:pt x="34808" y="44611"/>
                      <a:pt x="29306" y="46746"/>
                      <a:pt x="22197" y="46746"/>
                    </a:cubicBezTo>
                    <a:cubicBezTo>
                      <a:pt x="16558" y="46814"/>
                      <a:pt x="11074" y="44900"/>
                      <a:pt x="6703" y="41337"/>
                    </a:cubicBezTo>
                    <a:cubicBezTo>
                      <a:pt x="2234" y="37721"/>
                      <a:pt x="0" y="31849"/>
                      <a:pt x="0" y="23722"/>
                    </a:cubicBezTo>
                    <a:cubicBezTo>
                      <a:pt x="0" y="16105"/>
                      <a:pt x="2022" y="10259"/>
                      <a:pt x="6064" y="6185"/>
                    </a:cubicBezTo>
                    <a:cubicBezTo>
                      <a:pt x="10212" y="2046"/>
                      <a:pt x="15889" y="-189"/>
                      <a:pt x="21745" y="13"/>
                    </a:cubicBezTo>
                    <a:cubicBezTo>
                      <a:pt x="25307" y="-48"/>
                      <a:pt x="28843" y="654"/>
                      <a:pt x="32111" y="2070"/>
                    </a:cubicBezTo>
                    <a:close/>
                    <a:moveTo>
                      <a:pt x="14965" y="12000"/>
                    </a:moveTo>
                    <a:cubicBezTo>
                      <a:pt x="13208" y="13893"/>
                      <a:pt x="12115" y="16306"/>
                      <a:pt x="11847" y="18874"/>
                    </a:cubicBezTo>
                    <a:lnTo>
                      <a:pt x="31659" y="18874"/>
                    </a:lnTo>
                    <a:cubicBezTo>
                      <a:pt x="31622" y="16226"/>
                      <a:pt x="30493" y="13711"/>
                      <a:pt x="28542" y="11922"/>
                    </a:cubicBezTo>
                    <a:cubicBezTo>
                      <a:pt x="26648" y="10316"/>
                      <a:pt x="24229" y="9462"/>
                      <a:pt x="21745" y="9521"/>
                    </a:cubicBezTo>
                    <a:cubicBezTo>
                      <a:pt x="19240" y="9381"/>
                      <a:pt x="16788" y="10278"/>
                      <a:pt x="14965" y="120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9" name="Google Shape;29;p5"/>
            <p:cNvSpPr txBox="1"/>
            <p:nvPr/>
          </p:nvSpPr>
          <p:spPr>
            <a:xfrm rot="-5400000">
              <a:off x="9874832" y="6107266"/>
              <a:ext cx="1384995" cy="97271"/>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IN" sz="702" b="0" i="0" u="none" strike="noStrike" cap="none">
                  <a:solidFill>
                    <a:srgbClr val="B4B4B4"/>
                  </a:solidFill>
                  <a:latin typeface="Calibri"/>
                  <a:ea typeface="Calibri"/>
                  <a:cs typeface="Calibri"/>
                  <a:sym typeface="Calibri"/>
                </a:rPr>
                <a:t>Copyright © 2022. All rights reserved.</a:t>
              </a:r>
              <a:endParaRPr/>
            </a:p>
          </p:txBody>
        </p:sp>
        <p:pic>
          <p:nvPicPr>
            <p:cNvPr id="30" name="Google Shape;30;p5"/>
            <p:cNvPicPr preferRelativeResize="0"/>
            <p:nvPr/>
          </p:nvPicPr>
          <p:blipFill rotWithShape="1">
            <a:blip r:embed="rId27">
              <a:alphaModFix/>
            </a:blip>
            <a:srcRect/>
            <a:stretch/>
          </p:blipFill>
          <p:spPr>
            <a:xfrm rot="-5400000">
              <a:off x="10361309" y="7048329"/>
              <a:ext cx="400614" cy="62353"/>
            </a:xfrm>
            <a:prstGeom prst="rect">
              <a:avLst/>
            </a:prstGeom>
            <a:noFill/>
            <a:ln>
              <a:noFill/>
            </a:ln>
          </p:spPr>
        </p:pic>
      </p:grpSp>
      <p:sp>
        <p:nvSpPr>
          <p:cNvPr id="31" name="Google Shape;31;p5"/>
          <p:cNvSpPr txBox="1"/>
          <p:nvPr/>
        </p:nvSpPr>
        <p:spPr>
          <a:xfrm>
            <a:off x="10075418" y="7158305"/>
            <a:ext cx="133050" cy="121508"/>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IN" sz="877" b="0" i="0" u="none" strike="noStrike" cap="none">
                <a:solidFill>
                  <a:srgbClr val="7F7F7F"/>
                </a:solidFill>
                <a:latin typeface="Calibri"/>
                <a:ea typeface="Calibri"/>
                <a:cs typeface="Calibri"/>
                <a:sym typeface="Calibri"/>
              </a:rPr>
              <a:t>‹#›</a:t>
            </a:fld>
            <a:endParaRPr sz="877" b="0" i="0" u="none" strike="noStrike" cap="none">
              <a:solidFill>
                <a:srgbClr val="7F7F7F"/>
              </a:solidFill>
              <a:latin typeface="Calibri"/>
              <a:ea typeface="Calibri"/>
              <a:cs typeface="Calibri"/>
              <a:sym typeface="Calibri"/>
            </a:endParaRPr>
          </a:p>
        </p:txBody>
      </p:sp>
      <p:cxnSp>
        <p:nvCxnSpPr>
          <p:cNvPr id="32" name="Google Shape;32;p5"/>
          <p:cNvCxnSpPr/>
          <p:nvPr/>
        </p:nvCxnSpPr>
        <p:spPr>
          <a:xfrm>
            <a:off x="473028" y="416190"/>
            <a:ext cx="473555" cy="0"/>
          </a:xfrm>
          <a:prstGeom prst="straightConnector1">
            <a:avLst/>
          </a:prstGeom>
          <a:noFill/>
          <a:ln w="38100" cap="flat" cmpd="sng">
            <a:solidFill>
              <a:schemeClr val="dk2"/>
            </a:solidFill>
            <a:prstDash val="solid"/>
            <a:miter lim="800000"/>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69" r:id="rId18"/>
    <p:sldLayoutId id="2147483670" r:id="rId19"/>
    <p:sldLayoutId id="2147483671" r:id="rId20"/>
    <p:sldLayoutId id="2147483672" r:id="rId21"/>
    <p:sldLayoutId id="2147483673" r:id="rId22"/>
    <p:sldLayoutId id="2147483674" r:id="rId23"/>
    <p:sldLayoutId id="2147483675" r:id="rId24"/>
    <p:sldLayoutId id="2147483676" r:id="rId2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05">
          <p15:clr>
            <a:srgbClr val="F26B43"/>
          </p15:clr>
        </p15:guide>
        <p15:guide id="2" pos="304">
          <p15:clr>
            <a:srgbClr val="F26B43"/>
          </p15:clr>
        </p15:guide>
        <p15:guide id="3" pos="6431">
          <p15:clr>
            <a:srgbClr val="F26B43"/>
          </p15:clr>
        </p15:guide>
        <p15:guide id="4" orient="horz" pos="1247">
          <p15:clr>
            <a:srgbClr val="F26B43"/>
          </p15:clr>
        </p15:guide>
        <p15:guide id="5" orient="horz" pos="4459">
          <p15:clr>
            <a:srgbClr val="F26B43"/>
          </p15:clr>
        </p15:guide>
        <p15:guide id="6" pos="3288">
          <p15:clr>
            <a:srgbClr val="F26B43"/>
          </p15:clr>
        </p15:guide>
        <p15:guide id="7" pos="344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1.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3.png"/><Relationship Id="rId2" Type="http://schemas.openxmlformats.org/officeDocument/2006/relationships/slideLayout" Target="../slideLayouts/slideLayout24.xml"/><Relationship Id="rId1" Type="http://schemas.openxmlformats.org/officeDocument/2006/relationships/tags" Target="../tags/tag9.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20.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9.emf"/><Relationship Id="rId5" Type="http://schemas.openxmlformats.org/officeDocument/2006/relationships/oleObject" Target="../embeddings/oleObject1.bin"/><Relationship Id="rId4" Type="http://schemas.microsoft.com/office/2018/10/relationships/comments" Target="../comments/modernComment_1C1_1D8D922D.xml"/></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microsoft.com/office/2018/10/relationships/comments" Target="../comments/modernComment_1E1_E151ADE3.xml"/><Relationship Id="rId7" Type="http://schemas.openxmlformats.org/officeDocument/2006/relationships/image" Target="../media/image22.png"/><Relationship Id="rId2" Type="http://schemas.openxmlformats.org/officeDocument/2006/relationships/slideLayout" Target="../slideLayouts/slideLayout23.xml"/><Relationship Id="rId1" Type="http://schemas.openxmlformats.org/officeDocument/2006/relationships/tags" Target="../tags/tag3.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2.bin"/><Relationship Id="rId9"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26.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5.png"/><Relationship Id="rId5" Type="http://schemas.openxmlformats.org/officeDocument/2006/relationships/image" Target="../media/image19.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oleObject" Target="../embeddings/oleObject5.bin"/><Relationship Id="rId7" Type="http://schemas.openxmlformats.org/officeDocument/2006/relationships/image" Target="../media/image29.png"/><Relationship Id="rId2" Type="http://schemas.openxmlformats.org/officeDocument/2006/relationships/slideLayout" Target="../slideLayouts/slideLayout25.xml"/><Relationship Id="rId1" Type="http://schemas.openxmlformats.org/officeDocument/2006/relationships/tags" Target="../tags/tag8.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323"/>
        <p:cNvGrpSpPr/>
        <p:nvPr/>
      </p:nvGrpSpPr>
      <p:grpSpPr>
        <a:xfrm>
          <a:off x="0" y="0"/>
          <a:ext cx="0" cy="0"/>
          <a:chOff x="0" y="0"/>
          <a:chExt cx="0" cy="0"/>
        </a:xfrm>
      </p:grpSpPr>
      <p:sp>
        <p:nvSpPr>
          <p:cNvPr id="1324" name="Google Shape;1324;p43"/>
          <p:cNvSpPr txBox="1"/>
          <p:nvPr/>
        </p:nvSpPr>
        <p:spPr>
          <a:xfrm>
            <a:off x="124969" y="4290476"/>
            <a:ext cx="2396324" cy="1484189"/>
          </a:xfrm>
          <a:prstGeom prst="rect">
            <a:avLst/>
          </a:prstGeom>
          <a:noFill/>
          <a:ln>
            <a:noFill/>
          </a:ln>
        </p:spPr>
        <p:txBody>
          <a:bodyPr spcFirstLastPara="1" wrap="square" lIns="0" tIns="0" rIns="0" bIns="0" anchor="t" anchorCtr="0">
            <a:spAutoFit/>
          </a:bodyPr>
          <a:lstStyle/>
          <a:p>
            <a:pPr>
              <a:buClr>
                <a:srgbClr val="8E8E8E"/>
              </a:buClr>
              <a:buSzPts val="1200"/>
            </a:pPr>
            <a:r>
              <a:rPr lang="en-US" sz="1052" i="1">
                <a:solidFill>
                  <a:srgbClr val="8E8E8E"/>
                </a:solidFill>
                <a:latin typeface="Calibri"/>
                <a:ea typeface="Calibri"/>
                <a:cs typeface="Calibri"/>
                <a:sym typeface="Calibri"/>
              </a:rPr>
              <a:t>“I was really impressed by the responsiveness of the team : they came up with a first and quite impressive dashboard proposition within only a couple of days. I also really appreciated the quality of the work; it was really helpful for us to identify the data cleansing needed in our ERP</a:t>
            </a:r>
            <a:r>
              <a:rPr lang="en-US" sz="1052">
                <a:solidFill>
                  <a:srgbClr val="8E8E8E"/>
                </a:solidFill>
                <a:latin typeface="Calibri"/>
                <a:ea typeface="Calibri"/>
                <a:cs typeface="Calibri"/>
                <a:sym typeface="Calibri"/>
              </a:rPr>
              <a:t>.</a:t>
            </a:r>
            <a:r>
              <a:rPr lang="en-US" sz="1052" i="1">
                <a:solidFill>
                  <a:srgbClr val="8E8E8E"/>
                </a:solidFill>
                <a:latin typeface="Calibri"/>
                <a:ea typeface="Calibri"/>
                <a:cs typeface="Calibri"/>
                <a:sym typeface="Calibri"/>
              </a:rPr>
              <a:t>”</a:t>
            </a:r>
            <a:endParaRPr sz="1228"/>
          </a:p>
          <a:p>
            <a:pPr>
              <a:buClr>
                <a:srgbClr val="8E8E8E"/>
              </a:buClr>
              <a:buSzPts val="1200"/>
            </a:pPr>
            <a:endParaRPr sz="1228"/>
          </a:p>
          <a:p>
            <a:pPr algn="r">
              <a:buClr>
                <a:srgbClr val="8E8E8E"/>
              </a:buClr>
              <a:buSzPts val="1200"/>
            </a:pPr>
            <a:r>
              <a:rPr lang="en-US" sz="1052" b="1" i="1">
                <a:solidFill>
                  <a:srgbClr val="8E8E8E"/>
                </a:solidFill>
                <a:latin typeface="Calibri"/>
                <a:ea typeface="Calibri"/>
                <a:cs typeface="Calibri"/>
                <a:sym typeface="Calibri"/>
              </a:rPr>
              <a:t> ─ </a:t>
            </a:r>
            <a:r>
              <a:rPr lang="en-US" sz="1052" b="1">
                <a:solidFill>
                  <a:srgbClr val="8E8E8E"/>
                </a:solidFill>
                <a:latin typeface="Calibri"/>
                <a:ea typeface="Calibri"/>
                <a:cs typeface="Calibri"/>
                <a:sym typeface="Calibri"/>
              </a:rPr>
              <a:t>Chief Human Capital Officer (Client)</a:t>
            </a:r>
            <a:endParaRPr sz="1228"/>
          </a:p>
        </p:txBody>
      </p:sp>
      <p:sp>
        <p:nvSpPr>
          <p:cNvPr id="1325" name="Google Shape;1325;p43"/>
          <p:cNvSpPr/>
          <p:nvPr/>
        </p:nvSpPr>
        <p:spPr>
          <a:xfrm>
            <a:off x="5369957" y="1253013"/>
            <a:ext cx="2277367" cy="5053648"/>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26" name="Google Shape;1326;p43"/>
          <p:cNvSpPr/>
          <p:nvPr/>
        </p:nvSpPr>
        <p:spPr>
          <a:xfrm>
            <a:off x="7933314" y="1253013"/>
            <a:ext cx="2277367" cy="5053648"/>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sp>
        <p:nvSpPr>
          <p:cNvPr id="1327" name="Google Shape;1327;p43"/>
          <p:cNvSpPr/>
          <p:nvPr/>
        </p:nvSpPr>
        <p:spPr>
          <a:xfrm>
            <a:off x="2806601" y="1253013"/>
            <a:ext cx="2277367" cy="5053648"/>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28" name="Google Shape;1328;p43"/>
          <p:cNvSpPr txBox="1"/>
          <p:nvPr/>
        </p:nvSpPr>
        <p:spPr>
          <a:xfrm>
            <a:off x="2984419" y="2112009"/>
            <a:ext cx="1921731" cy="2105192"/>
          </a:xfrm>
          <a:prstGeom prst="rect">
            <a:avLst/>
          </a:prstGeom>
          <a:noFill/>
          <a:ln>
            <a:noFill/>
          </a:ln>
        </p:spPr>
        <p:txBody>
          <a:bodyPr spcFirstLastPara="1" wrap="square" lIns="0" tIns="0" rIns="0" bIns="0" anchor="t" anchorCtr="0">
            <a:spAutoFit/>
          </a:bodyPr>
          <a:lstStyle/>
          <a:p>
            <a:pPr>
              <a:buClr>
                <a:srgbClr val="444444"/>
              </a:buClr>
              <a:buSzPts val="1300"/>
            </a:pPr>
            <a:r>
              <a:rPr lang="en-US" sz="1140">
                <a:solidFill>
                  <a:srgbClr val="444444"/>
                </a:solidFill>
                <a:latin typeface="Calibri"/>
                <a:ea typeface="Calibri"/>
                <a:cs typeface="Calibri"/>
                <a:sym typeface="Calibri"/>
              </a:rPr>
              <a:t>The client wants to have an automatized Human Resource Dashboard to track, analyze and report on HR KPIs.</a:t>
            </a:r>
            <a:endParaRPr sz="1140">
              <a:solidFill>
                <a:srgbClr val="444444"/>
              </a:solidFill>
              <a:latin typeface="Calibri"/>
              <a:ea typeface="Calibri"/>
              <a:cs typeface="Calibri"/>
              <a:sym typeface="Calibri"/>
            </a:endParaRPr>
          </a:p>
          <a:p>
            <a:pPr>
              <a:buClr>
                <a:srgbClr val="444444"/>
              </a:buClr>
              <a:buSzPts val="1300"/>
            </a:pPr>
            <a:endParaRPr sz="1140">
              <a:solidFill>
                <a:srgbClr val="444444"/>
              </a:solidFill>
              <a:latin typeface="Calibri"/>
              <a:ea typeface="Calibri"/>
              <a:cs typeface="Calibri"/>
              <a:sym typeface="Calibri"/>
            </a:endParaRPr>
          </a:p>
          <a:p>
            <a:pPr>
              <a:buClr>
                <a:srgbClr val="444444"/>
              </a:buClr>
              <a:buSzPts val="1300"/>
            </a:pPr>
            <a:endParaRPr sz="1140">
              <a:solidFill>
                <a:srgbClr val="444444"/>
              </a:solidFill>
              <a:latin typeface="Calibri"/>
              <a:ea typeface="Calibri"/>
              <a:cs typeface="Calibri"/>
              <a:sym typeface="Calibri"/>
            </a:endParaRPr>
          </a:p>
          <a:p>
            <a:pPr>
              <a:buClr>
                <a:srgbClr val="444444"/>
              </a:buClr>
              <a:buSzPts val="1300"/>
            </a:pPr>
            <a:endParaRPr sz="1140">
              <a:solidFill>
                <a:srgbClr val="444444"/>
              </a:solidFill>
              <a:latin typeface="Calibri"/>
              <a:ea typeface="Calibri"/>
              <a:cs typeface="Calibri"/>
              <a:sym typeface="Calibri"/>
            </a:endParaRPr>
          </a:p>
          <a:p>
            <a:pPr>
              <a:buClr>
                <a:srgbClr val="444444"/>
              </a:buClr>
              <a:buSzPts val="1300"/>
            </a:pPr>
            <a:r>
              <a:rPr lang="en-US" sz="1140">
                <a:solidFill>
                  <a:srgbClr val="444444"/>
                </a:solidFill>
                <a:latin typeface="Calibri"/>
                <a:ea typeface="Calibri"/>
                <a:cs typeface="Calibri"/>
                <a:sym typeface="Calibri"/>
              </a:rPr>
              <a:t>The firm was looking for: </a:t>
            </a:r>
            <a:endParaRPr sz="1228"/>
          </a:p>
          <a:p>
            <a:pPr marL="250603" indent="-178206">
              <a:buSzPts val="1300"/>
            </a:pPr>
            <a:endParaRPr sz="1140">
              <a:solidFill>
                <a:srgbClr val="444444"/>
              </a:solidFill>
              <a:latin typeface="Calibri"/>
              <a:ea typeface="Calibri"/>
              <a:cs typeface="Calibri"/>
              <a:sym typeface="Calibri"/>
            </a:endParaRPr>
          </a:p>
          <a:p>
            <a:pPr marL="250603" indent="-178206">
              <a:buSzPts val="1300"/>
            </a:pPr>
            <a:endParaRPr sz="1140">
              <a:solidFill>
                <a:srgbClr val="444444"/>
              </a:solidFill>
              <a:latin typeface="Calibri"/>
              <a:ea typeface="Calibri"/>
              <a:cs typeface="Calibri"/>
              <a:sym typeface="Calibri"/>
            </a:endParaRPr>
          </a:p>
          <a:p>
            <a:pPr marL="250603" indent="-178206">
              <a:buSzPts val="1300"/>
            </a:pPr>
            <a:endParaRPr sz="1140">
              <a:solidFill>
                <a:srgbClr val="444444"/>
              </a:solidFill>
              <a:latin typeface="Calibri"/>
              <a:ea typeface="Calibri"/>
              <a:cs typeface="Calibri"/>
              <a:sym typeface="Calibri"/>
            </a:endParaRPr>
          </a:p>
          <a:p>
            <a:pPr marL="250603" indent="-178206">
              <a:buSzPts val="1300"/>
            </a:pPr>
            <a:endParaRPr sz="1140">
              <a:solidFill>
                <a:srgbClr val="444444"/>
              </a:solidFill>
              <a:latin typeface="Calibri"/>
              <a:ea typeface="Calibri"/>
              <a:cs typeface="Calibri"/>
              <a:sym typeface="Calibri"/>
            </a:endParaRPr>
          </a:p>
        </p:txBody>
      </p:sp>
      <p:sp>
        <p:nvSpPr>
          <p:cNvPr id="1329" name="Google Shape;1329;p43"/>
          <p:cNvSpPr txBox="1"/>
          <p:nvPr/>
        </p:nvSpPr>
        <p:spPr>
          <a:xfrm>
            <a:off x="5547775" y="2112009"/>
            <a:ext cx="1921731" cy="526298"/>
          </a:xfrm>
          <a:prstGeom prst="rect">
            <a:avLst/>
          </a:prstGeom>
          <a:noFill/>
          <a:ln>
            <a:noFill/>
          </a:ln>
        </p:spPr>
        <p:txBody>
          <a:bodyPr spcFirstLastPara="1" wrap="square" lIns="0" tIns="0" rIns="0" bIns="0" anchor="t" anchorCtr="0">
            <a:spAutoFit/>
          </a:bodyPr>
          <a:lstStyle/>
          <a:p>
            <a:pPr>
              <a:buClr>
                <a:srgbClr val="444444"/>
              </a:buClr>
              <a:buSzPts val="1300"/>
            </a:pPr>
            <a:r>
              <a:rPr lang="en-US" sz="1140">
                <a:solidFill>
                  <a:srgbClr val="222222"/>
                </a:solidFill>
                <a:latin typeface="Calibri"/>
                <a:ea typeface="Calibri"/>
                <a:cs typeface="Calibri"/>
                <a:sym typeface="Calibri"/>
              </a:rPr>
              <a:t>The company decided to use</a:t>
            </a:r>
            <a:r>
              <a:rPr lang="en-US" sz="1140" b="1">
                <a:solidFill>
                  <a:srgbClr val="222222"/>
                </a:solidFill>
                <a:latin typeface="Calibri"/>
                <a:ea typeface="Calibri"/>
                <a:cs typeface="Calibri"/>
                <a:sym typeface="Calibri"/>
              </a:rPr>
              <a:t> Infomineo’s Data Analytics service as a solution </a:t>
            </a:r>
            <a:r>
              <a:rPr lang="en-US" sz="1140">
                <a:solidFill>
                  <a:srgbClr val="222222"/>
                </a:solidFill>
                <a:latin typeface="Calibri"/>
                <a:ea typeface="Calibri"/>
                <a:cs typeface="Calibri"/>
                <a:sym typeface="Calibri"/>
              </a:rPr>
              <a:t>to cover</a:t>
            </a:r>
            <a:r>
              <a:rPr lang="en-US" sz="1140" b="1">
                <a:solidFill>
                  <a:srgbClr val="222222"/>
                </a:solidFill>
                <a:latin typeface="Calibri"/>
                <a:ea typeface="Calibri"/>
                <a:cs typeface="Calibri"/>
                <a:sym typeface="Calibri"/>
              </a:rPr>
              <a:t>:</a:t>
            </a:r>
            <a:endParaRPr sz="1228">
              <a:solidFill>
                <a:srgbClr val="222222"/>
              </a:solidFill>
            </a:endParaRPr>
          </a:p>
        </p:txBody>
      </p:sp>
      <p:sp>
        <p:nvSpPr>
          <p:cNvPr id="1330" name="Google Shape;1330;p43"/>
          <p:cNvSpPr txBox="1"/>
          <p:nvPr/>
        </p:nvSpPr>
        <p:spPr>
          <a:xfrm>
            <a:off x="8042542" y="4297493"/>
            <a:ext cx="2154228" cy="2280624"/>
          </a:xfrm>
          <a:prstGeom prst="rect">
            <a:avLst/>
          </a:prstGeom>
          <a:noFill/>
          <a:ln>
            <a:noFill/>
          </a:ln>
        </p:spPr>
        <p:txBody>
          <a:bodyPr spcFirstLastPara="1" wrap="square" lIns="0" tIns="0" rIns="0" bIns="0" anchor="t" anchorCtr="0">
            <a:spAutoFit/>
          </a:bodyPr>
          <a:lstStyle/>
          <a:p>
            <a:pPr>
              <a:buClr>
                <a:srgbClr val="444444"/>
              </a:buClr>
              <a:buSzPts val="1300"/>
            </a:pPr>
            <a:r>
              <a:rPr lang="en-US" sz="1140">
                <a:solidFill>
                  <a:srgbClr val="444444"/>
                </a:solidFill>
                <a:latin typeface="Calibri"/>
                <a:ea typeface="Calibri"/>
                <a:cs typeface="Calibri"/>
                <a:sym typeface="Calibri"/>
              </a:rPr>
              <a:t>Estimated </a:t>
            </a:r>
            <a:r>
              <a:rPr lang="en-US" sz="1140" b="1">
                <a:solidFill>
                  <a:srgbClr val="444444"/>
                </a:solidFill>
                <a:latin typeface="Calibri"/>
                <a:ea typeface="Calibri"/>
                <a:cs typeface="Calibri"/>
                <a:sym typeface="Calibri"/>
              </a:rPr>
              <a:t>1 FTE </a:t>
            </a:r>
            <a:r>
              <a:rPr lang="en-US" sz="1140">
                <a:solidFill>
                  <a:srgbClr val="444444"/>
                </a:solidFill>
                <a:latin typeface="Calibri"/>
                <a:ea typeface="Calibri"/>
                <a:cs typeface="Calibri"/>
                <a:sym typeface="Calibri"/>
              </a:rPr>
              <a:t>from the HR department could be </a:t>
            </a:r>
            <a:r>
              <a:rPr lang="en-US" sz="1140" b="1">
                <a:solidFill>
                  <a:srgbClr val="444444"/>
                </a:solidFill>
                <a:latin typeface="Calibri"/>
                <a:ea typeface="Calibri"/>
                <a:cs typeface="Calibri"/>
                <a:sym typeface="Calibri"/>
              </a:rPr>
              <a:t>reallocated to other tasks</a:t>
            </a:r>
            <a:endParaRPr sz="1228"/>
          </a:p>
          <a:p>
            <a:pPr>
              <a:buClr>
                <a:srgbClr val="444444"/>
              </a:buClr>
              <a:buSzPts val="1300"/>
            </a:pPr>
            <a:endParaRPr sz="1140">
              <a:solidFill>
                <a:srgbClr val="444444"/>
              </a:solidFill>
              <a:latin typeface="Calibri"/>
              <a:ea typeface="Calibri"/>
              <a:cs typeface="Calibri"/>
              <a:sym typeface="Calibri"/>
            </a:endParaRPr>
          </a:p>
          <a:p>
            <a:pPr>
              <a:buClr>
                <a:srgbClr val="444444"/>
              </a:buClr>
              <a:buSzPts val="1300"/>
            </a:pPr>
            <a:endParaRPr sz="1140">
              <a:solidFill>
                <a:srgbClr val="444444"/>
              </a:solidFill>
              <a:latin typeface="Calibri"/>
              <a:ea typeface="Calibri"/>
              <a:cs typeface="Calibri"/>
              <a:sym typeface="Calibri"/>
            </a:endParaRPr>
          </a:p>
          <a:p>
            <a:pPr>
              <a:buClr>
                <a:srgbClr val="444444"/>
              </a:buClr>
              <a:buSzPts val="1300"/>
            </a:pPr>
            <a:r>
              <a:rPr lang="en-US" sz="1140">
                <a:solidFill>
                  <a:srgbClr val="444444"/>
                </a:solidFill>
                <a:latin typeface="Calibri"/>
                <a:ea typeface="Calibri"/>
                <a:cs typeface="Calibri"/>
                <a:sym typeface="Calibri"/>
              </a:rPr>
              <a:t>Helped the company to start its </a:t>
            </a:r>
            <a:r>
              <a:rPr lang="en-US" sz="1140" b="1">
                <a:solidFill>
                  <a:srgbClr val="444444"/>
                </a:solidFill>
                <a:latin typeface="Calibri"/>
                <a:ea typeface="Calibri"/>
                <a:cs typeface="Calibri"/>
                <a:sym typeface="Calibri"/>
              </a:rPr>
              <a:t>Data Transformation</a:t>
            </a:r>
            <a:endParaRPr sz="1228"/>
          </a:p>
          <a:p>
            <a:pPr>
              <a:buClr>
                <a:srgbClr val="444444"/>
              </a:buClr>
              <a:buSzPts val="1300"/>
            </a:pPr>
            <a:endParaRPr sz="1140">
              <a:solidFill>
                <a:srgbClr val="444444"/>
              </a:solidFill>
              <a:latin typeface="Calibri"/>
              <a:ea typeface="Calibri"/>
              <a:cs typeface="Calibri"/>
              <a:sym typeface="Calibri"/>
            </a:endParaRPr>
          </a:p>
          <a:p>
            <a:pPr lvl="1">
              <a:buClr>
                <a:srgbClr val="444444"/>
              </a:buClr>
              <a:buSzPts val="1300"/>
            </a:pPr>
            <a:r>
              <a:rPr lang="en-US" sz="1140">
                <a:solidFill>
                  <a:srgbClr val="444444"/>
                </a:solidFill>
                <a:latin typeface="Calibri"/>
                <a:ea typeface="Calibri"/>
                <a:cs typeface="Calibri"/>
                <a:sym typeface="Calibri"/>
              </a:rPr>
              <a:t>Infomineo has been asked to work with client’s Finance Team to create another dashboard</a:t>
            </a:r>
            <a:endParaRPr sz="1228"/>
          </a:p>
          <a:p>
            <a:pPr>
              <a:buClr>
                <a:srgbClr val="444444"/>
              </a:buClr>
              <a:buSzPts val="1300"/>
            </a:pPr>
            <a:endParaRPr sz="1140" b="1">
              <a:solidFill>
                <a:srgbClr val="444444"/>
              </a:solidFill>
              <a:highlight>
                <a:srgbClr val="FFFF00"/>
              </a:highlight>
              <a:latin typeface="Calibri"/>
              <a:ea typeface="Calibri"/>
              <a:cs typeface="Calibri"/>
              <a:sym typeface="Calibri"/>
            </a:endParaRPr>
          </a:p>
          <a:p>
            <a:pPr>
              <a:buClr>
                <a:srgbClr val="444444"/>
              </a:buClr>
              <a:buSzPts val="1300"/>
            </a:pPr>
            <a:r>
              <a:rPr lang="en-US" sz="1140" b="1">
                <a:solidFill>
                  <a:srgbClr val="444444"/>
                </a:solidFill>
                <a:highlight>
                  <a:srgbClr val="FFFF00"/>
                </a:highlight>
                <a:latin typeface="Calibri"/>
                <a:ea typeface="Calibri"/>
                <a:cs typeface="Calibri"/>
                <a:sym typeface="Calibri"/>
              </a:rPr>
              <a:t> </a:t>
            </a:r>
            <a:endParaRPr sz="1228">
              <a:highlight>
                <a:srgbClr val="FFFF00"/>
              </a:highlight>
            </a:endParaRPr>
          </a:p>
        </p:txBody>
      </p:sp>
      <p:sp>
        <p:nvSpPr>
          <p:cNvPr id="1331" name="Google Shape;1331;p43"/>
          <p:cNvSpPr/>
          <p:nvPr/>
        </p:nvSpPr>
        <p:spPr>
          <a:xfrm>
            <a:off x="2806600"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2" name="Google Shape;1332;p43"/>
          <p:cNvSpPr txBox="1"/>
          <p:nvPr/>
        </p:nvSpPr>
        <p:spPr>
          <a:xfrm>
            <a:off x="2984418" y="1356291"/>
            <a:ext cx="924935" cy="413190"/>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Client</a:t>
            </a:r>
            <a:br>
              <a:rPr lang="en-US" sz="1579">
                <a:solidFill>
                  <a:srgbClr val="FFFFFF"/>
                </a:solidFill>
                <a:latin typeface="Franklin Gothic"/>
                <a:ea typeface="Franklin Gothic"/>
                <a:cs typeface="Franklin Gothic"/>
                <a:sym typeface="Franklin Gothic"/>
              </a:rPr>
            </a:br>
            <a:r>
              <a:rPr lang="en-US" sz="1579">
                <a:solidFill>
                  <a:srgbClr val="FFFFFF"/>
                </a:solidFill>
                <a:latin typeface="Franklin Gothic"/>
                <a:ea typeface="Franklin Gothic"/>
                <a:cs typeface="Franklin Gothic"/>
                <a:sym typeface="Franklin Gothic"/>
              </a:rPr>
              <a:t>Challenge</a:t>
            </a:r>
            <a:endParaRPr sz="1228"/>
          </a:p>
        </p:txBody>
      </p:sp>
      <p:sp>
        <p:nvSpPr>
          <p:cNvPr id="1333" name="Google Shape;1333;p43"/>
          <p:cNvSpPr/>
          <p:nvPr/>
        </p:nvSpPr>
        <p:spPr>
          <a:xfrm>
            <a:off x="4188633"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4" name="Google Shape;1334;p43"/>
          <p:cNvSpPr/>
          <p:nvPr/>
        </p:nvSpPr>
        <p:spPr>
          <a:xfrm>
            <a:off x="5369956"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5" name="Google Shape;1335;p43"/>
          <p:cNvSpPr txBox="1"/>
          <p:nvPr/>
        </p:nvSpPr>
        <p:spPr>
          <a:xfrm>
            <a:off x="5547775" y="1356291"/>
            <a:ext cx="760340" cy="413190"/>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Our</a:t>
            </a:r>
            <a:br>
              <a:rPr lang="en-US" sz="1579">
                <a:solidFill>
                  <a:srgbClr val="FFFFFF"/>
                </a:solidFill>
                <a:latin typeface="Franklin Gothic"/>
                <a:ea typeface="Franklin Gothic"/>
                <a:cs typeface="Franklin Gothic"/>
                <a:sym typeface="Franklin Gothic"/>
              </a:rPr>
            </a:br>
            <a:r>
              <a:rPr lang="en-US" sz="1579">
                <a:solidFill>
                  <a:srgbClr val="FFFFFF"/>
                </a:solidFill>
                <a:latin typeface="Franklin Gothic"/>
                <a:ea typeface="Franklin Gothic"/>
                <a:cs typeface="Franklin Gothic"/>
                <a:sym typeface="Franklin Gothic"/>
              </a:rPr>
              <a:t>Solution</a:t>
            </a:r>
            <a:endParaRPr sz="1228"/>
          </a:p>
        </p:txBody>
      </p:sp>
      <p:sp>
        <p:nvSpPr>
          <p:cNvPr id="1336" name="Google Shape;1336;p43"/>
          <p:cNvSpPr/>
          <p:nvPr/>
        </p:nvSpPr>
        <p:spPr>
          <a:xfrm>
            <a:off x="6731632"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7" name="Google Shape;1337;p43"/>
          <p:cNvSpPr/>
          <p:nvPr/>
        </p:nvSpPr>
        <p:spPr>
          <a:xfrm>
            <a:off x="7933313"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sp>
        <p:nvSpPr>
          <p:cNvPr id="1338" name="Google Shape;1338;p43"/>
          <p:cNvSpPr txBox="1"/>
          <p:nvPr/>
        </p:nvSpPr>
        <p:spPr>
          <a:xfrm>
            <a:off x="8111132" y="1459531"/>
            <a:ext cx="827343" cy="206595"/>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Outcome</a:t>
            </a:r>
            <a:endParaRPr sz="1579">
              <a:solidFill>
                <a:srgbClr val="FFFFFF"/>
              </a:solidFill>
              <a:latin typeface="Franklin Gothic"/>
              <a:ea typeface="Franklin Gothic"/>
              <a:cs typeface="Franklin Gothic"/>
              <a:sym typeface="Franklin Gothic"/>
            </a:endParaRPr>
          </a:p>
        </p:txBody>
      </p:sp>
      <p:sp>
        <p:nvSpPr>
          <p:cNvPr id="1339" name="Google Shape;1339;p43"/>
          <p:cNvSpPr/>
          <p:nvPr/>
        </p:nvSpPr>
        <p:spPr>
          <a:xfrm>
            <a:off x="9294988"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grpSp>
        <p:nvGrpSpPr>
          <p:cNvPr id="1340" name="Google Shape;1340;p43"/>
          <p:cNvGrpSpPr/>
          <p:nvPr/>
        </p:nvGrpSpPr>
        <p:grpSpPr>
          <a:xfrm>
            <a:off x="9432194" y="1337707"/>
            <a:ext cx="432288" cy="400866"/>
            <a:chOff x="7154863" y="4446588"/>
            <a:chExt cx="527050" cy="506412"/>
          </a:xfrm>
        </p:grpSpPr>
        <p:sp>
          <p:nvSpPr>
            <p:cNvPr id="1341" name="Google Shape;1341;p43"/>
            <p:cNvSpPr/>
            <p:nvPr/>
          </p:nvSpPr>
          <p:spPr>
            <a:xfrm>
              <a:off x="7154863" y="4446588"/>
              <a:ext cx="527050" cy="506412"/>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80175" tIns="40077" rIns="80175" bIns="40077" anchor="t" anchorCtr="0">
              <a:noAutofit/>
            </a:bodyPr>
            <a:lstStyle/>
            <a:p>
              <a:pPr>
                <a:buSzPts val="1800"/>
              </a:pPr>
              <a:endParaRPr sz="1579">
                <a:solidFill>
                  <a:srgbClr val="444444"/>
                </a:solidFill>
                <a:highlight>
                  <a:srgbClr val="FFFF00"/>
                </a:highlight>
                <a:latin typeface="Calibri"/>
                <a:ea typeface="Calibri"/>
                <a:cs typeface="Calibri"/>
                <a:sym typeface="Calibri"/>
              </a:endParaRPr>
            </a:p>
          </p:txBody>
        </p:sp>
        <p:sp>
          <p:nvSpPr>
            <p:cNvPr id="1342" name="Google Shape;1342;p43"/>
            <p:cNvSpPr/>
            <p:nvPr/>
          </p:nvSpPr>
          <p:spPr>
            <a:xfrm>
              <a:off x="7275513" y="4554538"/>
              <a:ext cx="344488" cy="336550"/>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80175" tIns="40077" rIns="80175" bIns="40077" anchor="t" anchorCtr="0">
              <a:noAutofit/>
            </a:bodyPr>
            <a:lstStyle/>
            <a:p>
              <a:pPr>
                <a:buSzPts val="1800"/>
              </a:pPr>
              <a:endParaRPr sz="1579">
                <a:solidFill>
                  <a:srgbClr val="444444"/>
                </a:solidFill>
                <a:highlight>
                  <a:srgbClr val="FFFF00"/>
                </a:highlight>
                <a:latin typeface="Calibri"/>
                <a:ea typeface="Calibri"/>
                <a:cs typeface="Calibri"/>
                <a:sym typeface="Calibri"/>
              </a:endParaRPr>
            </a:p>
          </p:txBody>
        </p:sp>
      </p:grpSp>
      <p:pic>
        <p:nvPicPr>
          <p:cNvPr id="1343" name="Google Shape;1343;p43"/>
          <p:cNvPicPr preferRelativeResize="0"/>
          <p:nvPr/>
        </p:nvPicPr>
        <p:blipFill rotWithShape="1">
          <a:blip r:embed="rId3">
            <a:alphaModFix/>
          </a:blip>
          <a:srcRect/>
          <a:stretch/>
        </p:blipFill>
        <p:spPr>
          <a:xfrm>
            <a:off x="473029" y="1264375"/>
            <a:ext cx="744343" cy="672164"/>
          </a:xfrm>
          <a:prstGeom prst="rect">
            <a:avLst/>
          </a:prstGeom>
          <a:noFill/>
          <a:ln>
            <a:noFill/>
          </a:ln>
        </p:spPr>
      </p:pic>
      <p:sp>
        <p:nvSpPr>
          <p:cNvPr id="1344" name="Google Shape;1344;p43"/>
          <p:cNvSpPr txBox="1"/>
          <p:nvPr/>
        </p:nvSpPr>
        <p:spPr>
          <a:xfrm>
            <a:off x="1345432" y="1264374"/>
            <a:ext cx="1268475" cy="734047"/>
          </a:xfrm>
          <a:prstGeom prst="rect">
            <a:avLst/>
          </a:prstGeom>
          <a:noFill/>
          <a:ln>
            <a:noFill/>
          </a:ln>
        </p:spPr>
        <p:txBody>
          <a:bodyPr spcFirstLastPara="1" wrap="square" lIns="0" tIns="0" rIns="0" bIns="0" anchor="t" anchorCtr="0">
            <a:spAutoFit/>
          </a:bodyPr>
          <a:lstStyle/>
          <a:p>
            <a:pPr>
              <a:lnSpc>
                <a:spcPct val="85000"/>
              </a:lnSpc>
              <a:buSzPts val="3200"/>
            </a:pPr>
            <a:r>
              <a:rPr lang="en-US" sz="2806" dirty="0">
                <a:solidFill>
                  <a:srgbClr val="0F47F2"/>
                </a:solidFill>
                <a:latin typeface="Franklin Gothic"/>
                <a:ea typeface="Franklin Gothic"/>
                <a:cs typeface="Franklin Gothic"/>
                <a:sym typeface="Franklin Gothic"/>
              </a:rPr>
              <a:t>CASE</a:t>
            </a:r>
            <a:br>
              <a:rPr lang="en-US" sz="2806" dirty="0">
                <a:solidFill>
                  <a:srgbClr val="0F47F2"/>
                </a:solidFill>
                <a:latin typeface="Franklin Gothic"/>
                <a:ea typeface="Franklin Gothic"/>
                <a:cs typeface="Franklin Gothic"/>
                <a:sym typeface="Franklin Gothic"/>
              </a:rPr>
            </a:br>
            <a:r>
              <a:rPr lang="en-US" sz="2806" dirty="0">
                <a:solidFill>
                  <a:srgbClr val="0F47F2"/>
                </a:solidFill>
                <a:latin typeface="Franklin Gothic"/>
                <a:ea typeface="Franklin Gothic"/>
                <a:cs typeface="Franklin Gothic"/>
                <a:sym typeface="Franklin Gothic"/>
              </a:rPr>
              <a:t>STUDY</a:t>
            </a:r>
            <a:endParaRPr sz="1228" dirty="0"/>
          </a:p>
        </p:txBody>
      </p:sp>
      <p:cxnSp>
        <p:nvCxnSpPr>
          <p:cNvPr id="1345" name="Google Shape;1345;p43"/>
          <p:cNvCxnSpPr/>
          <p:nvPr/>
        </p:nvCxnSpPr>
        <p:spPr>
          <a:xfrm>
            <a:off x="473029" y="2070159"/>
            <a:ext cx="2029495" cy="0"/>
          </a:xfrm>
          <a:prstGeom prst="straightConnector1">
            <a:avLst/>
          </a:prstGeom>
          <a:noFill/>
          <a:ln w="19050" cap="flat" cmpd="sng">
            <a:solidFill>
              <a:schemeClr val="dk2"/>
            </a:solidFill>
            <a:prstDash val="solid"/>
            <a:miter lim="800000"/>
            <a:headEnd type="none" w="sm" len="sm"/>
            <a:tailEnd type="none" w="sm" len="sm"/>
          </a:ln>
        </p:spPr>
      </p:cxnSp>
      <p:sp>
        <p:nvSpPr>
          <p:cNvPr id="1346" name="Google Shape;1346;p43"/>
          <p:cNvSpPr txBox="1"/>
          <p:nvPr/>
        </p:nvSpPr>
        <p:spPr>
          <a:xfrm>
            <a:off x="494026" y="2185531"/>
            <a:ext cx="2046928" cy="243015"/>
          </a:xfrm>
          <a:prstGeom prst="rect">
            <a:avLst/>
          </a:prstGeom>
          <a:noFill/>
          <a:ln>
            <a:noFill/>
          </a:ln>
        </p:spPr>
        <p:txBody>
          <a:bodyPr spcFirstLastPara="1" wrap="square" lIns="0" tIns="0" rIns="0" bIns="0" anchor="t" anchorCtr="0">
            <a:spAutoFit/>
          </a:bodyPr>
          <a:lstStyle/>
          <a:p>
            <a:pPr>
              <a:buClr>
                <a:srgbClr val="444444"/>
              </a:buClr>
              <a:buSzPts val="1800"/>
            </a:pPr>
            <a:r>
              <a:rPr lang="en-US" sz="1579">
                <a:solidFill>
                  <a:srgbClr val="444444"/>
                </a:solidFill>
                <a:latin typeface="Franklin Gothic"/>
                <a:ea typeface="Franklin Gothic"/>
                <a:cs typeface="Franklin Gothic"/>
                <a:sym typeface="Franklin Gothic"/>
              </a:rPr>
              <a:t>Client:</a:t>
            </a:r>
            <a:endParaRPr sz="1228"/>
          </a:p>
        </p:txBody>
      </p:sp>
      <p:sp>
        <p:nvSpPr>
          <p:cNvPr id="1347" name="Google Shape;1347;p43"/>
          <p:cNvSpPr txBox="1"/>
          <p:nvPr/>
        </p:nvSpPr>
        <p:spPr>
          <a:xfrm>
            <a:off x="494026" y="2465773"/>
            <a:ext cx="2029495" cy="175433"/>
          </a:xfrm>
          <a:prstGeom prst="rect">
            <a:avLst/>
          </a:prstGeom>
          <a:noFill/>
          <a:ln>
            <a:noFill/>
          </a:ln>
        </p:spPr>
        <p:txBody>
          <a:bodyPr spcFirstLastPara="1" wrap="square" lIns="0" tIns="0" rIns="0" bIns="0" anchor="t" anchorCtr="0">
            <a:spAutoFit/>
          </a:bodyPr>
          <a:lstStyle/>
          <a:p>
            <a:pPr>
              <a:buSzPts val="1300"/>
            </a:pPr>
            <a:r>
              <a:rPr lang="en-US" sz="1140">
                <a:solidFill>
                  <a:srgbClr val="444444"/>
                </a:solidFill>
                <a:latin typeface="Calibri"/>
                <a:ea typeface="Calibri"/>
                <a:cs typeface="Calibri"/>
                <a:sym typeface="Calibri"/>
              </a:rPr>
              <a:t>A multinational firm</a:t>
            </a:r>
            <a:endParaRPr sz="1140">
              <a:solidFill>
                <a:srgbClr val="444444"/>
              </a:solidFill>
              <a:latin typeface="Calibri"/>
              <a:ea typeface="Calibri"/>
              <a:cs typeface="Calibri"/>
              <a:sym typeface="Calibri"/>
            </a:endParaRPr>
          </a:p>
        </p:txBody>
      </p:sp>
      <p:pic>
        <p:nvPicPr>
          <p:cNvPr id="1348" name="Google Shape;1348;p43"/>
          <p:cNvPicPr preferRelativeResize="0"/>
          <p:nvPr/>
        </p:nvPicPr>
        <p:blipFill rotWithShape="1">
          <a:blip r:embed="rId4">
            <a:alphaModFix/>
          </a:blip>
          <a:srcRect/>
          <a:stretch/>
        </p:blipFill>
        <p:spPr>
          <a:xfrm>
            <a:off x="6841523" y="1294705"/>
            <a:ext cx="527194" cy="527194"/>
          </a:xfrm>
          <a:prstGeom prst="rect">
            <a:avLst/>
          </a:prstGeom>
          <a:noFill/>
          <a:ln>
            <a:noFill/>
          </a:ln>
        </p:spPr>
      </p:pic>
      <p:pic>
        <p:nvPicPr>
          <p:cNvPr id="1349" name="Google Shape;1349;p43"/>
          <p:cNvPicPr preferRelativeResize="0"/>
          <p:nvPr/>
        </p:nvPicPr>
        <p:blipFill rotWithShape="1">
          <a:blip r:embed="rId5">
            <a:alphaModFix/>
          </a:blip>
          <a:srcRect/>
          <a:stretch/>
        </p:blipFill>
        <p:spPr>
          <a:xfrm>
            <a:off x="4309586" y="1298006"/>
            <a:ext cx="518435" cy="518435"/>
          </a:xfrm>
          <a:prstGeom prst="rect">
            <a:avLst/>
          </a:prstGeom>
          <a:noFill/>
          <a:ln>
            <a:noFill/>
          </a:ln>
        </p:spPr>
      </p:pic>
      <p:sp>
        <p:nvSpPr>
          <p:cNvPr id="1350" name="Google Shape;1350;p43"/>
          <p:cNvSpPr/>
          <p:nvPr/>
        </p:nvSpPr>
        <p:spPr>
          <a:xfrm>
            <a:off x="2956725" y="3706642"/>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pic>
        <p:nvPicPr>
          <p:cNvPr id="1351" name="Google Shape;1351;p43" descr="Gears"/>
          <p:cNvPicPr preferRelativeResize="0"/>
          <p:nvPr/>
        </p:nvPicPr>
        <p:blipFill rotWithShape="1">
          <a:blip r:embed="rId6">
            <a:alphaModFix/>
          </a:blip>
          <a:srcRect/>
          <a:stretch/>
        </p:blipFill>
        <p:spPr>
          <a:xfrm>
            <a:off x="2996820" y="3751045"/>
            <a:ext cx="320754" cy="320754"/>
          </a:xfrm>
          <a:prstGeom prst="rect">
            <a:avLst/>
          </a:prstGeom>
          <a:noFill/>
          <a:ln>
            <a:noFill/>
          </a:ln>
        </p:spPr>
      </p:pic>
      <p:pic>
        <p:nvPicPr>
          <p:cNvPr id="1352" name="Google Shape;1352;p43" descr="Arrow circle"/>
          <p:cNvPicPr preferRelativeResize="0"/>
          <p:nvPr/>
        </p:nvPicPr>
        <p:blipFill rotWithShape="1">
          <a:blip r:embed="rId7">
            <a:alphaModFix/>
          </a:blip>
          <a:srcRect/>
          <a:stretch/>
        </p:blipFill>
        <p:spPr>
          <a:xfrm>
            <a:off x="2996820" y="4520831"/>
            <a:ext cx="320754" cy="320754"/>
          </a:xfrm>
          <a:prstGeom prst="rect">
            <a:avLst/>
          </a:prstGeom>
          <a:noFill/>
          <a:ln>
            <a:noFill/>
          </a:ln>
        </p:spPr>
      </p:pic>
      <p:sp>
        <p:nvSpPr>
          <p:cNvPr id="1353" name="Google Shape;1353;p43"/>
          <p:cNvSpPr/>
          <p:nvPr/>
        </p:nvSpPr>
        <p:spPr>
          <a:xfrm>
            <a:off x="2956725" y="4480737"/>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54" name="Google Shape;1354;p43"/>
          <p:cNvSpPr/>
          <p:nvPr/>
        </p:nvSpPr>
        <p:spPr>
          <a:xfrm>
            <a:off x="2956725" y="5254853"/>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pic>
        <p:nvPicPr>
          <p:cNvPr id="1355" name="Google Shape;1355;p43" descr="Dollar"/>
          <p:cNvPicPr preferRelativeResize="0"/>
          <p:nvPr/>
        </p:nvPicPr>
        <p:blipFill rotWithShape="1">
          <a:blip r:embed="rId8">
            <a:alphaModFix/>
          </a:blip>
          <a:srcRect/>
          <a:stretch/>
        </p:blipFill>
        <p:spPr>
          <a:xfrm>
            <a:off x="2996820" y="5320073"/>
            <a:ext cx="320754" cy="270503"/>
          </a:xfrm>
          <a:prstGeom prst="rect">
            <a:avLst/>
          </a:prstGeom>
          <a:noFill/>
          <a:ln>
            <a:noFill/>
          </a:ln>
        </p:spPr>
      </p:pic>
      <p:sp>
        <p:nvSpPr>
          <p:cNvPr id="1356" name="Google Shape;1356;p43"/>
          <p:cNvSpPr txBox="1"/>
          <p:nvPr/>
        </p:nvSpPr>
        <p:spPr>
          <a:xfrm>
            <a:off x="3457539" y="5170882"/>
            <a:ext cx="1443395" cy="755848"/>
          </a:xfrm>
          <a:prstGeom prst="rect">
            <a:avLst/>
          </a:prstGeom>
          <a:noFill/>
          <a:ln>
            <a:noFill/>
          </a:ln>
        </p:spPr>
        <p:txBody>
          <a:bodyPr spcFirstLastPara="1" wrap="square" lIns="0" tIns="0" rIns="0" bIns="0" anchor="t" anchorCtr="0">
            <a:spAutoFit/>
          </a:bodyPr>
          <a:lstStyle/>
          <a:p>
            <a:pPr>
              <a:buSzPts val="1400"/>
            </a:pPr>
            <a:r>
              <a:rPr lang="en-US" sz="1228" b="1">
                <a:solidFill>
                  <a:srgbClr val="444444"/>
                </a:solidFill>
                <a:latin typeface="Calibri"/>
                <a:ea typeface="Calibri"/>
                <a:cs typeface="Calibri"/>
                <a:sym typeface="Calibri"/>
              </a:rPr>
              <a:t>Lower cost </a:t>
            </a:r>
            <a:r>
              <a:rPr lang="en-US" sz="1228">
                <a:solidFill>
                  <a:srgbClr val="444444"/>
                </a:solidFill>
                <a:latin typeface="Calibri"/>
                <a:ea typeface="Calibri"/>
                <a:cs typeface="Calibri"/>
                <a:sym typeface="Calibri"/>
              </a:rPr>
              <a:t>than buying from a specialized company an HR Dashboard tool</a:t>
            </a:r>
            <a:endParaRPr sz="1228"/>
          </a:p>
        </p:txBody>
      </p:sp>
      <p:sp>
        <p:nvSpPr>
          <p:cNvPr id="1357" name="Google Shape;1357;p43"/>
          <p:cNvSpPr txBox="1"/>
          <p:nvPr/>
        </p:nvSpPr>
        <p:spPr>
          <a:xfrm>
            <a:off x="4537396" y="7636583"/>
            <a:ext cx="57" cy="188962"/>
          </a:xfrm>
          <a:prstGeom prst="rect">
            <a:avLst/>
          </a:prstGeom>
          <a:noFill/>
          <a:ln>
            <a:noFill/>
          </a:ln>
        </p:spPr>
        <p:txBody>
          <a:bodyPr spcFirstLastPara="1" wrap="square" lIns="0" tIns="0" rIns="0" bIns="0" anchor="t" anchorCtr="0">
            <a:spAutoFit/>
          </a:bodyPr>
          <a:lstStyle/>
          <a:p>
            <a:pPr>
              <a:buSzPts val="1400"/>
            </a:pPr>
            <a:endParaRPr sz="1228"/>
          </a:p>
        </p:txBody>
      </p:sp>
      <p:sp>
        <p:nvSpPr>
          <p:cNvPr id="1358" name="Google Shape;1358;p43"/>
          <p:cNvSpPr txBox="1"/>
          <p:nvPr/>
        </p:nvSpPr>
        <p:spPr>
          <a:xfrm>
            <a:off x="3429903" y="3718158"/>
            <a:ext cx="1443395" cy="377924"/>
          </a:xfrm>
          <a:prstGeom prst="rect">
            <a:avLst/>
          </a:prstGeom>
          <a:noFill/>
          <a:ln>
            <a:noFill/>
          </a:ln>
        </p:spPr>
        <p:txBody>
          <a:bodyPr spcFirstLastPara="1" wrap="square" lIns="0" tIns="0" rIns="0" bIns="0" anchor="t" anchorCtr="0">
            <a:spAutoFit/>
          </a:bodyPr>
          <a:lstStyle/>
          <a:p>
            <a:pPr>
              <a:buSzPts val="1400"/>
            </a:pPr>
            <a:r>
              <a:rPr lang="en-US" sz="1228" b="1">
                <a:solidFill>
                  <a:srgbClr val="444444"/>
                </a:solidFill>
                <a:latin typeface="Calibri"/>
                <a:ea typeface="Calibri"/>
                <a:cs typeface="Calibri"/>
                <a:sym typeface="Calibri"/>
              </a:rPr>
              <a:t>Effective and quick </a:t>
            </a:r>
            <a:r>
              <a:rPr lang="en-US" sz="1228">
                <a:solidFill>
                  <a:srgbClr val="444444"/>
                </a:solidFill>
                <a:latin typeface="Calibri"/>
                <a:ea typeface="Calibri"/>
                <a:cs typeface="Calibri"/>
                <a:sym typeface="Calibri"/>
              </a:rPr>
              <a:t>solution</a:t>
            </a:r>
            <a:endParaRPr sz="1228"/>
          </a:p>
        </p:txBody>
      </p:sp>
      <p:sp>
        <p:nvSpPr>
          <p:cNvPr id="1359" name="Google Shape;1359;p43"/>
          <p:cNvSpPr txBox="1"/>
          <p:nvPr/>
        </p:nvSpPr>
        <p:spPr>
          <a:xfrm>
            <a:off x="3466936" y="4484205"/>
            <a:ext cx="1443395" cy="566886"/>
          </a:xfrm>
          <a:prstGeom prst="rect">
            <a:avLst/>
          </a:prstGeom>
          <a:noFill/>
          <a:ln>
            <a:noFill/>
          </a:ln>
        </p:spPr>
        <p:txBody>
          <a:bodyPr spcFirstLastPara="1" wrap="square" lIns="0" tIns="0" rIns="0" bIns="0" anchor="t" anchorCtr="0">
            <a:spAutoFit/>
          </a:bodyPr>
          <a:lstStyle/>
          <a:p>
            <a:pPr>
              <a:buSzPts val="1400"/>
            </a:pPr>
            <a:r>
              <a:rPr lang="en-US" sz="1228" b="1">
                <a:solidFill>
                  <a:srgbClr val="444444"/>
                </a:solidFill>
                <a:latin typeface="Calibri"/>
                <a:ea typeface="Calibri"/>
                <a:cs typeface="Calibri"/>
                <a:sym typeface="Calibri"/>
              </a:rPr>
              <a:t>Smooth integration </a:t>
            </a:r>
            <a:r>
              <a:rPr lang="en-US" sz="1228">
                <a:solidFill>
                  <a:srgbClr val="444444"/>
                </a:solidFill>
                <a:latin typeface="Calibri"/>
                <a:ea typeface="Calibri"/>
                <a:cs typeface="Calibri"/>
                <a:sym typeface="Calibri"/>
              </a:rPr>
              <a:t>with its existing ERPs </a:t>
            </a:r>
            <a:endParaRPr sz="1228"/>
          </a:p>
          <a:p>
            <a:pPr>
              <a:buSzPts val="1400"/>
            </a:pPr>
            <a:endParaRPr sz="1228"/>
          </a:p>
        </p:txBody>
      </p:sp>
      <p:sp>
        <p:nvSpPr>
          <p:cNvPr id="1360" name="Google Shape;1360;p43"/>
          <p:cNvSpPr txBox="1"/>
          <p:nvPr/>
        </p:nvSpPr>
        <p:spPr>
          <a:xfrm>
            <a:off x="6222711" y="5159897"/>
            <a:ext cx="1408395" cy="755848"/>
          </a:xfrm>
          <a:prstGeom prst="rect">
            <a:avLst/>
          </a:prstGeom>
          <a:noFill/>
          <a:ln>
            <a:noFill/>
          </a:ln>
        </p:spPr>
        <p:txBody>
          <a:bodyPr spcFirstLastPara="1" wrap="square" lIns="0" tIns="0" rIns="0" bIns="0" anchor="t" anchorCtr="0">
            <a:spAutoFit/>
          </a:bodyPr>
          <a:lstStyle/>
          <a:p>
            <a:pPr>
              <a:buSzPts val="1400"/>
            </a:pPr>
            <a:r>
              <a:rPr lang="en-US" sz="1228" b="1">
                <a:latin typeface="Calibri"/>
                <a:ea typeface="Calibri"/>
                <a:cs typeface="Calibri"/>
                <a:sym typeface="Calibri"/>
              </a:rPr>
              <a:t>Ad-hoc deliverables :</a:t>
            </a:r>
            <a:endParaRPr sz="1228"/>
          </a:p>
          <a:p>
            <a:pPr>
              <a:buSzPts val="1400"/>
            </a:pPr>
            <a:r>
              <a:rPr lang="en-US" sz="1228">
                <a:latin typeface="Calibri"/>
                <a:ea typeface="Calibri"/>
                <a:cs typeface="Calibri"/>
                <a:sym typeface="Calibri"/>
              </a:rPr>
              <a:t>Dictionaries, Creation of Metadata, Data Quality on boarding</a:t>
            </a:r>
            <a:endParaRPr sz="1228"/>
          </a:p>
        </p:txBody>
      </p:sp>
      <p:sp>
        <p:nvSpPr>
          <p:cNvPr id="1361" name="Google Shape;1361;p43"/>
          <p:cNvSpPr txBox="1"/>
          <p:nvPr/>
        </p:nvSpPr>
        <p:spPr>
          <a:xfrm>
            <a:off x="6197652" y="2926137"/>
            <a:ext cx="1400996" cy="2078582"/>
          </a:xfrm>
          <a:prstGeom prst="rect">
            <a:avLst/>
          </a:prstGeom>
          <a:noFill/>
          <a:ln>
            <a:noFill/>
          </a:ln>
        </p:spPr>
        <p:txBody>
          <a:bodyPr spcFirstLastPara="1" wrap="square" lIns="0" tIns="0" rIns="0" bIns="0" anchor="t" anchorCtr="0">
            <a:spAutoFit/>
          </a:bodyPr>
          <a:lstStyle/>
          <a:p>
            <a:pPr>
              <a:buSzPts val="1400"/>
            </a:pPr>
            <a:r>
              <a:rPr lang="en-US" sz="1228" b="1" dirty="0">
                <a:latin typeface="Calibri"/>
                <a:ea typeface="Calibri"/>
                <a:cs typeface="Calibri"/>
                <a:sym typeface="Calibri"/>
              </a:rPr>
              <a:t>Data Quality &amp; Consistency problems </a:t>
            </a:r>
            <a:r>
              <a:rPr lang="en-US" sz="1228" dirty="0">
                <a:latin typeface="Calibri"/>
                <a:ea typeface="Calibri"/>
                <a:cs typeface="Calibri"/>
                <a:sym typeface="Calibri"/>
              </a:rPr>
              <a:t>between the various Data sources </a:t>
            </a:r>
            <a:endParaRPr sz="1228" dirty="0">
              <a:latin typeface="Calibri"/>
              <a:ea typeface="Calibri"/>
              <a:cs typeface="Calibri"/>
              <a:sym typeface="Calibri"/>
            </a:endParaRPr>
          </a:p>
          <a:p>
            <a:pPr>
              <a:buSzPts val="1400"/>
            </a:pPr>
            <a:endParaRPr sz="1228" dirty="0">
              <a:solidFill>
                <a:srgbClr val="444444"/>
              </a:solidFill>
              <a:latin typeface="Calibri"/>
              <a:ea typeface="Calibri"/>
              <a:cs typeface="Calibri"/>
              <a:sym typeface="Calibri"/>
            </a:endParaRPr>
          </a:p>
          <a:p>
            <a:pPr>
              <a:buSzPts val="1400"/>
            </a:pPr>
            <a:endParaRPr sz="1228" dirty="0">
              <a:solidFill>
                <a:srgbClr val="444444"/>
              </a:solidFill>
              <a:latin typeface="Calibri"/>
              <a:ea typeface="Calibri"/>
              <a:cs typeface="Calibri"/>
              <a:sym typeface="Calibri"/>
            </a:endParaRPr>
          </a:p>
          <a:p>
            <a:pPr>
              <a:buSzPts val="1400"/>
            </a:pPr>
            <a:r>
              <a:rPr lang="en-US" sz="1228" b="1" dirty="0">
                <a:latin typeface="Calibri"/>
                <a:ea typeface="Calibri"/>
                <a:cs typeface="Calibri"/>
                <a:sym typeface="Calibri"/>
              </a:rPr>
              <a:t>Dashboard creation </a:t>
            </a:r>
            <a:r>
              <a:rPr lang="en-US" sz="1228" dirty="0">
                <a:latin typeface="Calibri"/>
                <a:ea typeface="Calibri"/>
                <a:cs typeface="Calibri"/>
                <a:sym typeface="Calibri"/>
              </a:rPr>
              <a:t>that reflects HR Team needs</a:t>
            </a:r>
            <a:endParaRPr sz="1228" dirty="0">
              <a:latin typeface="Calibri"/>
              <a:ea typeface="Calibri"/>
              <a:cs typeface="Calibri"/>
              <a:sym typeface="Calibri"/>
            </a:endParaRPr>
          </a:p>
          <a:p>
            <a:pPr>
              <a:buSzPts val="1400"/>
            </a:pPr>
            <a:endParaRPr sz="1228" dirty="0"/>
          </a:p>
        </p:txBody>
      </p:sp>
      <p:sp>
        <p:nvSpPr>
          <p:cNvPr id="1362" name="Google Shape;1362;p43"/>
          <p:cNvSpPr txBox="1"/>
          <p:nvPr/>
        </p:nvSpPr>
        <p:spPr>
          <a:xfrm>
            <a:off x="8045674" y="2112009"/>
            <a:ext cx="1919429" cy="890693"/>
          </a:xfrm>
          <a:prstGeom prst="rect">
            <a:avLst/>
          </a:prstGeom>
          <a:noFill/>
          <a:ln>
            <a:noFill/>
          </a:ln>
        </p:spPr>
        <p:txBody>
          <a:bodyPr spcFirstLastPara="1" wrap="square" lIns="0" tIns="0" rIns="0" bIns="0" anchor="t" anchorCtr="0">
            <a:spAutoFit/>
          </a:bodyPr>
          <a:lstStyle/>
          <a:p>
            <a:pPr>
              <a:buSzPts val="1400"/>
            </a:pPr>
            <a:r>
              <a:rPr lang="en-US" sz="1140">
                <a:solidFill>
                  <a:srgbClr val="444444"/>
                </a:solidFill>
                <a:latin typeface="Calibri"/>
                <a:ea typeface="Calibri"/>
                <a:cs typeface="Calibri"/>
                <a:sym typeface="Calibri"/>
              </a:rPr>
              <a:t>The firm recognized </a:t>
            </a:r>
            <a:r>
              <a:rPr lang="en-US" sz="1140" b="1">
                <a:solidFill>
                  <a:srgbClr val="444444"/>
                </a:solidFill>
                <a:latin typeface="Calibri"/>
                <a:ea typeface="Calibri"/>
                <a:cs typeface="Calibri"/>
                <a:sym typeface="Calibri"/>
              </a:rPr>
              <a:t>that the quality of the Data Analytics service provided a useful reporting tool </a:t>
            </a:r>
            <a:r>
              <a:rPr lang="en-US" sz="1140">
                <a:solidFill>
                  <a:srgbClr val="444444"/>
                </a:solidFill>
                <a:latin typeface="Calibri"/>
                <a:ea typeface="Calibri"/>
                <a:cs typeface="Calibri"/>
                <a:sym typeface="Calibri"/>
              </a:rPr>
              <a:t>resulting in:</a:t>
            </a:r>
            <a:endParaRPr sz="1140">
              <a:latin typeface="Calibri"/>
              <a:ea typeface="Calibri"/>
              <a:cs typeface="Calibri"/>
              <a:sym typeface="Calibri"/>
            </a:endParaRPr>
          </a:p>
          <a:p>
            <a:pPr>
              <a:buSzPts val="1400"/>
            </a:pPr>
            <a:endParaRPr sz="1228">
              <a:highlight>
                <a:srgbClr val="FFFF00"/>
              </a:highlight>
            </a:endParaRPr>
          </a:p>
        </p:txBody>
      </p:sp>
      <p:pic>
        <p:nvPicPr>
          <p:cNvPr id="1363" name="Google Shape;1363;p43" descr="List"/>
          <p:cNvPicPr preferRelativeResize="0"/>
          <p:nvPr/>
        </p:nvPicPr>
        <p:blipFill rotWithShape="1">
          <a:blip r:embed="rId9">
            <a:alphaModFix/>
          </a:blip>
          <a:srcRect/>
          <a:stretch/>
        </p:blipFill>
        <p:spPr>
          <a:xfrm>
            <a:off x="5552634" y="5326720"/>
            <a:ext cx="414446" cy="399626"/>
          </a:xfrm>
          <a:prstGeom prst="rect">
            <a:avLst/>
          </a:prstGeom>
          <a:noFill/>
          <a:ln>
            <a:noFill/>
          </a:ln>
        </p:spPr>
      </p:pic>
      <p:sp>
        <p:nvSpPr>
          <p:cNvPr id="1364" name="Google Shape;1364;p43"/>
          <p:cNvSpPr/>
          <p:nvPr/>
        </p:nvSpPr>
        <p:spPr>
          <a:xfrm>
            <a:off x="5500828" y="5285558"/>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nvGrpSpPr>
          <p:cNvPr id="1365" name="Google Shape;1365;p43"/>
          <p:cNvGrpSpPr/>
          <p:nvPr/>
        </p:nvGrpSpPr>
        <p:grpSpPr>
          <a:xfrm>
            <a:off x="326982" y="3932189"/>
            <a:ext cx="2213972" cy="365304"/>
            <a:chOff x="550863" y="4854495"/>
            <a:chExt cx="3188017" cy="416560"/>
          </a:xfrm>
        </p:grpSpPr>
        <p:cxnSp>
          <p:nvCxnSpPr>
            <p:cNvPr id="1366" name="Google Shape;1366;p43"/>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367" name="Google Shape;1367;p43"/>
            <p:cNvSpPr/>
            <p:nvPr/>
          </p:nvSpPr>
          <p:spPr>
            <a:xfrm>
              <a:off x="1936591" y="4854495"/>
              <a:ext cx="416560" cy="416560"/>
            </a:xfrm>
            <a:prstGeom prst="ellipse">
              <a:avLst/>
            </a:prstGeom>
            <a:solidFill>
              <a:schemeClr val="lt2"/>
            </a:solidFill>
            <a:ln>
              <a:noFill/>
            </a:ln>
          </p:spPr>
          <p:txBody>
            <a:bodyPr spcFirstLastPara="1" wrap="square" lIns="80175" tIns="40077" rIns="80175" bIns="40077" anchor="ctr" anchorCtr="0">
              <a:noAutofit/>
            </a:bodyPr>
            <a:lstStyle/>
            <a:p>
              <a:pPr algn="ctr">
                <a:buClr>
                  <a:srgbClr val="FFFFFF"/>
                </a:buClr>
                <a:buSzPts val="1800"/>
              </a:pPr>
              <a:endParaRPr sz="1579">
                <a:solidFill>
                  <a:srgbClr val="FFFFFF"/>
                </a:solidFill>
                <a:latin typeface="Calibri"/>
                <a:ea typeface="Calibri"/>
                <a:cs typeface="Calibri"/>
                <a:sym typeface="Calibri"/>
              </a:endParaRPr>
            </a:p>
          </p:txBody>
        </p:sp>
        <p:grpSp>
          <p:nvGrpSpPr>
            <p:cNvPr id="1368" name="Google Shape;1368;p43"/>
            <p:cNvGrpSpPr/>
            <p:nvPr/>
          </p:nvGrpSpPr>
          <p:grpSpPr>
            <a:xfrm>
              <a:off x="1994217" y="4949317"/>
              <a:ext cx="301308" cy="220726"/>
              <a:chOff x="5754688" y="3178175"/>
              <a:chExt cx="682626" cy="500063"/>
            </a:xfrm>
          </p:grpSpPr>
          <p:sp>
            <p:nvSpPr>
              <p:cNvPr id="1369" name="Google Shape;1369;p43"/>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sp>
            <p:nvSpPr>
              <p:cNvPr id="1370" name="Google Shape;1370;p43"/>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grpSp>
      </p:grpSp>
      <p:grpSp>
        <p:nvGrpSpPr>
          <p:cNvPr id="1371" name="Google Shape;1371;p43"/>
          <p:cNvGrpSpPr/>
          <p:nvPr/>
        </p:nvGrpSpPr>
        <p:grpSpPr>
          <a:xfrm>
            <a:off x="328278" y="5772943"/>
            <a:ext cx="2213972" cy="365304"/>
            <a:chOff x="550863" y="4854495"/>
            <a:chExt cx="3188017" cy="416560"/>
          </a:xfrm>
        </p:grpSpPr>
        <p:cxnSp>
          <p:nvCxnSpPr>
            <p:cNvPr id="1372" name="Google Shape;1372;p43"/>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373" name="Google Shape;1373;p43"/>
            <p:cNvSpPr/>
            <p:nvPr/>
          </p:nvSpPr>
          <p:spPr>
            <a:xfrm>
              <a:off x="1936591" y="4854495"/>
              <a:ext cx="416560" cy="416560"/>
            </a:xfrm>
            <a:prstGeom prst="ellipse">
              <a:avLst/>
            </a:prstGeom>
            <a:solidFill>
              <a:schemeClr val="lt2"/>
            </a:solidFill>
            <a:ln>
              <a:noFill/>
            </a:ln>
          </p:spPr>
          <p:txBody>
            <a:bodyPr spcFirstLastPara="1" wrap="square" lIns="80175" tIns="40077" rIns="80175" bIns="40077" anchor="ctr" anchorCtr="0">
              <a:noAutofit/>
            </a:bodyPr>
            <a:lstStyle/>
            <a:p>
              <a:pPr algn="ctr">
                <a:buClr>
                  <a:srgbClr val="FFFFFF"/>
                </a:buClr>
                <a:buSzPts val="1800"/>
              </a:pPr>
              <a:endParaRPr sz="1579">
                <a:solidFill>
                  <a:srgbClr val="FFFFFF"/>
                </a:solidFill>
                <a:latin typeface="Calibri"/>
                <a:ea typeface="Calibri"/>
                <a:cs typeface="Calibri"/>
                <a:sym typeface="Calibri"/>
              </a:endParaRPr>
            </a:p>
          </p:txBody>
        </p:sp>
        <p:grpSp>
          <p:nvGrpSpPr>
            <p:cNvPr id="1374" name="Google Shape;1374;p43"/>
            <p:cNvGrpSpPr/>
            <p:nvPr/>
          </p:nvGrpSpPr>
          <p:grpSpPr>
            <a:xfrm>
              <a:off x="1994217" y="4949317"/>
              <a:ext cx="301308" cy="220726"/>
              <a:chOff x="5754688" y="3178175"/>
              <a:chExt cx="682626" cy="500063"/>
            </a:xfrm>
          </p:grpSpPr>
          <p:sp>
            <p:nvSpPr>
              <p:cNvPr id="1375" name="Google Shape;1375;p43"/>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sp>
            <p:nvSpPr>
              <p:cNvPr id="1376" name="Google Shape;1376;p43"/>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grpSp>
      </p:grpSp>
      <p:pic>
        <p:nvPicPr>
          <p:cNvPr id="1377" name="Google Shape;1377;p43" descr="The importance of the Data Quality - Captain Verify"/>
          <p:cNvPicPr preferRelativeResize="0"/>
          <p:nvPr/>
        </p:nvPicPr>
        <p:blipFill rotWithShape="1">
          <a:blip r:embed="rId10">
            <a:alphaModFix/>
          </a:blip>
          <a:srcRect/>
          <a:stretch/>
        </p:blipFill>
        <p:spPr>
          <a:xfrm>
            <a:off x="5591008" y="3039129"/>
            <a:ext cx="320655" cy="499532"/>
          </a:xfrm>
          <a:prstGeom prst="rect">
            <a:avLst/>
          </a:prstGeom>
          <a:noFill/>
          <a:ln>
            <a:noFill/>
          </a:ln>
        </p:spPr>
      </p:pic>
      <p:pic>
        <p:nvPicPr>
          <p:cNvPr id="1378" name="Google Shape;1378;p43" descr="Report Icons Added to Dashboard Suggestions - 4me"/>
          <p:cNvPicPr preferRelativeResize="0"/>
          <p:nvPr/>
        </p:nvPicPr>
        <p:blipFill rotWithShape="1">
          <a:blip r:embed="rId11">
            <a:alphaModFix/>
          </a:blip>
          <a:srcRect/>
          <a:stretch/>
        </p:blipFill>
        <p:spPr>
          <a:xfrm>
            <a:off x="5525870" y="4169287"/>
            <a:ext cx="464128" cy="553977"/>
          </a:xfrm>
          <a:prstGeom prst="rect">
            <a:avLst/>
          </a:prstGeom>
          <a:noFill/>
          <a:ln>
            <a:noFill/>
          </a:ln>
        </p:spPr>
      </p:pic>
      <p:sp>
        <p:nvSpPr>
          <p:cNvPr id="1379" name="Google Shape;1379;p43"/>
          <p:cNvSpPr txBox="1"/>
          <p:nvPr/>
        </p:nvSpPr>
        <p:spPr>
          <a:xfrm>
            <a:off x="8045674" y="3051421"/>
            <a:ext cx="2154228" cy="1052596"/>
          </a:xfrm>
          <a:prstGeom prst="rect">
            <a:avLst/>
          </a:prstGeom>
          <a:noFill/>
          <a:ln>
            <a:noFill/>
          </a:ln>
        </p:spPr>
        <p:txBody>
          <a:bodyPr spcFirstLastPara="1" wrap="square" lIns="0" tIns="0" rIns="0" bIns="0" anchor="t" anchorCtr="0">
            <a:spAutoFit/>
          </a:bodyPr>
          <a:lstStyle/>
          <a:p>
            <a:pPr>
              <a:buClr>
                <a:srgbClr val="444444"/>
              </a:buClr>
              <a:buSzPts val="1300"/>
            </a:pPr>
            <a:r>
              <a:rPr lang="en-US" sz="1140" dirty="0">
                <a:solidFill>
                  <a:srgbClr val="444444"/>
                </a:solidFill>
                <a:latin typeface="Calibri"/>
                <a:ea typeface="Calibri"/>
                <a:cs typeface="Calibri"/>
                <a:sym typeface="Calibri"/>
              </a:rPr>
              <a:t>During the project, Data were corrected in the ERPs :</a:t>
            </a:r>
            <a:endParaRPr sz="1228" dirty="0"/>
          </a:p>
          <a:p>
            <a:pPr marL="250603" indent="-250603">
              <a:buClr>
                <a:srgbClr val="444444"/>
              </a:buClr>
              <a:buSzPts val="1300"/>
              <a:buFont typeface="Arial"/>
              <a:buChar char="•"/>
            </a:pPr>
            <a:r>
              <a:rPr lang="en-US" sz="1140" b="1" dirty="0">
                <a:solidFill>
                  <a:srgbClr val="444444"/>
                </a:solidFill>
                <a:latin typeface="Calibri"/>
                <a:ea typeface="Calibri"/>
                <a:cs typeface="Calibri"/>
                <a:sym typeface="Calibri"/>
              </a:rPr>
              <a:t>Manual files </a:t>
            </a:r>
            <a:r>
              <a:rPr lang="en-US" sz="1140" dirty="0">
                <a:solidFill>
                  <a:srgbClr val="444444"/>
                </a:solidFill>
                <a:latin typeface="Calibri"/>
                <a:ea typeface="Calibri"/>
                <a:cs typeface="Calibri"/>
                <a:sym typeface="Calibri"/>
              </a:rPr>
              <a:t>were</a:t>
            </a:r>
            <a:r>
              <a:rPr lang="en-US" sz="1140" b="1" dirty="0">
                <a:solidFill>
                  <a:srgbClr val="444444"/>
                </a:solidFill>
                <a:latin typeface="Calibri"/>
                <a:ea typeface="Calibri"/>
                <a:cs typeface="Calibri"/>
                <a:sym typeface="Calibri"/>
              </a:rPr>
              <a:t> not used anymore</a:t>
            </a:r>
            <a:endParaRPr sz="1228" dirty="0"/>
          </a:p>
          <a:p>
            <a:pPr marL="250603" indent="-250603">
              <a:buClr>
                <a:srgbClr val="444444"/>
              </a:buClr>
              <a:buSzPts val="1300"/>
              <a:buFont typeface="Arial"/>
              <a:buChar char="•"/>
            </a:pPr>
            <a:r>
              <a:rPr lang="en-US" sz="1140" b="1" dirty="0">
                <a:solidFill>
                  <a:srgbClr val="444444"/>
                </a:solidFill>
                <a:latin typeface="Calibri"/>
                <a:ea typeface="Calibri"/>
                <a:cs typeface="Calibri"/>
                <a:sym typeface="Calibri"/>
              </a:rPr>
              <a:t>Data Quality improved by 55% </a:t>
            </a:r>
            <a:r>
              <a:rPr lang="en-US" sz="1140" i="1" dirty="0">
                <a:solidFill>
                  <a:srgbClr val="444444"/>
                </a:solidFill>
                <a:latin typeface="Calibri"/>
                <a:ea typeface="Calibri"/>
                <a:cs typeface="Calibri"/>
                <a:sym typeface="Calibri"/>
              </a:rPr>
              <a:t>for critical data elements </a:t>
            </a:r>
            <a:endParaRPr sz="1228" dirty="0"/>
          </a:p>
        </p:txBody>
      </p:sp>
      <p:sp>
        <p:nvSpPr>
          <p:cNvPr id="1380" name="Google Shape;1380;p43"/>
          <p:cNvSpPr/>
          <p:nvPr/>
        </p:nvSpPr>
        <p:spPr>
          <a:xfrm>
            <a:off x="5498905" y="4169287"/>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81" name="Google Shape;1381;p43"/>
          <p:cNvSpPr/>
          <p:nvPr/>
        </p:nvSpPr>
        <p:spPr>
          <a:xfrm>
            <a:off x="5501803" y="3033502"/>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2" name="Google Shape;919;p38">
            <a:extLst>
              <a:ext uri="{FF2B5EF4-FFF2-40B4-BE49-F238E27FC236}">
                <a16:creationId xmlns:a16="http://schemas.microsoft.com/office/drawing/2014/main" id="{99A0EBE8-AC71-7D3C-7B4C-6F755E3936D1}"/>
              </a:ext>
            </a:extLst>
          </p:cNvPr>
          <p:cNvSpPr txBox="1">
            <a:spLocks/>
          </p:cNvSpPr>
          <p:nvPr/>
        </p:nvSpPr>
        <p:spPr>
          <a:xfrm>
            <a:off x="124969" y="284360"/>
            <a:ext cx="11089972" cy="33239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buClr>
                <a:schemeClr val="dk2"/>
              </a:buClr>
              <a:buSzPts val="3200"/>
              <a:buFont typeface="Franklin Gothic"/>
              <a:buNone/>
            </a:pPr>
            <a:r>
              <a:rPr lang="en-US" sz="2400" b="1" dirty="0">
                <a:solidFill>
                  <a:srgbClr val="0F47F2"/>
                </a:solidFill>
              </a:rPr>
              <a:t>Data Visualisation: Human Resources</a:t>
            </a:r>
          </a:p>
        </p:txBody>
      </p:sp>
      <p:sp>
        <p:nvSpPr>
          <p:cNvPr id="3" name="Rectangle: Folded Corner 2">
            <a:extLst>
              <a:ext uri="{FF2B5EF4-FFF2-40B4-BE49-F238E27FC236}">
                <a16:creationId xmlns:a16="http://schemas.microsoft.com/office/drawing/2014/main" id="{ED98FAFD-F39E-263A-F98B-8362781F476F}"/>
              </a:ext>
            </a:extLst>
          </p:cNvPr>
          <p:cNvSpPr/>
          <p:nvPr/>
        </p:nvSpPr>
        <p:spPr>
          <a:xfrm>
            <a:off x="7763818" y="70401"/>
            <a:ext cx="2100664" cy="1005453"/>
          </a:xfrm>
          <a:prstGeom prst="foldedCorner">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Case Study from the DA Document</a:t>
            </a:r>
            <a:endParaRPr lang="en-GB" sz="1600" b="1" dirty="0">
              <a:solidFill>
                <a:schemeClr val="bg1"/>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t 20" hidden="1">
            <a:extLst>
              <a:ext uri="{FF2B5EF4-FFF2-40B4-BE49-F238E27FC236}">
                <a16:creationId xmlns:a16="http://schemas.microsoft.com/office/drawing/2014/main" id="{80A6684E-3F26-3FFE-4910-1FBD37D63DEC}"/>
              </a:ext>
            </a:extLst>
          </p:cNvPr>
          <p:cNvGraphicFramePr>
            <a:graphicFrameLocks noChangeAspect="1"/>
          </p:cNvGraphicFramePr>
          <p:nvPr>
            <p:custDataLst>
              <p:tags r:id="rId1"/>
            </p:custDataLst>
          </p:nvPr>
        </p:nvGraphicFramePr>
        <p:xfrm>
          <a:off x="307873" y="1750"/>
          <a:ext cx="1750" cy="1750"/>
        </p:xfrm>
        <a:graphic>
          <a:graphicData uri="http://schemas.openxmlformats.org/presentationml/2006/ole">
            <mc:AlternateContent xmlns:mc="http://schemas.openxmlformats.org/markup-compatibility/2006">
              <mc:Choice xmlns:v="urn:schemas-microsoft-com:vml" Requires="v">
                <p:oleObj name="Diapositive think-cell" r:id="rId3" imgW="425" imgH="424" progId="TCLayout.ActiveDocument.1">
                  <p:embed/>
                </p:oleObj>
              </mc:Choice>
              <mc:Fallback>
                <p:oleObj name="Diapositive think-cell" r:id="rId3" imgW="425" imgH="424" progId="TCLayout.ActiveDocument.1">
                  <p:embed/>
                  <p:pic>
                    <p:nvPicPr>
                      <p:cNvPr id="21" name="Objet 20" hidden="1">
                        <a:extLst>
                          <a:ext uri="{FF2B5EF4-FFF2-40B4-BE49-F238E27FC236}">
                            <a16:creationId xmlns:a16="http://schemas.microsoft.com/office/drawing/2014/main" id="{80A6684E-3F26-3FFE-4910-1FBD37D63DEC}"/>
                          </a:ext>
                        </a:extLst>
                      </p:cNvPr>
                      <p:cNvPicPr/>
                      <p:nvPr/>
                    </p:nvPicPr>
                    <p:blipFill>
                      <a:blip r:embed="rId4"/>
                      <a:stretch>
                        <a:fillRect/>
                      </a:stretch>
                    </p:blipFill>
                    <p:spPr>
                      <a:xfrm>
                        <a:off x="307873" y="1750"/>
                        <a:ext cx="1750" cy="1750"/>
                      </a:xfrm>
                      <a:prstGeom prst="rect">
                        <a:avLst/>
                      </a:prstGeom>
                    </p:spPr>
                  </p:pic>
                </p:oleObj>
              </mc:Fallback>
            </mc:AlternateContent>
          </a:graphicData>
        </a:graphic>
      </p:graphicFrame>
      <p:pic>
        <p:nvPicPr>
          <p:cNvPr id="25" name="Espace réservé du contenu 24">
            <a:extLst>
              <a:ext uri="{FF2B5EF4-FFF2-40B4-BE49-F238E27FC236}">
                <a16:creationId xmlns:a16="http://schemas.microsoft.com/office/drawing/2014/main" id="{9C3FB998-0816-255C-2EC4-C25E62974B1E}"/>
              </a:ext>
            </a:extLst>
          </p:cNvPr>
          <p:cNvPicPr>
            <a:picLocks noGrp="1" noChangeAspect="1"/>
          </p:cNvPicPr>
          <p:nvPr>
            <p:ph idx="1"/>
          </p:nvPr>
        </p:nvPicPr>
        <p:blipFill>
          <a:blip r:embed="rId5"/>
          <a:stretch>
            <a:fillRect/>
          </a:stretch>
        </p:blipFill>
        <p:spPr>
          <a:xfrm>
            <a:off x="771603" y="1832656"/>
            <a:ext cx="4283816" cy="2870655"/>
          </a:xfrm>
        </p:spPr>
      </p:pic>
      <p:sp>
        <p:nvSpPr>
          <p:cNvPr id="17" name="Espace réservé du texte 16">
            <a:extLst>
              <a:ext uri="{FF2B5EF4-FFF2-40B4-BE49-F238E27FC236}">
                <a16:creationId xmlns:a16="http://schemas.microsoft.com/office/drawing/2014/main" id="{DE252055-714A-7C74-4999-B2AA0D459F56}"/>
              </a:ext>
            </a:extLst>
          </p:cNvPr>
          <p:cNvSpPr>
            <a:spLocks noGrp="1"/>
          </p:cNvSpPr>
          <p:nvPr>
            <p:ph type="body" sz="quarter" idx="16"/>
          </p:nvPr>
        </p:nvSpPr>
        <p:spPr>
          <a:xfrm>
            <a:off x="1468871" y="1450712"/>
            <a:ext cx="3057728" cy="340991"/>
          </a:xfrm>
        </p:spPr>
        <p:txBody>
          <a:bodyPr/>
          <a:lstStyle/>
          <a:p>
            <a:r>
              <a:rPr lang="en-US" dirty="0"/>
              <a:t>Baseline regression model</a:t>
            </a:r>
          </a:p>
        </p:txBody>
      </p:sp>
      <p:sp>
        <p:nvSpPr>
          <p:cNvPr id="18" name="Espace réservé du texte 17">
            <a:extLst>
              <a:ext uri="{FF2B5EF4-FFF2-40B4-BE49-F238E27FC236}">
                <a16:creationId xmlns:a16="http://schemas.microsoft.com/office/drawing/2014/main" id="{0CEC7E46-05F8-6BB4-511C-99EE23552D1F}"/>
              </a:ext>
            </a:extLst>
          </p:cNvPr>
          <p:cNvSpPr>
            <a:spLocks noGrp="1"/>
          </p:cNvSpPr>
          <p:nvPr>
            <p:ph type="body" sz="quarter" idx="17"/>
          </p:nvPr>
        </p:nvSpPr>
        <p:spPr>
          <a:xfrm>
            <a:off x="6407313" y="1488074"/>
            <a:ext cx="2688267" cy="346768"/>
          </a:xfrm>
        </p:spPr>
        <p:txBody>
          <a:bodyPr/>
          <a:lstStyle/>
          <a:p>
            <a:r>
              <a:rPr lang="en-US" dirty="0"/>
              <a:t>Final regression model</a:t>
            </a:r>
          </a:p>
        </p:txBody>
      </p:sp>
      <p:sp>
        <p:nvSpPr>
          <p:cNvPr id="19" name="Espace réservé du texte 18">
            <a:extLst>
              <a:ext uri="{FF2B5EF4-FFF2-40B4-BE49-F238E27FC236}">
                <a16:creationId xmlns:a16="http://schemas.microsoft.com/office/drawing/2014/main" id="{890C8C4C-2897-FB5D-411A-6CC148195587}"/>
              </a:ext>
            </a:extLst>
          </p:cNvPr>
          <p:cNvSpPr>
            <a:spLocks noGrp="1"/>
          </p:cNvSpPr>
          <p:nvPr>
            <p:ph type="body" sz="quarter" idx="18"/>
          </p:nvPr>
        </p:nvSpPr>
        <p:spPr>
          <a:xfrm>
            <a:off x="849374" y="5588130"/>
            <a:ext cx="10697711" cy="2231445"/>
          </a:xfrm>
        </p:spPr>
        <p:txBody>
          <a:bodyPr/>
          <a:lstStyle/>
          <a:p>
            <a:pPr algn="just"/>
            <a:r>
              <a:rPr lang="en-US" sz="882" b="0" dirty="0"/>
              <a:t>Through multiple iterations, we removed multicollinearity of features using </a:t>
            </a:r>
            <a:r>
              <a:rPr lang="en-US" sz="882" dirty="0"/>
              <a:t>Variance Inflation Factor </a:t>
            </a:r>
            <a:r>
              <a:rPr lang="en-US" sz="882" b="0" dirty="0"/>
              <a:t>and removed low importance features with </a:t>
            </a:r>
            <a:r>
              <a:rPr lang="en-US" sz="882" dirty="0"/>
              <a:t>P-values</a:t>
            </a:r>
            <a:r>
              <a:rPr lang="en-US" sz="882" b="0" dirty="0"/>
              <a:t>. </a:t>
            </a:r>
          </a:p>
          <a:p>
            <a:pPr algn="just"/>
            <a:r>
              <a:rPr lang="en-US" sz="882" b="0" dirty="0"/>
              <a:t>We then checked the four different assumptions of linear regression and fixed the model iteratively:</a:t>
            </a:r>
          </a:p>
          <a:p>
            <a:pPr marL="188989" indent="-188989" algn="just">
              <a:buFont typeface="Arial" panose="020B0604020202020204" pitchFamily="34" charset="0"/>
              <a:buChar char="•"/>
            </a:pPr>
            <a:r>
              <a:rPr lang="en-US" sz="882" dirty="0"/>
              <a:t>Mean of residuals should be 0</a:t>
            </a:r>
          </a:p>
          <a:p>
            <a:pPr marL="188989" indent="-188989" algn="just">
              <a:buFont typeface="Arial" panose="020B0604020202020204" pitchFamily="34" charset="0"/>
              <a:buChar char="•"/>
            </a:pPr>
            <a:r>
              <a:rPr lang="en-US" sz="882" dirty="0"/>
              <a:t>Normality of error terms</a:t>
            </a:r>
          </a:p>
          <a:p>
            <a:pPr marL="188989" indent="-188989" algn="just">
              <a:buFont typeface="Arial" panose="020B0604020202020204" pitchFamily="34" charset="0"/>
              <a:buChar char="•"/>
            </a:pPr>
            <a:r>
              <a:rPr lang="en-US" sz="882" dirty="0"/>
              <a:t>Linearity of variables</a:t>
            </a:r>
          </a:p>
          <a:p>
            <a:pPr marL="188989" indent="-188989" algn="just">
              <a:buFont typeface="Arial" panose="020B0604020202020204" pitchFamily="34" charset="0"/>
              <a:buChar char="•"/>
            </a:pPr>
            <a:r>
              <a:rPr lang="en-US" sz="882" dirty="0"/>
              <a:t>No heteroscedasticity</a:t>
            </a:r>
          </a:p>
          <a:p>
            <a:pPr algn="just"/>
            <a:endParaRPr lang="en-US" sz="882" b="0" dirty="0"/>
          </a:p>
          <a:p>
            <a:pPr algn="just"/>
            <a:r>
              <a:rPr lang="en-US" sz="882" b="0" dirty="0"/>
              <a:t>Final model equation has been computed and given bellow :</a:t>
            </a:r>
          </a:p>
          <a:p>
            <a:pPr algn="just"/>
            <a:endParaRPr lang="en-US" sz="1102" b="0" dirty="0"/>
          </a:p>
        </p:txBody>
      </p:sp>
      <p:sp>
        <p:nvSpPr>
          <p:cNvPr id="10" name="Espace réservé du pied de page 9">
            <a:extLst>
              <a:ext uri="{FF2B5EF4-FFF2-40B4-BE49-F238E27FC236}">
                <a16:creationId xmlns:a16="http://schemas.microsoft.com/office/drawing/2014/main" id="{BF281E2A-EC62-E3A4-0F87-B0904005861E}"/>
              </a:ext>
            </a:extLst>
          </p:cNvPr>
          <p:cNvSpPr>
            <a:spLocks noGrp="1"/>
          </p:cNvSpPr>
          <p:nvPr>
            <p:ph type="ftr" sz="quarter" idx="19"/>
          </p:nvPr>
        </p:nvSpPr>
        <p:spPr/>
        <p:txBody>
          <a:bodyPr/>
          <a:lstStyle/>
          <a:p>
            <a:r>
              <a:rPr lang="en-US"/>
              <a:t>Sources:</a:t>
            </a:r>
            <a:endParaRPr lang="en-US" dirty="0"/>
          </a:p>
        </p:txBody>
      </p:sp>
      <p:sp>
        <p:nvSpPr>
          <p:cNvPr id="11" name="Espace réservé du numéro de diapositive 10">
            <a:extLst>
              <a:ext uri="{FF2B5EF4-FFF2-40B4-BE49-F238E27FC236}">
                <a16:creationId xmlns:a16="http://schemas.microsoft.com/office/drawing/2014/main" id="{7173D5E8-205D-BFA4-EBBA-2F43A12050D4}"/>
              </a:ext>
            </a:extLst>
          </p:cNvPr>
          <p:cNvSpPr>
            <a:spLocks noGrp="1"/>
          </p:cNvSpPr>
          <p:nvPr>
            <p:ph type="sldNum" sz="quarter" idx="20"/>
          </p:nvPr>
        </p:nvSpPr>
        <p:spPr/>
        <p:txBody>
          <a:bodyPr/>
          <a:lstStyle/>
          <a:p>
            <a:fld id="{D04A32BC-4AEA-4C75-B397-D319FFB728D1}" type="slidenum">
              <a:rPr lang="en-US" smtClean="0"/>
              <a:pPr/>
              <a:t>10</a:t>
            </a:fld>
            <a:endParaRPr lang="en-US" dirty="0"/>
          </a:p>
        </p:txBody>
      </p:sp>
      <p:sp>
        <p:nvSpPr>
          <p:cNvPr id="20" name="Espace réservé du texte 19">
            <a:extLst>
              <a:ext uri="{FF2B5EF4-FFF2-40B4-BE49-F238E27FC236}">
                <a16:creationId xmlns:a16="http://schemas.microsoft.com/office/drawing/2014/main" id="{A55B93FC-B466-A5F7-1A1C-F1268E5FED74}"/>
              </a:ext>
            </a:extLst>
          </p:cNvPr>
          <p:cNvSpPr>
            <a:spLocks noGrp="1"/>
          </p:cNvSpPr>
          <p:nvPr>
            <p:ph type="body" sz="quarter" idx="21"/>
          </p:nvPr>
        </p:nvSpPr>
        <p:spPr>
          <a:xfrm>
            <a:off x="849991" y="1075891"/>
            <a:ext cx="10697830" cy="617670"/>
          </a:xfrm>
        </p:spPr>
        <p:txBody>
          <a:bodyPr/>
          <a:lstStyle/>
          <a:p>
            <a:r>
              <a:rPr lang="en-US" sz="882" dirty="0"/>
              <a:t>During the modelling analysis, it is crucial to </a:t>
            </a:r>
            <a:r>
              <a:rPr lang="en-US" sz="882" b="1" dirty="0"/>
              <a:t>remove multi-collinearity</a:t>
            </a:r>
            <a:r>
              <a:rPr lang="en-US" sz="882" dirty="0"/>
              <a:t> and to keep only the </a:t>
            </a:r>
            <a:r>
              <a:rPr lang="en-US" sz="882" b="1" dirty="0"/>
              <a:t>relevant features</a:t>
            </a:r>
            <a:r>
              <a:rPr lang="en-US" sz="882" dirty="0"/>
              <a:t>. Linear regressions also need to satisfy four major assumptions that we will study to have the most accurate mathematical model.</a:t>
            </a:r>
          </a:p>
          <a:p>
            <a:endParaRPr lang="en-US" sz="882" dirty="0"/>
          </a:p>
        </p:txBody>
      </p:sp>
      <p:sp>
        <p:nvSpPr>
          <p:cNvPr id="14" name="Titre 13">
            <a:extLst>
              <a:ext uri="{FF2B5EF4-FFF2-40B4-BE49-F238E27FC236}">
                <a16:creationId xmlns:a16="http://schemas.microsoft.com/office/drawing/2014/main" id="{492532B8-6975-E0B0-7B92-C019F3928B92}"/>
              </a:ext>
            </a:extLst>
          </p:cNvPr>
          <p:cNvSpPr>
            <a:spLocks noGrp="1"/>
          </p:cNvSpPr>
          <p:nvPr>
            <p:ph type="title"/>
          </p:nvPr>
        </p:nvSpPr>
        <p:spPr>
          <a:xfrm>
            <a:off x="493467" y="511141"/>
            <a:ext cx="9704877" cy="366447"/>
          </a:xfrm>
        </p:spPr>
        <p:txBody>
          <a:bodyPr vert="horz"/>
          <a:lstStyle/>
          <a:p>
            <a:r>
              <a:rPr lang="en-US" dirty="0"/>
              <a:t>Modelling linear regression</a:t>
            </a:r>
          </a:p>
        </p:txBody>
      </p:sp>
      <p:pic>
        <p:nvPicPr>
          <p:cNvPr id="29" name="Image 28">
            <a:extLst>
              <a:ext uri="{FF2B5EF4-FFF2-40B4-BE49-F238E27FC236}">
                <a16:creationId xmlns:a16="http://schemas.microsoft.com/office/drawing/2014/main" id="{15E6B7C3-E5CB-05FB-4114-092F1335BD66}"/>
              </a:ext>
            </a:extLst>
          </p:cNvPr>
          <p:cNvPicPr>
            <a:picLocks noChangeAspect="1"/>
          </p:cNvPicPr>
          <p:nvPr/>
        </p:nvPicPr>
        <p:blipFill>
          <a:blip r:embed="rId6"/>
          <a:stretch>
            <a:fillRect/>
          </a:stretch>
        </p:blipFill>
        <p:spPr>
          <a:xfrm>
            <a:off x="1748819" y="6492060"/>
            <a:ext cx="8651628" cy="589576"/>
          </a:xfrm>
          <a:prstGeom prst="rect">
            <a:avLst/>
          </a:prstGeom>
        </p:spPr>
      </p:pic>
      <p:pic>
        <p:nvPicPr>
          <p:cNvPr id="38" name="Espace réservé du contenu 37">
            <a:extLst>
              <a:ext uri="{FF2B5EF4-FFF2-40B4-BE49-F238E27FC236}">
                <a16:creationId xmlns:a16="http://schemas.microsoft.com/office/drawing/2014/main" id="{589B2BF2-1E43-9048-6848-60C2919375C1}"/>
              </a:ext>
            </a:extLst>
          </p:cNvPr>
          <p:cNvPicPr>
            <a:picLocks noGrp="1" noChangeAspect="1"/>
          </p:cNvPicPr>
          <p:nvPr>
            <p:ph idx="10"/>
          </p:nvPr>
        </p:nvPicPr>
        <p:blipFill>
          <a:blip r:embed="rId7"/>
          <a:stretch>
            <a:fillRect/>
          </a:stretch>
        </p:blipFill>
        <p:spPr>
          <a:xfrm>
            <a:off x="5610145" y="2133706"/>
            <a:ext cx="4282065" cy="2569605"/>
          </a:xfrm>
        </p:spPr>
      </p:pic>
    </p:spTree>
    <p:extLst>
      <p:ext uri="{BB962C8B-B14F-4D97-AF65-F5344CB8AC3E}">
        <p14:creationId xmlns:p14="http://schemas.microsoft.com/office/powerpoint/2010/main" val="15690798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54"/>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323"/>
        <p:cNvGrpSpPr/>
        <p:nvPr/>
      </p:nvGrpSpPr>
      <p:grpSpPr>
        <a:xfrm>
          <a:off x="0" y="0"/>
          <a:ext cx="0" cy="0"/>
          <a:chOff x="0" y="0"/>
          <a:chExt cx="0" cy="0"/>
        </a:xfrm>
      </p:grpSpPr>
      <p:sp>
        <p:nvSpPr>
          <p:cNvPr id="1325" name="Google Shape;1325;p43"/>
          <p:cNvSpPr/>
          <p:nvPr/>
        </p:nvSpPr>
        <p:spPr>
          <a:xfrm>
            <a:off x="5369957" y="1253012"/>
            <a:ext cx="2277367" cy="6022299"/>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26" name="Google Shape;1326;p43"/>
          <p:cNvSpPr/>
          <p:nvPr/>
        </p:nvSpPr>
        <p:spPr>
          <a:xfrm>
            <a:off x="7933314" y="1253012"/>
            <a:ext cx="2277367" cy="6022299"/>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sp>
        <p:nvSpPr>
          <p:cNvPr id="1327" name="Google Shape;1327;p43"/>
          <p:cNvSpPr/>
          <p:nvPr/>
        </p:nvSpPr>
        <p:spPr>
          <a:xfrm>
            <a:off x="2806601" y="1253012"/>
            <a:ext cx="2277367" cy="6022299"/>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28" name="Google Shape;1328;p43"/>
          <p:cNvSpPr txBox="1"/>
          <p:nvPr/>
        </p:nvSpPr>
        <p:spPr>
          <a:xfrm>
            <a:off x="2984419" y="2112009"/>
            <a:ext cx="1921731" cy="2280624"/>
          </a:xfrm>
          <a:prstGeom prst="rect">
            <a:avLst/>
          </a:prstGeom>
          <a:noFill/>
          <a:ln>
            <a:noFill/>
          </a:ln>
        </p:spPr>
        <p:txBody>
          <a:bodyPr spcFirstLastPara="1" wrap="square" lIns="0" tIns="0" rIns="0" bIns="0" anchor="t" anchorCtr="0">
            <a:spAutoFit/>
          </a:bodyPr>
          <a:lstStyle/>
          <a:p>
            <a:pPr>
              <a:buClr>
                <a:srgbClr val="444444"/>
              </a:buClr>
              <a:buSzPts val="1300"/>
            </a:pPr>
            <a:r>
              <a:rPr lang="en-US" sz="1140" dirty="0">
                <a:solidFill>
                  <a:srgbClr val="444444"/>
                </a:solidFill>
                <a:latin typeface="Calibri"/>
                <a:ea typeface="Calibri"/>
                <a:cs typeface="Calibri"/>
                <a:sym typeface="Calibri"/>
              </a:rPr>
              <a:t>The client collects large amounts of candidates' feedback data during the recruitment process and was looking for ways to analyse these datasets based off on negative reviews on Glassdoor</a:t>
            </a:r>
            <a:endParaRPr sz="1140" dirty="0">
              <a:solidFill>
                <a:srgbClr val="444444"/>
              </a:solidFill>
              <a:latin typeface="Calibri"/>
              <a:ea typeface="Calibri"/>
              <a:cs typeface="Calibri"/>
              <a:sym typeface="Calibri"/>
            </a:endParaRPr>
          </a:p>
          <a:p>
            <a:pPr>
              <a:buClr>
                <a:srgbClr val="444444"/>
              </a:buClr>
              <a:buSzPts val="1300"/>
            </a:pPr>
            <a:endParaRPr sz="1140" dirty="0">
              <a:solidFill>
                <a:srgbClr val="444444"/>
              </a:solidFill>
              <a:latin typeface="Calibri"/>
              <a:ea typeface="Calibri"/>
              <a:cs typeface="Calibri"/>
              <a:sym typeface="Calibri"/>
            </a:endParaRPr>
          </a:p>
          <a:p>
            <a:pPr>
              <a:buClr>
                <a:srgbClr val="444444"/>
              </a:buClr>
              <a:buSzPts val="1300"/>
            </a:pPr>
            <a:r>
              <a:rPr lang="en-US" sz="1140" dirty="0">
                <a:solidFill>
                  <a:srgbClr val="444444"/>
                </a:solidFill>
                <a:latin typeface="Calibri"/>
                <a:ea typeface="Calibri"/>
                <a:cs typeface="Calibri"/>
                <a:sym typeface="Calibri"/>
              </a:rPr>
              <a:t>The firm was looking for: </a:t>
            </a:r>
            <a:endParaRPr sz="1228" dirty="0"/>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p:txBody>
      </p:sp>
      <p:sp>
        <p:nvSpPr>
          <p:cNvPr id="1329" name="Google Shape;1329;p43"/>
          <p:cNvSpPr txBox="1"/>
          <p:nvPr/>
        </p:nvSpPr>
        <p:spPr>
          <a:xfrm>
            <a:off x="5547775" y="2112009"/>
            <a:ext cx="1921731" cy="526298"/>
          </a:xfrm>
          <a:prstGeom prst="rect">
            <a:avLst/>
          </a:prstGeom>
          <a:noFill/>
          <a:ln>
            <a:noFill/>
          </a:ln>
        </p:spPr>
        <p:txBody>
          <a:bodyPr spcFirstLastPara="1" wrap="square" lIns="0" tIns="0" rIns="0" bIns="0" anchor="t" anchorCtr="0">
            <a:spAutoFit/>
          </a:bodyPr>
          <a:lstStyle/>
          <a:p>
            <a:pPr>
              <a:buClr>
                <a:srgbClr val="444444"/>
              </a:buClr>
              <a:buSzPts val="1300"/>
            </a:pPr>
            <a:r>
              <a:rPr lang="en-US" sz="1140" b="1" dirty="0">
                <a:solidFill>
                  <a:srgbClr val="222222"/>
                </a:solidFill>
                <a:latin typeface="Calibri"/>
                <a:ea typeface="Calibri"/>
                <a:cs typeface="Calibri"/>
                <a:sym typeface="Calibri"/>
              </a:rPr>
              <a:t>Infomineo’ s Data Analytics team addressed the client’s challenges by:</a:t>
            </a:r>
            <a:endParaRPr sz="1228" dirty="0">
              <a:solidFill>
                <a:srgbClr val="222222"/>
              </a:solidFill>
            </a:endParaRPr>
          </a:p>
        </p:txBody>
      </p:sp>
      <p:sp>
        <p:nvSpPr>
          <p:cNvPr id="1330" name="Google Shape;1330;p43"/>
          <p:cNvSpPr txBox="1"/>
          <p:nvPr/>
        </p:nvSpPr>
        <p:spPr>
          <a:xfrm>
            <a:off x="8043559" y="2082204"/>
            <a:ext cx="2154228" cy="4542782"/>
          </a:xfrm>
          <a:prstGeom prst="rect">
            <a:avLst/>
          </a:prstGeom>
          <a:noFill/>
          <a:ln>
            <a:noFill/>
          </a:ln>
        </p:spPr>
        <p:txBody>
          <a:bodyPr spcFirstLastPara="1" wrap="square" lIns="0" tIns="0" rIns="0" bIns="0" anchor="t" anchorCtr="0">
            <a:spAutoFit/>
          </a:bodyPr>
          <a:lstStyle/>
          <a:p>
            <a:pPr marL="285750" indent="-285750">
              <a:buClr>
                <a:srgbClr val="444444"/>
              </a:buClr>
              <a:buSzPts val="1300"/>
              <a:buFont typeface="Arial" panose="020B0604020202020204" pitchFamily="34" charset="0"/>
              <a:buChar char="•"/>
            </a:pPr>
            <a:r>
              <a:rPr lang="en-US" sz="1230" dirty="0">
                <a:latin typeface="Calibri" panose="020F0502020204030204" pitchFamily="34" charset="0"/>
                <a:ea typeface="Calibri" panose="020F0502020204030204" pitchFamily="34" charset="0"/>
                <a:cs typeface="Calibri" panose="020F0502020204030204" pitchFamily="34" charset="0"/>
              </a:rPr>
              <a:t>The analysis provided the client with a comprehensive overview of candidate sentiments, enabling them to identify areas of strength and areas for improvement in the recruitment process.</a:t>
            </a:r>
          </a:p>
          <a:p>
            <a:pPr marL="285750" indent="-285750">
              <a:buClr>
                <a:srgbClr val="444444"/>
              </a:buClr>
              <a:buSzPts val="1300"/>
              <a:buFont typeface="Arial" panose="020B0604020202020204" pitchFamily="34" charset="0"/>
              <a:buChar char="•"/>
            </a:pPr>
            <a:endParaRPr lang="en-US" sz="1230" b="1" dirty="0">
              <a:solidFill>
                <a:srgbClr val="444444"/>
              </a:solidFill>
              <a:highlight>
                <a:srgbClr val="FFFF00"/>
              </a:highlight>
              <a:latin typeface="Calibri" panose="020F0502020204030204" pitchFamily="34" charset="0"/>
              <a:ea typeface="Calibri" panose="020F0502020204030204" pitchFamily="34" charset="0"/>
              <a:cs typeface="Calibri" panose="020F0502020204030204" pitchFamily="34" charset="0"/>
              <a:sym typeface="Calibri"/>
            </a:endParaRPr>
          </a:p>
          <a:p>
            <a:pPr marL="285750" indent="-285750">
              <a:buClr>
                <a:srgbClr val="444444"/>
              </a:buClr>
              <a:buSzPts val="1300"/>
              <a:buFont typeface="Arial" panose="020B0604020202020204" pitchFamily="34" charset="0"/>
              <a:buChar char="•"/>
            </a:pPr>
            <a:r>
              <a:rPr lang="en-US" sz="1230" i="0" dirty="0">
                <a:effectLst/>
                <a:latin typeface="Calibri" panose="020F0502020204030204" pitchFamily="34" charset="0"/>
                <a:ea typeface="Calibri" panose="020F0502020204030204" pitchFamily="34" charset="0"/>
                <a:cs typeface="Calibri" panose="020F0502020204030204" pitchFamily="34" charset="0"/>
              </a:rPr>
              <a:t>In addition, the results of the analysis enabled the client to re-evaluate its recruitment procedures and make data-driven decisions </a:t>
            </a:r>
            <a:r>
              <a:rPr lang="en-US" sz="1230" dirty="0">
                <a:latin typeface="Calibri" panose="020F0502020204030204" pitchFamily="34" charset="0"/>
                <a:ea typeface="Calibri" panose="020F0502020204030204" pitchFamily="34" charset="0"/>
                <a:cs typeface="Calibri" panose="020F0502020204030204" pitchFamily="34" charset="0"/>
              </a:rPr>
              <a:t>to improve the candidate experience </a:t>
            </a:r>
            <a:r>
              <a:rPr lang="en-US" sz="1230" i="0" dirty="0">
                <a:effectLst/>
                <a:latin typeface="Calibri" panose="020F0502020204030204" pitchFamily="34" charset="0"/>
                <a:ea typeface="Calibri" panose="020F0502020204030204" pitchFamily="34" charset="0"/>
                <a:cs typeface="Calibri" panose="020F0502020204030204" pitchFamily="34" charset="0"/>
              </a:rPr>
              <a:t>at the </a:t>
            </a:r>
            <a:r>
              <a:rPr lang="en-US" sz="1230" dirty="0">
                <a:latin typeface="Calibri" panose="020F0502020204030204" pitchFamily="34" charset="0"/>
                <a:ea typeface="Calibri" panose="020F0502020204030204" pitchFamily="34" charset="0"/>
                <a:cs typeface="Calibri" panose="020F0502020204030204" pitchFamily="34" charset="0"/>
              </a:rPr>
              <a:t>global, regional, country and departmental level.</a:t>
            </a:r>
            <a:endParaRPr lang="en-US" sz="1230" i="0" dirty="0">
              <a:effectLst/>
              <a:latin typeface="Calibri" panose="020F0502020204030204" pitchFamily="34" charset="0"/>
              <a:ea typeface="Calibri" panose="020F0502020204030204" pitchFamily="34" charset="0"/>
              <a:cs typeface="Calibri" panose="020F0502020204030204" pitchFamily="34" charset="0"/>
            </a:endParaRPr>
          </a:p>
          <a:p>
            <a:pPr marL="285750" indent="-285750">
              <a:buClr>
                <a:srgbClr val="444444"/>
              </a:buClr>
              <a:buSzPts val="1300"/>
              <a:buFont typeface="Arial" panose="020B0604020202020204" pitchFamily="34" charset="0"/>
              <a:buChar char="•"/>
            </a:pPr>
            <a:endParaRPr lang="en-US" sz="1230" dirty="0">
              <a:latin typeface="Calibri" panose="020F0502020204030204" pitchFamily="34" charset="0"/>
              <a:ea typeface="Calibri" panose="020F0502020204030204" pitchFamily="34" charset="0"/>
              <a:cs typeface="Calibri" panose="020F0502020204030204" pitchFamily="34" charset="0"/>
            </a:endParaRPr>
          </a:p>
          <a:p>
            <a:pPr marL="285750" indent="-285750">
              <a:buClr>
                <a:srgbClr val="444444"/>
              </a:buClr>
              <a:buSzPts val="1300"/>
              <a:buFont typeface="Arial" panose="020B0604020202020204" pitchFamily="34" charset="0"/>
              <a:buChar char="•"/>
            </a:pPr>
            <a:r>
              <a:rPr lang="en-US" sz="1230" i="0" dirty="0">
                <a:effectLst/>
                <a:latin typeface="Calibri" panose="020F0502020204030204" pitchFamily="34" charset="0"/>
                <a:ea typeface="Calibri" panose="020F0502020204030204" pitchFamily="34" charset="0"/>
                <a:cs typeface="Calibri" panose="020F0502020204030204" pitchFamily="34" charset="0"/>
              </a:rPr>
              <a:t>The results also helped the client develop new perspectives on the power of AI-powered tools in streamlining and enhancing the analysis of large datasets</a:t>
            </a:r>
          </a:p>
          <a:p>
            <a:pPr>
              <a:buClr>
                <a:srgbClr val="444444"/>
              </a:buClr>
              <a:buSzPts val="1300"/>
            </a:pPr>
            <a:r>
              <a:rPr lang="en-US" sz="1230" b="1" dirty="0">
                <a:solidFill>
                  <a:srgbClr val="444444"/>
                </a:solidFill>
                <a:highlight>
                  <a:srgbClr val="FFFF00"/>
                </a:highlight>
                <a:latin typeface="Calibri" panose="020F0502020204030204" pitchFamily="34" charset="0"/>
                <a:ea typeface="Calibri" panose="020F0502020204030204" pitchFamily="34" charset="0"/>
                <a:cs typeface="Calibri" panose="020F0502020204030204" pitchFamily="34" charset="0"/>
                <a:sym typeface="Calibri"/>
              </a:rPr>
              <a:t> </a:t>
            </a:r>
            <a:endParaRPr sz="1230" dirty="0">
              <a:highlight>
                <a:srgbClr val="FFFF00"/>
              </a:highlight>
              <a:latin typeface="Calibri" panose="020F0502020204030204" pitchFamily="34" charset="0"/>
              <a:ea typeface="Calibri" panose="020F0502020204030204" pitchFamily="34" charset="0"/>
              <a:cs typeface="Calibri" panose="020F0502020204030204" pitchFamily="34" charset="0"/>
            </a:endParaRPr>
          </a:p>
        </p:txBody>
      </p:sp>
      <p:sp>
        <p:nvSpPr>
          <p:cNvPr id="1331" name="Google Shape;1331;p43"/>
          <p:cNvSpPr/>
          <p:nvPr/>
        </p:nvSpPr>
        <p:spPr>
          <a:xfrm>
            <a:off x="2806600"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2" name="Google Shape;1332;p43"/>
          <p:cNvSpPr txBox="1"/>
          <p:nvPr/>
        </p:nvSpPr>
        <p:spPr>
          <a:xfrm>
            <a:off x="2984418" y="1356291"/>
            <a:ext cx="924935" cy="413190"/>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Client</a:t>
            </a:r>
            <a:br>
              <a:rPr lang="en-US" sz="1579">
                <a:solidFill>
                  <a:srgbClr val="FFFFFF"/>
                </a:solidFill>
                <a:latin typeface="Franklin Gothic"/>
                <a:ea typeface="Franklin Gothic"/>
                <a:cs typeface="Franklin Gothic"/>
                <a:sym typeface="Franklin Gothic"/>
              </a:rPr>
            </a:br>
            <a:r>
              <a:rPr lang="en-US" sz="1579">
                <a:solidFill>
                  <a:srgbClr val="FFFFFF"/>
                </a:solidFill>
                <a:latin typeface="Franklin Gothic"/>
                <a:ea typeface="Franklin Gothic"/>
                <a:cs typeface="Franklin Gothic"/>
                <a:sym typeface="Franklin Gothic"/>
              </a:rPr>
              <a:t>Challenge</a:t>
            </a:r>
            <a:endParaRPr sz="1228"/>
          </a:p>
        </p:txBody>
      </p:sp>
      <p:sp>
        <p:nvSpPr>
          <p:cNvPr id="1333" name="Google Shape;1333;p43"/>
          <p:cNvSpPr/>
          <p:nvPr/>
        </p:nvSpPr>
        <p:spPr>
          <a:xfrm>
            <a:off x="4188633"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4" name="Google Shape;1334;p43"/>
          <p:cNvSpPr/>
          <p:nvPr/>
        </p:nvSpPr>
        <p:spPr>
          <a:xfrm>
            <a:off x="5369956"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5" name="Google Shape;1335;p43"/>
          <p:cNvSpPr txBox="1"/>
          <p:nvPr/>
        </p:nvSpPr>
        <p:spPr>
          <a:xfrm>
            <a:off x="5547775" y="1356291"/>
            <a:ext cx="760340" cy="413190"/>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Our</a:t>
            </a:r>
            <a:br>
              <a:rPr lang="en-US" sz="1579">
                <a:solidFill>
                  <a:srgbClr val="FFFFFF"/>
                </a:solidFill>
                <a:latin typeface="Franklin Gothic"/>
                <a:ea typeface="Franklin Gothic"/>
                <a:cs typeface="Franklin Gothic"/>
                <a:sym typeface="Franklin Gothic"/>
              </a:rPr>
            </a:br>
            <a:r>
              <a:rPr lang="en-US" sz="1579">
                <a:solidFill>
                  <a:srgbClr val="FFFFFF"/>
                </a:solidFill>
                <a:latin typeface="Franklin Gothic"/>
                <a:ea typeface="Franklin Gothic"/>
                <a:cs typeface="Franklin Gothic"/>
                <a:sym typeface="Franklin Gothic"/>
              </a:rPr>
              <a:t>Solution</a:t>
            </a:r>
            <a:endParaRPr sz="1228"/>
          </a:p>
        </p:txBody>
      </p:sp>
      <p:sp>
        <p:nvSpPr>
          <p:cNvPr id="1336" name="Google Shape;1336;p43"/>
          <p:cNvSpPr/>
          <p:nvPr/>
        </p:nvSpPr>
        <p:spPr>
          <a:xfrm>
            <a:off x="6731632"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7" name="Google Shape;1337;p43"/>
          <p:cNvSpPr/>
          <p:nvPr/>
        </p:nvSpPr>
        <p:spPr>
          <a:xfrm>
            <a:off x="7933313"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sp>
        <p:nvSpPr>
          <p:cNvPr id="1338" name="Google Shape;1338;p43"/>
          <p:cNvSpPr txBox="1"/>
          <p:nvPr/>
        </p:nvSpPr>
        <p:spPr>
          <a:xfrm>
            <a:off x="8111132" y="1459531"/>
            <a:ext cx="827343" cy="206595"/>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Outcome</a:t>
            </a:r>
            <a:endParaRPr sz="1579">
              <a:solidFill>
                <a:srgbClr val="FFFFFF"/>
              </a:solidFill>
              <a:latin typeface="Franklin Gothic"/>
              <a:ea typeface="Franklin Gothic"/>
              <a:cs typeface="Franklin Gothic"/>
              <a:sym typeface="Franklin Gothic"/>
            </a:endParaRPr>
          </a:p>
        </p:txBody>
      </p:sp>
      <p:sp>
        <p:nvSpPr>
          <p:cNvPr id="1339" name="Google Shape;1339;p43"/>
          <p:cNvSpPr/>
          <p:nvPr/>
        </p:nvSpPr>
        <p:spPr>
          <a:xfrm>
            <a:off x="9294988"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grpSp>
        <p:nvGrpSpPr>
          <p:cNvPr id="1340" name="Google Shape;1340;p43"/>
          <p:cNvGrpSpPr/>
          <p:nvPr/>
        </p:nvGrpSpPr>
        <p:grpSpPr>
          <a:xfrm>
            <a:off x="9432194" y="1337707"/>
            <a:ext cx="432288" cy="400866"/>
            <a:chOff x="7154863" y="4446588"/>
            <a:chExt cx="527050" cy="506412"/>
          </a:xfrm>
        </p:grpSpPr>
        <p:sp>
          <p:nvSpPr>
            <p:cNvPr id="1341" name="Google Shape;1341;p43"/>
            <p:cNvSpPr/>
            <p:nvPr/>
          </p:nvSpPr>
          <p:spPr>
            <a:xfrm>
              <a:off x="7154863" y="4446588"/>
              <a:ext cx="527050" cy="506412"/>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80175" tIns="40077" rIns="80175" bIns="40077" anchor="t" anchorCtr="0">
              <a:noAutofit/>
            </a:bodyPr>
            <a:lstStyle/>
            <a:p>
              <a:pPr>
                <a:buSzPts val="1800"/>
              </a:pPr>
              <a:endParaRPr sz="1579">
                <a:solidFill>
                  <a:srgbClr val="444444"/>
                </a:solidFill>
                <a:highlight>
                  <a:srgbClr val="FFFF00"/>
                </a:highlight>
                <a:latin typeface="Calibri"/>
                <a:ea typeface="Calibri"/>
                <a:cs typeface="Calibri"/>
                <a:sym typeface="Calibri"/>
              </a:endParaRPr>
            </a:p>
          </p:txBody>
        </p:sp>
        <p:sp>
          <p:nvSpPr>
            <p:cNvPr id="1342" name="Google Shape;1342;p43"/>
            <p:cNvSpPr/>
            <p:nvPr/>
          </p:nvSpPr>
          <p:spPr>
            <a:xfrm>
              <a:off x="7275513" y="4554538"/>
              <a:ext cx="344488" cy="336550"/>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80175" tIns="40077" rIns="80175" bIns="40077" anchor="t" anchorCtr="0">
              <a:noAutofit/>
            </a:bodyPr>
            <a:lstStyle/>
            <a:p>
              <a:pPr>
                <a:buSzPts val="1800"/>
              </a:pPr>
              <a:endParaRPr sz="1579">
                <a:solidFill>
                  <a:srgbClr val="444444"/>
                </a:solidFill>
                <a:highlight>
                  <a:srgbClr val="FFFF00"/>
                </a:highlight>
                <a:latin typeface="Calibri"/>
                <a:ea typeface="Calibri"/>
                <a:cs typeface="Calibri"/>
                <a:sym typeface="Calibri"/>
              </a:endParaRPr>
            </a:p>
          </p:txBody>
        </p:sp>
      </p:grpSp>
      <p:pic>
        <p:nvPicPr>
          <p:cNvPr id="1343" name="Google Shape;1343;p43"/>
          <p:cNvPicPr preferRelativeResize="0"/>
          <p:nvPr/>
        </p:nvPicPr>
        <p:blipFill rotWithShape="1">
          <a:blip r:embed="rId3">
            <a:alphaModFix/>
          </a:blip>
          <a:srcRect/>
          <a:stretch/>
        </p:blipFill>
        <p:spPr>
          <a:xfrm>
            <a:off x="473029" y="1264375"/>
            <a:ext cx="744343" cy="672164"/>
          </a:xfrm>
          <a:prstGeom prst="rect">
            <a:avLst/>
          </a:prstGeom>
          <a:noFill/>
          <a:ln>
            <a:noFill/>
          </a:ln>
        </p:spPr>
      </p:pic>
      <p:sp>
        <p:nvSpPr>
          <p:cNvPr id="1344" name="Google Shape;1344;p43"/>
          <p:cNvSpPr txBox="1"/>
          <p:nvPr/>
        </p:nvSpPr>
        <p:spPr>
          <a:xfrm>
            <a:off x="1345432" y="1264374"/>
            <a:ext cx="1268475" cy="734047"/>
          </a:xfrm>
          <a:prstGeom prst="rect">
            <a:avLst/>
          </a:prstGeom>
          <a:noFill/>
          <a:ln>
            <a:noFill/>
          </a:ln>
        </p:spPr>
        <p:txBody>
          <a:bodyPr spcFirstLastPara="1" wrap="square" lIns="0" tIns="0" rIns="0" bIns="0" anchor="t" anchorCtr="0">
            <a:spAutoFit/>
          </a:bodyPr>
          <a:lstStyle/>
          <a:p>
            <a:pPr>
              <a:lnSpc>
                <a:spcPct val="85000"/>
              </a:lnSpc>
              <a:buSzPts val="3200"/>
            </a:pPr>
            <a:r>
              <a:rPr lang="en-US" sz="2806" dirty="0">
                <a:solidFill>
                  <a:srgbClr val="0F47F2"/>
                </a:solidFill>
                <a:latin typeface="Franklin Gothic"/>
                <a:ea typeface="Franklin Gothic"/>
                <a:cs typeface="Franklin Gothic"/>
                <a:sym typeface="Franklin Gothic"/>
              </a:rPr>
              <a:t>CASE</a:t>
            </a:r>
            <a:br>
              <a:rPr lang="en-US" sz="2806" dirty="0">
                <a:solidFill>
                  <a:srgbClr val="0F47F2"/>
                </a:solidFill>
                <a:latin typeface="Franklin Gothic"/>
                <a:ea typeface="Franklin Gothic"/>
                <a:cs typeface="Franklin Gothic"/>
                <a:sym typeface="Franklin Gothic"/>
              </a:rPr>
            </a:br>
            <a:r>
              <a:rPr lang="en-US" sz="2806" dirty="0">
                <a:solidFill>
                  <a:srgbClr val="0F47F2"/>
                </a:solidFill>
                <a:latin typeface="Franklin Gothic"/>
                <a:ea typeface="Franklin Gothic"/>
                <a:cs typeface="Franklin Gothic"/>
                <a:sym typeface="Franklin Gothic"/>
              </a:rPr>
              <a:t>STUDY</a:t>
            </a:r>
            <a:endParaRPr sz="1228" dirty="0"/>
          </a:p>
        </p:txBody>
      </p:sp>
      <p:cxnSp>
        <p:nvCxnSpPr>
          <p:cNvPr id="1345" name="Google Shape;1345;p43"/>
          <p:cNvCxnSpPr/>
          <p:nvPr/>
        </p:nvCxnSpPr>
        <p:spPr>
          <a:xfrm>
            <a:off x="473029" y="2070159"/>
            <a:ext cx="2029495" cy="0"/>
          </a:xfrm>
          <a:prstGeom prst="straightConnector1">
            <a:avLst/>
          </a:prstGeom>
          <a:noFill/>
          <a:ln w="19050" cap="flat" cmpd="sng">
            <a:solidFill>
              <a:schemeClr val="dk2"/>
            </a:solidFill>
            <a:prstDash val="solid"/>
            <a:miter lim="800000"/>
            <a:headEnd type="none" w="sm" len="sm"/>
            <a:tailEnd type="none" w="sm" len="sm"/>
          </a:ln>
        </p:spPr>
      </p:cxnSp>
      <p:sp>
        <p:nvSpPr>
          <p:cNvPr id="1346" name="Google Shape;1346;p43"/>
          <p:cNvSpPr txBox="1"/>
          <p:nvPr/>
        </p:nvSpPr>
        <p:spPr>
          <a:xfrm>
            <a:off x="494026" y="2185531"/>
            <a:ext cx="2046928" cy="243015"/>
          </a:xfrm>
          <a:prstGeom prst="rect">
            <a:avLst/>
          </a:prstGeom>
          <a:noFill/>
          <a:ln>
            <a:noFill/>
          </a:ln>
        </p:spPr>
        <p:txBody>
          <a:bodyPr spcFirstLastPara="1" wrap="square" lIns="0" tIns="0" rIns="0" bIns="0" anchor="t" anchorCtr="0">
            <a:spAutoFit/>
          </a:bodyPr>
          <a:lstStyle/>
          <a:p>
            <a:pPr>
              <a:buClr>
                <a:srgbClr val="444444"/>
              </a:buClr>
              <a:buSzPts val="1800"/>
            </a:pPr>
            <a:r>
              <a:rPr lang="en-US" sz="1579">
                <a:solidFill>
                  <a:srgbClr val="444444"/>
                </a:solidFill>
                <a:latin typeface="Franklin Gothic"/>
                <a:ea typeface="Franklin Gothic"/>
                <a:cs typeface="Franklin Gothic"/>
                <a:sym typeface="Franklin Gothic"/>
              </a:rPr>
              <a:t>Client:</a:t>
            </a:r>
            <a:endParaRPr sz="1228"/>
          </a:p>
        </p:txBody>
      </p:sp>
      <p:sp>
        <p:nvSpPr>
          <p:cNvPr id="1347" name="Google Shape;1347;p43"/>
          <p:cNvSpPr txBox="1"/>
          <p:nvPr/>
        </p:nvSpPr>
        <p:spPr>
          <a:xfrm>
            <a:off x="494026" y="2465773"/>
            <a:ext cx="2029495" cy="175433"/>
          </a:xfrm>
          <a:prstGeom prst="rect">
            <a:avLst/>
          </a:prstGeom>
          <a:noFill/>
          <a:ln>
            <a:noFill/>
          </a:ln>
        </p:spPr>
        <p:txBody>
          <a:bodyPr spcFirstLastPara="1" wrap="square" lIns="0" tIns="0" rIns="0" bIns="0" anchor="t" anchorCtr="0">
            <a:spAutoFit/>
          </a:bodyPr>
          <a:lstStyle/>
          <a:p>
            <a:pPr>
              <a:buSzPts val="1300"/>
            </a:pPr>
            <a:r>
              <a:rPr lang="en-US" sz="1140">
                <a:solidFill>
                  <a:srgbClr val="444444"/>
                </a:solidFill>
                <a:latin typeface="Calibri"/>
                <a:ea typeface="Calibri"/>
                <a:cs typeface="Calibri"/>
                <a:sym typeface="Calibri"/>
              </a:rPr>
              <a:t>A multinational firm</a:t>
            </a:r>
            <a:endParaRPr sz="1140">
              <a:solidFill>
                <a:srgbClr val="444444"/>
              </a:solidFill>
              <a:latin typeface="Calibri"/>
              <a:ea typeface="Calibri"/>
              <a:cs typeface="Calibri"/>
              <a:sym typeface="Calibri"/>
            </a:endParaRPr>
          </a:p>
        </p:txBody>
      </p:sp>
      <p:pic>
        <p:nvPicPr>
          <p:cNvPr id="1348" name="Google Shape;1348;p43"/>
          <p:cNvPicPr preferRelativeResize="0"/>
          <p:nvPr/>
        </p:nvPicPr>
        <p:blipFill rotWithShape="1">
          <a:blip r:embed="rId4">
            <a:alphaModFix/>
          </a:blip>
          <a:srcRect/>
          <a:stretch/>
        </p:blipFill>
        <p:spPr>
          <a:xfrm>
            <a:off x="6841523" y="1294705"/>
            <a:ext cx="527194" cy="527194"/>
          </a:xfrm>
          <a:prstGeom prst="rect">
            <a:avLst/>
          </a:prstGeom>
          <a:noFill/>
          <a:ln>
            <a:noFill/>
          </a:ln>
        </p:spPr>
      </p:pic>
      <p:pic>
        <p:nvPicPr>
          <p:cNvPr id="1349" name="Google Shape;1349;p43"/>
          <p:cNvPicPr preferRelativeResize="0"/>
          <p:nvPr/>
        </p:nvPicPr>
        <p:blipFill rotWithShape="1">
          <a:blip r:embed="rId5">
            <a:alphaModFix/>
          </a:blip>
          <a:srcRect/>
          <a:stretch/>
        </p:blipFill>
        <p:spPr>
          <a:xfrm>
            <a:off x="4309586" y="1298006"/>
            <a:ext cx="518435" cy="518435"/>
          </a:xfrm>
          <a:prstGeom prst="rect">
            <a:avLst/>
          </a:prstGeom>
          <a:noFill/>
          <a:ln>
            <a:noFill/>
          </a:ln>
        </p:spPr>
      </p:pic>
      <p:sp>
        <p:nvSpPr>
          <p:cNvPr id="1350" name="Google Shape;1350;p43"/>
          <p:cNvSpPr/>
          <p:nvPr/>
        </p:nvSpPr>
        <p:spPr>
          <a:xfrm>
            <a:off x="2956725" y="3887118"/>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pic>
        <p:nvPicPr>
          <p:cNvPr id="1351" name="Google Shape;1351;p43" descr="Gears"/>
          <p:cNvPicPr preferRelativeResize="0"/>
          <p:nvPr/>
        </p:nvPicPr>
        <p:blipFill rotWithShape="1">
          <a:blip r:embed="rId6">
            <a:alphaModFix/>
          </a:blip>
          <a:srcRect/>
          <a:stretch/>
        </p:blipFill>
        <p:spPr>
          <a:xfrm>
            <a:off x="2996820" y="3931521"/>
            <a:ext cx="320754" cy="320754"/>
          </a:xfrm>
          <a:prstGeom prst="rect">
            <a:avLst/>
          </a:prstGeom>
          <a:noFill/>
          <a:ln>
            <a:noFill/>
          </a:ln>
        </p:spPr>
      </p:pic>
      <p:pic>
        <p:nvPicPr>
          <p:cNvPr id="1352" name="Google Shape;1352;p43" descr="Arrow circle"/>
          <p:cNvPicPr preferRelativeResize="0"/>
          <p:nvPr/>
        </p:nvPicPr>
        <p:blipFill rotWithShape="1">
          <a:blip r:embed="rId7">
            <a:alphaModFix/>
          </a:blip>
          <a:srcRect/>
          <a:stretch/>
        </p:blipFill>
        <p:spPr>
          <a:xfrm>
            <a:off x="2996819" y="4921894"/>
            <a:ext cx="320754" cy="320754"/>
          </a:xfrm>
          <a:prstGeom prst="rect">
            <a:avLst/>
          </a:prstGeom>
          <a:noFill/>
          <a:ln>
            <a:noFill/>
          </a:ln>
        </p:spPr>
      </p:pic>
      <p:sp>
        <p:nvSpPr>
          <p:cNvPr id="1353" name="Google Shape;1353;p43"/>
          <p:cNvSpPr/>
          <p:nvPr/>
        </p:nvSpPr>
        <p:spPr>
          <a:xfrm>
            <a:off x="2956725" y="4881800"/>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57" name="Google Shape;1357;p43"/>
          <p:cNvSpPr txBox="1"/>
          <p:nvPr/>
        </p:nvSpPr>
        <p:spPr>
          <a:xfrm>
            <a:off x="4537396" y="7636583"/>
            <a:ext cx="57" cy="188962"/>
          </a:xfrm>
          <a:prstGeom prst="rect">
            <a:avLst/>
          </a:prstGeom>
          <a:noFill/>
          <a:ln>
            <a:noFill/>
          </a:ln>
        </p:spPr>
        <p:txBody>
          <a:bodyPr spcFirstLastPara="1" wrap="square" lIns="0" tIns="0" rIns="0" bIns="0" anchor="t" anchorCtr="0">
            <a:spAutoFit/>
          </a:bodyPr>
          <a:lstStyle/>
          <a:p>
            <a:pPr>
              <a:buSzPts val="1400"/>
            </a:pPr>
            <a:endParaRPr sz="1228"/>
          </a:p>
        </p:txBody>
      </p:sp>
      <p:sp>
        <p:nvSpPr>
          <p:cNvPr id="1358" name="Google Shape;1358;p43"/>
          <p:cNvSpPr txBox="1"/>
          <p:nvPr/>
        </p:nvSpPr>
        <p:spPr>
          <a:xfrm>
            <a:off x="3429903" y="3898634"/>
            <a:ext cx="1443395" cy="755848"/>
          </a:xfrm>
          <a:prstGeom prst="rect">
            <a:avLst/>
          </a:prstGeom>
          <a:noFill/>
          <a:ln>
            <a:noFill/>
          </a:ln>
        </p:spPr>
        <p:txBody>
          <a:bodyPr spcFirstLastPara="1" wrap="square" lIns="0" tIns="0" rIns="0" bIns="0" anchor="t" anchorCtr="0">
            <a:spAutoFit/>
          </a:bodyPr>
          <a:lstStyle/>
          <a:p>
            <a:pPr>
              <a:buSzPts val="1400"/>
            </a:pPr>
            <a:r>
              <a:rPr lang="en-US" sz="1228" b="1" dirty="0">
                <a:solidFill>
                  <a:srgbClr val="444444"/>
                </a:solidFill>
                <a:latin typeface="Calibri"/>
                <a:ea typeface="Calibri"/>
                <a:cs typeface="Calibri"/>
                <a:sym typeface="Calibri"/>
              </a:rPr>
              <a:t>Alternative ways to analyse candidate feedback as opposed to doing it manually</a:t>
            </a:r>
            <a:endParaRPr sz="1228" dirty="0"/>
          </a:p>
        </p:txBody>
      </p:sp>
      <p:sp>
        <p:nvSpPr>
          <p:cNvPr id="1359" name="Google Shape;1359;p43"/>
          <p:cNvSpPr txBox="1"/>
          <p:nvPr/>
        </p:nvSpPr>
        <p:spPr>
          <a:xfrm>
            <a:off x="3463665" y="5011565"/>
            <a:ext cx="1443395" cy="1511696"/>
          </a:xfrm>
          <a:prstGeom prst="rect">
            <a:avLst/>
          </a:prstGeom>
          <a:noFill/>
          <a:ln>
            <a:noFill/>
          </a:ln>
        </p:spPr>
        <p:txBody>
          <a:bodyPr spcFirstLastPara="1" wrap="square" lIns="0" tIns="0" rIns="0" bIns="0" anchor="t" anchorCtr="0">
            <a:spAutoFit/>
          </a:bodyPr>
          <a:lstStyle/>
          <a:p>
            <a:pPr>
              <a:buSzPts val="1400"/>
            </a:pPr>
            <a:r>
              <a:rPr lang="en-US" sz="1228" b="1" dirty="0">
                <a:solidFill>
                  <a:srgbClr val="444444"/>
                </a:solidFill>
                <a:latin typeface="Calibri"/>
                <a:ea typeface="Calibri"/>
                <a:cs typeface="Calibri"/>
                <a:sym typeface="Calibri"/>
              </a:rPr>
              <a:t>Generate relevant insights from the analysed data to improve the candidate recruitment experience</a:t>
            </a:r>
            <a:endParaRPr sz="1228" dirty="0"/>
          </a:p>
          <a:p>
            <a:pPr>
              <a:buSzPts val="1400"/>
            </a:pPr>
            <a:endParaRPr sz="1228" dirty="0"/>
          </a:p>
        </p:txBody>
      </p:sp>
      <p:sp>
        <p:nvSpPr>
          <p:cNvPr id="1360" name="Google Shape;1360;p43"/>
          <p:cNvSpPr txBox="1"/>
          <p:nvPr/>
        </p:nvSpPr>
        <p:spPr>
          <a:xfrm>
            <a:off x="5944382" y="6504109"/>
            <a:ext cx="1702941" cy="755848"/>
          </a:xfrm>
          <a:prstGeom prst="rect">
            <a:avLst/>
          </a:prstGeom>
          <a:noFill/>
          <a:ln>
            <a:noFill/>
          </a:ln>
        </p:spPr>
        <p:txBody>
          <a:bodyPr spcFirstLastPara="1" wrap="square" lIns="0" tIns="0" rIns="0" bIns="0" anchor="t" anchorCtr="0">
            <a:spAutoFit/>
          </a:bodyPr>
          <a:lstStyle/>
          <a:p>
            <a:pPr>
              <a:buSzPts val="1400"/>
            </a:pPr>
            <a:r>
              <a:rPr lang="en-US" sz="1228" b="1" dirty="0">
                <a:latin typeface="Calibri"/>
                <a:ea typeface="Calibri"/>
                <a:cs typeface="Calibri"/>
                <a:sym typeface="Calibri"/>
              </a:rPr>
              <a:t>Dashboard creation :</a:t>
            </a:r>
            <a:endParaRPr sz="1228" dirty="0"/>
          </a:p>
          <a:p>
            <a:pPr>
              <a:buSzPts val="1400"/>
            </a:pPr>
            <a:r>
              <a:rPr lang="en-US" sz="1228" dirty="0">
                <a:latin typeface="Calibri"/>
                <a:ea typeface="Calibri"/>
                <a:cs typeface="Calibri"/>
                <a:sym typeface="Calibri"/>
              </a:rPr>
              <a:t>Allowing for easy filtering of feedback and candidate sentiment</a:t>
            </a:r>
            <a:endParaRPr sz="1228" dirty="0"/>
          </a:p>
        </p:txBody>
      </p:sp>
      <p:sp>
        <p:nvSpPr>
          <p:cNvPr id="1361" name="Google Shape;1361;p43"/>
          <p:cNvSpPr txBox="1"/>
          <p:nvPr/>
        </p:nvSpPr>
        <p:spPr>
          <a:xfrm>
            <a:off x="5957008" y="2649411"/>
            <a:ext cx="1717281" cy="3596369"/>
          </a:xfrm>
          <a:prstGeom prst="rect">
            <a:avLst/>
          </a:prstGeom>
          <a:noFill/>
          <a:ln>
            <a:noFill/>
          </a:ln>
        </p:spPr>
        <p:txBody>
          <a:bodyPr spcFirstLastPara="1" wrap="square" lIns="0" tIns="0" rIns="0" bIns="0" anchor="t" anchorCtr="0">
            <a:spAutoFit/>
          </a:bodyPr>
          <a:lstStyle/>
          <a:p>
            <a:pPr>
              <a:buSzPts val="1400"/>
            </a:pPr>
            <a:r>
              <a:rPr lang="en-US" sz="1230" dirty="0">
                <a:latin typeface="Calibri" panose="020F0502020204030204" pitchFamily="34" charset="0"/>
                <a:ea typeface="Calibri" panose="020F0502020204030204" pitchFamily="34" charset="0"/>
                <a:cs typeface="Calibri" panose="020F0502020204030204" pitchFamily="34" charset="0"/>
                <a:sym typeface="Calibri"/>
              </a:rPr>
              <a:t>Conducted sentiment analysis using the state-of-the-art language model Roberta to analyze candidate feedback and extract the overall sentiment</a:t>
            </a:r>
          </a:p>
          <a:p>
            <a:pPr>
              <a:buSzPts val="1400"/>
            </a:pPr>
            <a:endParaRPr sz="1230" dirty="0">
              <a:solidFill>
                <a:srgbClr val="444444"/>
              </a:solidFill>
              <a:latin typeface="Calibri" panose="020F0502020204030204" pitchFamily="34" charset="0"/>
              <a:ea typeface="Calibri" panose="020F0502020204030204" pitchFamily="34" charset="0"/>
              <a:cs typeface="Calibri" panose="020F0502020204030204" pitchFamily="34" charset="0"/>
              <a:sym typeface="Calibri"/>
            </a:endParaRPr>
          </a:p>
          <a:p>
            <a:pPr>
              <a:buSzPts val="1400"/>
            </a:pPr>
            <a:r>
              <a:rPr lang="en-US" sz="1230" b="0" i="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tilized AI-powered text summarization through Open AI's GPT-3 to extract key insights from candidate comments, focusing on areas of concern such as discrimination and unprofessionalism and showing the specific comments.</a:t>
            </a:r>
            <a:endParaRPr sz="1230" dirty="0">
              <a:latin typeface="Calibri" panose="020F0502020204030204" pitchFamily="34" charset="0"/>
              <a:ea typeface="Calibri" panose="020F0502020204030204" pitchFamily="34" charset="0"/>
              <a:cs typeface="Calibri" panose="020F0502020204030204" pitchFamily="34" charset="0"/>
            </a:endParaRPr>
          </a:p>
        </p:txBody>
      </p:sp>
      <p:grpSp>
        <p:nvGrpSpPr>
          <p:cNvPr id="8" name="Group 7">
            <a:extLst>
              <a:ext uri="{FF2B5EF4-FFF2-40B4-BE49-F238E27FC236}">
                <a16:creationId xmlns:a16="http://schemas.microsoft.com/office/drawing/2014/main" id="{D76A9F99-9D89-FE4C-7506-86EB99E13231}"/>
              </a:ext>
            </a:extLst>
          </p:cNvPr>
          <p:cNvGrpSpPr/>
          <p:nvPr/>
        </p:nvGrpSpPr>
        <p:grpSpPr>
          <a:xfrm>
            <a:off x="5390809" y="6651300"/>
            <a:ext cx="518058" cy="499532"/>
            <a:chOff x="5500828" y="6320274"/>
            <a:chExt cx="518058" cy="499532"/>
          </a:xfrm>
        </p:grpSpPr>
        <p:pic>
          <p:nvPicPr>
            <p:cNvPr id="1363" name="Google Shape;1363;p43" descr="List"/>
            <p:cNvPicPr preferRelativeResize="0"/>
            <p:nvPr/>
          </p:nvPicPr>
          <p:blipFill rotWithShape="1">
            <a:blip r:embed="rId8">
              <a:alphaModFix/>
            </a:blip>
            <a:srcRect/>
            <a:stretch/>
          </p:blipFill>
          <p:spPr>
            <a:xfrm>
              <a:off x="5552634" y="6361436"/>
              <a:ext cx="414446" cy="399626"/>
            </a:xfrm>
            <a:prstGeom prst="rect">
              <a:avLst/>
            </a:prstGeom>
            <a:noFill/>
            <a:ln>
              <a:noFill/>
            </a:ln>
          </p:spPr>
        </p:pic>
        <p:sp>
          <p:nvSpPr>
            <p:cNvPr id="1364" name="Google Shape;1364;p43"/>
            <p:cNvSpPr/>
            <p:nvPr/>
          </p:nvSpPr>
          <p:spPr>
            <a:xfrm>
              <a:off x="5500828" y="6320274"/>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grpSp>
        <p:nvGrpSpPr>
          <p:cNvPr id="1365" name="Google Shape;1365;p43"/>
          <p:cNvGrpSpPr/>
          <p:nvPr/>
        </p:nvGrpSpPr>
        <p:grpSpPr>
          <a:xfrm>
            <a:off x="326982" y="3932189"/>
            <a:ext cx="2213972" cy="365304"/>
            <a:chOff x="550863" y="4854495"/>
            <a:chExt cx="3188017" cy="416560"/>
          </a:xfrm>
        </p:grpSpPr>
        <p:cxnSp>
          <p:nvCxnSpPr>
            <p:cNvPr id="1366" name="Google Shape;1366;p43"/>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367" name="Google Shape;1367;p43"/>
            <p:cNvSpPr/>
            <p:nvPr/>
          </p:nvSpPr>
          <p:spPr>
            <a:xfrm>
              <a:off x="1936591" y="4854495"/>
              <a:ext cx="416560" cy="416560"/>
            </a:xfrm>
            <a:prstGeom prst="ellipse">
              <a:avLst/>
            </a:prstGeom>
            <a:solidFill>
              <a:schemeClr val="lt2"/>
            </a:solidFill>
            <a:ln>
              <a:noFill/>
            </a:ln>
          </p:spPr>
          <p:txBody>
            <a:bodyPr spcFirstLastPara="1" wrap="square" lIns="80175" tIns="40077" rIns="80175" bIns="40077" anchor="ctr" anchorCtr="0">
              <a:noAutofit/>
            </a:bodyPr>
            <a:lstStyle/>
            <a:p>
              <a:pPr algn="ctr">
                <a:buClr>
                  <a:srgbClr val="FFFFFF"/>
                </a:buClr>
                <a:buSzPts val="1800"/>
              </a:pPr>
              <a:endParaRPr sz="1579">
                <a:solidFill>
                  <a:srgbClr val="FFFFFF"/>
                </a:solidFill>
                <a:latin typeface="Calibri"/>
                <a:ea typeface="Calibri"/>
                <a:cs typeface="Calibri"/>
                <a:sym typeface="Calibri"/>
              </a:endParaRPr>
            </a:p>
          </p:txBody>
        </p:sp>
        <p:grpSp>
          <p:nvGrpSpPr>
            <p:cNvPr id="1368" name="Google Shape;1368;p43"/>
            <p:cNvGrpSpPr/>
            <p:nvPr/>
          </p:nvGrpSpPr>
          <p:grpSpPr>
            <a:xfrm>
              <a:off x="1994217" y="4949317"/>
              <a:ext cx="301308" cy="220726"/>
              <a:chOff x="5754688" y="3178175"/>
              <a:chExt cx="682626" cy="500063"/>
            </a:xfrm>
          </p:grpSpPr>
          <p:sp>
            <p:nvSpPr>
              <p:cNvPr id="1369" name="Google Shape;1369;p43"/>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sp>
            <p:nvSpPr>
              <p:cNvPr id="1370" name="Google Shape;1370;p43"/>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grpSp>
      </p:grpSp>
      <p:grpSp>
        <p:nvGrpSpPr>
          <p:cNvPr id="1371" name="Google Shape;1371;p43"/>
          <p:cNvGrpSpPr/>
          <p:nvPr/>
        </p:nvGrpSpPr>
        <p:grpSpPr>
          <a:xfrm>
            <a:off x="328278" y="5772943"/>
            <a:ext cx="2213972" cy="365304"/>
            <a:chOff x="550863" y="4854495"/>
            <a:chExt cx="3188017" cy="416560"/>
          </a:xfrm>
        </p:grpSpPr>
        <p:cxnSp>
          <p:nvCxnSpPr>
            <p:cNvPr id="1372" name="Google Shape;1372;p43"/>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373" name="Google Shape;1373;p43"/>
            <p:cNvSpPr/>
            <p:nvPr/>
          </p:nvSpPr>
          <p:spPr>
            <a:xfrm>
              <a:off x="1936591" y="4854495"/>
              <a:ext cx="416560" cy="416560"/>
            </a:xfrm>
            <a:prstGeom prst="ellipse">
              <a:avLst/>
            </a:prstGeom>
            <a:solidFill>
              <a:schemeClr val="lt2"/>
            </a:solidFill>
            <a:ln>
              <a:noFill/>
            </a:ln>
          </p:spPr>
          <p:txBody>
            <a:bodyPr spcFirstLastPara="1" wrap="square" lIns="80175" tIns="40077" rIns="80175" bIns="40077" anchor="ctr" anchorCtr="0">
              <a:noAutofit/>
            </a:bodyPr>
            <a:lstStyle/>
            <a:p>
              <a:pPr algn="ctr">
                <a:buClr>
                  <a:srgbClr val="FFFFFF"/>
                </a:buClr>
                <a:buSzPts val="1800"/>
              </a:pPr>
              <a:endParaRPr sz="1579">
                <a:solidFill>
                  <a:srgbClr val="FFFFFF"/>
                </a:solidFill>
                <a:latin typeface="Calibri"/>
                <a:ea typeface="Calibri"/>
                <a:cs typeface="Calibri"/>
                <a:sym typeface="Calibri"/>
              </a:endParaRPr>
            </a:p>
          </p:txBody>
        </p:sp>
        <p:grpSp>
          <p:nvGrpSpPr>
            <p:cNvPr id="1374" name="Google Shape;1374;p43"/>
            <p:cNvGrpSpPr/>
            <p:nvPr/>
          </p:nvGrpSpPr>
          <p:grpSpPr>
            <a:xfrm>
              <a:off x="1994217" y="4949317"/>
              <a:ext cx="301308" cy="220726"/>
              <a:chOff x="5754688" y="3178175"/>
              <a:chExt cx="682626" cy="500063"/>
            </a:xfrm>
          </p:grpSpPr>
          <p:sp>
            <p:nvSpPr>
              <p:cNvPr id="1375" name="Google Shape;1375;p43"/>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sp>
            <p:nvSpPr>
              <p:cNvPr id="1376" name="Google Shape;1376;p43"/>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grpSp>
      </p:grpSp>
      <p:grpSp>
        <p:nvGrpSpPr>
          <p:cNvPr id="7" name="Group 6">
            <a:extLst>
              <a:ext uri="{FF2B5EF4-FFF2-40B4-BE49-F238E27FC236}">
                <a16:creationId xmlns:a16="http://schemas.microsoft.com/office/drawing/2014/main" id="{AC08D56E-E5A2-A104-8F64-D7BCE8B0F281}"/>
              </a:ext>
            </a:extLst>
          </p:cNvPr>
          <p:cNvGrpSpPr/>
          <p:nvPr/>
        </p:nvGrpSpPr>
        <p:grpSpPr>
          <a:xfrm>
            <a:off x="5426056" y="4094940"/>
            <a:ext cx="518058" cy="553977"/>
            <a:chOff x="5498905" y="4169287"/>
            <a:chExt cx="518058" cy="553977"/>
          </a:xfrm>
        </p:grpSpPr>
        <p:pic>
          <p:nvPicPr>
            <p:cNvPr id="1378" name="Google Shape;1378;p43" descr="Report Icons Added to Dashboard Suggestions - 4me"/>
            <p:cNvPicPr preferRelativeResize="0"/>
            <p:nvPr/>
          </p:nvPicPr>
          <p:blipFill rotWithShape="1">
            <a:blip r:embed="rId9">
              <a:alphaModFix/>
            </a:blip>
            <a:srcRect/>
            <a:stretch/>
          </p:blipFill>
          <p:spPr>
            <a:xfrm>
              <a:off x="5525870" y="4169287"/>
              <a:ext cx="464128" cy="553977"/>
            </a:xfrm>
            <a:prstGeom prst="rect">
              <a:avLst/>
            </a:prstGeom>
            <a:noFill/>
            <a:ln>
              <a:noFill/>
            </a:ln>
          </p:spPr>
        </p:pic>
        <p:sp>
          <p:nvSpPr>
            <p:cNvPr id="1380" name="Google Shape;1380;p43"/>
            <p:cNvSpPr/>
            <p:nvPr/>
          </p:nvSpPr>
          <p:spPr>
            <a:xfrm>
              <a:off x="5498905" y="4169287"/>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grpSp>
        <p:nvGrpSpPr>
          <p:cNvPr id="6" name="Group 5">
            <a:extLst>
              <a:ext uri="{FF2B5EF4-FFF2-40B4-BE49-F238E27FC236}">
                <a16:creationId xmlns:a16="http://schemas.microsoft.com/office/drawing/2014/main" id="{E364022A-9A9E-EA90-D3E4-271699B6F8FE}"/>
              </a:ext>
            </a:extLst>
          </p:cNvPr>
          <p:cNvGrpSpPr/>
          <p:nvPr/>
        </p:nvGrpSpPr>
        <p:grpSpPr>
          <a:xfrm>
            <a:off x="5381486" y="2756776"/>
            <a:ext cx="518058" cy="505159"/>
            <a:chOff x="5501803" y="3033502"/>
            <a:chExt cx="518058" cy="505159"/>
          </a:xfrm>
        </p:grpSpPr>
        <p:pic>
          <p:nvPicPr>
            <p:cNvPr id="1377" name="Google Shape;1377;p43" descr="The importance of the Data Quality - Captain Verify"/>
            <p:cNvPicPr preferRelativeResize="0"/>
            <p:nvPr/>
          </p:nvPicPr>
          <p:blipFill rotWithShape="1">
            <a:blip r:embed="rId10">
              <a:alphaModFix/>
            </a:blip>
            <a:srcRect/>
            <a:stretch/>
          </p:blipFill>
          <p:spPr>
            <a:xfrm>
              <a:off x="5591008" y="3039129"/>
              <a:ext cx="320655" cy="499532"/>
            </a:xfrm>
            <a:prstGeom prst="rect">
              <a:avLst/>
            </a:prstGeom>
            <a:noFill/>
            <a:ln>
              <a:noFill/>
            </a:ln>
          </p:spPr>
        </p:pic>
        <p:sp>
          <p:nvSpPr>
            <p:cNvPr id="1381" name="Google Shape;1381;p43"/>
            <p:cNvSpPr/>
            <p:nvPr/>
          </p:nvSpPr>
          <p:spPr>
            <a:xfrm>
              <a:off x="5501803" y="3033502"/>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sp>
        <p:nvSpPr>
          <p:cNvPr id="5" name="Google Shape;919;p38">
            <a:extLst>
              <a:ext uri="{FF2B5EF4-FFF2-40B4-BE49-F238E27FC236}">
                <a16:creationId xmlns:a16="http://schemas.microsoft.com/office/drawing/2014/main" id="{38534844-B45C-6CFD-D533-D57095F29AA3}"/>
              </a:ext>
            </a:extLst>
          </p:cNvPr>
          <p:cNvSpPr txBox="1">
            <a:spLocks/>
          </p:cNvSpPr>
          <p:nvPr/>
        </p:nvSpPr>
        <p:spPr>
          <a:xfrm>
            <a:off x="124969" y="284360"/>
            <a:ext cx="11089972" cy="33239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buClr>
                <a:schemeClr val="dk2"/>
              </a:buClr>
              <a:buSzPts val="3200"/>
              <a:buFont typeface="Franklin Gothic"/>
              <a:buNone/>
            </a:pPr>
            <a:r>
              <a:rPr lang="en-US" sz="2400" b="1" dirty="0">
                <a:solidFill>
                  <a:srgbClr val="0F47F2"/>
                </a:solidFill>
              </a:rPr>
              <a:t>Sentiment Analysis: Candidate Experience</a:t>
            </a:r>
          </a:p>
        </p:txBody>
      </p:sp>
      <p:sp>
        <p:nvSpPr>
          <p:cNvPr id="9" name="Rectangle: Folded Corner 8">
            <a:extLst>
              <a:ext uri="{FF2B5EF4-FFF2-40B4-BE49-F238E27FC236}">
                <a16:creationId xmlns:a16="http://schemas.microsoft.com/office/drawing/2014/main" id="{BDE449AA-22F2-8C3C-4A5A-076DBAC9CE37}"/>
              </a:ext>
            </a:extLst>
          </p:cNvPr>
          <p:cNvSpPr/>
          <p:nvPr/>
        </p:nvSpPr>
        <p:spPr>
          <a:xfrm>
            <a:off x="7888143" y="89051"/>
            <a:ext cx="2100664" cy="943192"/>
          </a:xfrm>
          <a:prstGeom prst="foldedCorne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WIP</a:t>
            </a:r>
            <a:endParaRPr lang="en-GB" sz="1600" b="1" dirty="0">
              <a:solidFill>
                <a:schemeClr val="tx1"/>
              </a:solidFill>
            </a:endParaRPr>
          </a:p>
        </p:txBody>
      </p:sp>
    </p:spTree>
    <p:extLst>
      <p:ext uri="{BB962C8B-B14F-4D97-AF65-F5344CB8AC3E}">
        <p14:creationId xmlns:p14="http://schemas.microsoft.com/office/powerpoint/2010/main" val="42004838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09B9AC2-4C0C-F40D-47C1-A7ADA6014FBA}"/>
              </a:ext>
            </a:extLst>
          </p:cNvPr>
          <p:cNvSpPr/>
          <p:nvPr/>
        </p:nvSpPr>
        <p:spPr>
          <a:xfrm>
            <a:off x="673771" y="1042818"/>
            <a:ext cx="2045368" cy="14678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Data Intake</a:t>
            </a:r>
            <a:endParaRPr lang="en-GB" b="1" dirty="0">
              <a:solidFill>
                <a:schemeClr val="tx1"/>
              </a:solidFill>
            </a:endParaRPr>
          </a:p>
        </p:txBody>
      </p:sp>
      <p:sp>
        <p:nvSpPr>
          <p:cNvPr id="3" name="Rectangle 2">
            <a:extLst>
              <a:ext uri="{FF2B5EF4-FFF2-40B4-BE49-F238E27FC236}">
                <a16:creationId xmlns:a16="http://schemas.microsoft.com/office/drawing/2014/main" id="{F204DCE0-0D10-78A5-49DF-D36D9AA086A1}"/>
              </a:ext>
            </a:extLst>
          </p:cNvPr>
          <p:cNvSpPr/>
          <p:nvPr/>
        </p:nvSpPr>
        <p:spPr>
          <a:xfrm>
            <a:off x="673771" y="3045910"/>
            <a:ext cx="2045368" cy="14678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Data Analysis and Defining Methodology</a:t>
            </a:r>
            <a:endParaRPr lang="en-GB" b="1" dirty="0">
              <a:solidFill>
                <a:schemeClr val="tx1"/>
              </a:solidFill>
            </a:endParaRPr>
          </a:p>
        </p:txBody>
      </p:sp>
      <p:sp>
        <p:nvSpPr>
          <p:cNvPr id="4" name="Rectangle 3">
            <a:extLst>
              <a:ext uri="{FF2B5EF4-FFF2-40B4-BE49-F238E27FC236}">
                <a16:creationId xmlns:a16="http://schemas.microsoft.com/office/drawing/2014/main" id="{20CD53F6-E7FF-F7E3-726A-50FDCE221FB0}"/>
              </a:ext>
            </a:extLst>
          </p:cNvPr>
          <p:cNvSpPr/>
          <p:nvPr/>
        </p:nvSpPr>
        <p:spPr>
          <a:xfrm>
            <a:off x="3111919" y="3045910"/>
            <a:ext cx="2045368" cy="14678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Data Preprocessing</a:t>
            </a:r>
            <a:endParaRPr lang="en-GB" b="1" dirty="0">
              <a:solidFill>
                <a:schemeClr val="tx1"/>
              </a:solidFill>
            </a:endParaRPr>
          </a:p>
        </p:txBody>
      </p:sp>
      <p:sp>
        <p:nvSpPr>
          <p:cNvPr id="5" name="Rectangle 4">
            <a:extLst>
              <a:ext uri="{FF2B5EF4-FFF2-40B4-BE49-F238E27FC236}">
                <a16:creationId xmlns:a16="http://schemas.microsoft.com/office/drawing/2014/main" id="{713986CA-A171-5C4B-FADC-654985E7DF57}"/>
              </a:ext>
            </a:extLst>
          </p:cNvPr>
          <p:cNvSpPr/>
          <p:nvPr/>
        </p:nvSpPr>
        <p:spPr>
          <a:xfrm>
            <a:off x="3111919" y="4972721"/>
            <a:ext cx="2045368" cy="14678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Modelling: Sentiment Analysis</a:t>
            </a:r>
            <a:endParaRPr lang="en-GB" b="1" dirty="0">
              <a:solidFill>
                <a:schemeClr val="tx1"/>
              </a:solidFill>
            </a:endParaRPr>
          </a:p>
        </p:txBody>
      </p:sp>
      <p:sp>
        <p:nvSpPr>
          <p:cNvPr id="6" name="Rectangle 5">
            <a:extLst>
              <a:ext uri="{FF2B5EF4-FFF2-40B4-BE49-F238E27FC236}">
                <a16:creationId xmlns:a16="http://schemas.microsoft.com/office/drawing/2014/main" id="{1595EE53-684F-E628-60F3-24072F15C04F}"/>
              </a:ext>
            </a:extLst>
          </p:cNvPr>
          <p:cNvSpPr/>
          <p:nvPr/>
        </p:nvSpPr>
        <p:spPr>
          <a:xfrm>
            <a:off x="6823658" y="4840539"/>
            <a:ext cx="2045368" cy="19370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Dashboard with insights generated delivered to the client and deployed at the global and departmental level</a:t>
            </a:r>
            <a:endParaRPr lang="en-GB" b="1" dirty="0">
              <a:solidFill>
                <a:schemeClr val="tx1"/>
              </a:solidFill>
            </a:endParaRPr>
          </a:p>
        </p:txBody>
      </p:sp>
      <p:sp>
        <p:nvSpPr>
          <p:cNvPr id="7" name="Rectangle: Folded Corner 6">
            <a:extLst>
              <a:ext uri="{FF2B5EF4-FFF2-40B4-BE49-F238E27FC236}">
                <a16:creationId xmlns:a16="http://schemas.microsoft.com/office/drawing/2014/main" id="{3426F0A3-AE6C-EF61-A079-9367D43A5848}"/>
              </a:ext>
            </a:extLst>
          </p:cNvPr>
          <p:cNvSpPr/>
          <p:nvPr/>
        </p:nvSpPr>
        <p:spPr>
          <a:xfrm>
            <a:off x="6023558" y="553452"/>
            <a:ext cx="3645569" cy="1780674"/>
          </a:xfrm>
          <a:prstGeom prst="foldedCorne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Can Graphic Design help with graphics to highlight the process or is this irrelevant and text alone will suffice? </a:t>
            </a:r>
            <a:endParaRPr lang="en-GB" sz="1600" b="1" dirty="0">
              <a:solidFill>
                <a:schemeClr val="tx1"/>
              </a:solidFill>
            </a:endParaRPr>
          </a:p>
        </p:txBody>
      </p:sp>
      <p:sp>
        <p:nvSpPr>
          <p:cNvPr id="8" name="Rectangle 7">
            <a:extLst>
              <a:ext uri="{FF2B5EF4-FFF2-40B4-BE49-F238E27FC236}">
                <a16:creationId xmlns:a16="http://schemas.microsoft.com/office/drawing/2014/main" id="{AEADF7C2-0A6D-B7BF-B836-42A582957D13}"/>
              </a:ext>
            </a:extLst>
          </p:cNvPr>
          <p:cNvSpPr/>
          <p:nvPr/>
        </p:nvSpPr>
        <p:spPr>
          <a:xfrm>
            <a:off x="6823658" y="3045909"/>
            <a:ext cx="2045368" cy="14678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Presentation with insights generated from the data</a:t>
            </a:r>
            <a:endParaRPr lang="en-GB" b="1" dirty="0">
              <a:solidFill>
                <a:schemeClr val="tx1"/>
              </a:solidFill>
            </a:endParaRPr>
          </a:p>
        </p:txBody>
      </p:sp>
    </p:spTree>
    <p:extLst>
      <p:ext uri="{BB962C8B-B14F-4D97-AF65-F5344CB8AC3E}">
        <p14:creationId xmlns:p14="http://schemas.microsoft.com/office/powerpoint/2010/main" val="39320199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323"/>
        <p:cNvGrpSpPr/>
        <p:nvPr/>
      </p:nvGrpSpPr>
      <p:grpSpPr>
        <a:xfrm>
          <a:off x="0" y="0"/>
          <a:ext cx="0" cy="0"/>
          <a:chOff x="0" y="0"/>
          <a:chExt cx="0" cy="0"/>
        </a:xfrm>
      </p:grpSpPr>
      <p:sp>
        <p:nvSpPr>
          <p:cNvPr id="1325" name="Google Shape;1325;p43"/>
          <p:cNvSpPr/>
          <p:nvPr/>
        </p:nvSpPr>
        <p:spPr>
          <a:xfrm>
            <a:off x="5369957" y="1253012"/>
            <a:ext cx="2277367" cy="6022299"/>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26" name="Google Shape;1326;p43"/>
          <p:cNvSpPr/>
          <p:nvPr/>
        </p:nvSpPr>
        <p:spPr>
          <a:xfrm>
            <a:off x="7933314" y="1253012"/>
            <a:ext cx="2277367" cy="6022299"/>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sp>
        <p:nvSpPr>
          <p:cNvPr id="1327" name="Google Shape;1327;p43"/>
          <p:cNvSpPr/>
          <p:nvPr/>
        </p:nvSpPr>
        <p:spPr>
          <a:xfrm>
            <a:off x="2806601" y="1253012"/>
            <a:ext cx="2277367" cy="6022299"/>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28" name="Google Shape;1328;p43"/>
          <p:cNvSpPr txBox="1"/>
          <p:nvPr/>
        </p:nvSpPr>
        <p:spPr>
          <a:xfrm>
            <a:off x="2984419" y="2112009"/>
            <a:ext cx="1921731" cy="2105192"/>
          </a:xfrm>
          <a:prstGeom prst="rect">
            <a:avLst/>
          </a:prstGeom>
          <a:noFill/>
          <a:ln>
            <a:noFill/>
          </a:ln>
        </p:spPr>
        <p:txBody>
          <a:bodyPr spcFirstLastPara="1" wrap="square" lIns="0" tIns="0" rIns="0" bIns="0" anchor="t" anchorCtr="0">
            <a:spAutoFit/>
          </a:bodyPr>
          <a:lstStyle/>
          <a:p>
            <a:pPr>
              <a:buClr>
                <a:srgbClr val="444444"/>
              </a:buClr>
              <a:buSzPts val="1300"/>
            </a:pPr>
            <a:r>
              <a:rPr lang="en-US" sz="1140" dirty="0">
                <a:solidFill>
                  <a:srgbClr val="444444"/>
                </a:solidFill>
                <a:latin typeface="Calibri"/>
                <a:ea typeface="Calibri"/>
                <a:cs typeface="Calibri"/>
                <a:sym typeface="Calibri"/>
              </a:rPr>
              <a:t>To aid analysis for projects in the automobile sector, the client needed to collect data from an e-commerce platform and analyse this data.</a:t>
            </a:r>
            <a:endParaRPr sz="1140" dirty="0">
              <a:solidFill>
                <a:srgbClr val="444444"/>
              </a:solidFill>
              <a:latin typeface="Calibri"/>
              <a:ea typeface="Calibri"/>
              <a:cs typeface="Calibri"/>
              <a:sym typeface="Calibri"/>
            </a:endParaRPr>
          </a:p>
          <a:p>
            <a:pPr>
              <a:buClr>
                <a:srgbClr val="444444"/>
              </a:buClr>
              <a:buSzPts val="1300"/>
            </a:pPr>
            <a:endParaRPr lang="en-US" sz="1140" dirty="0">
              <a:solidFill>
                <a:srgbClr val="444444"/>
              </a:solidFill>
              <a:latin typeface="Calibri"/>
              <a:ea typeface="Calibri"/>
              <a:cs typeface="Calibri"/>
              <a:sym typeface="Calibri"/>
            </a:endParaRPr>
          </a:p>
          <a:p>
            <a:pPr>
              <a:buClr>
                <a:srgbClr val="444444"/>
              </a:buClr>
              <a:buSzPts val="1300"/>
            </a:pPr>
            <a:r>
              <a:rPr lang="en-US" sz="1140" dirty="0">
                <a:solidFill>
                  <a:srgbClr val="444444"/>
                </a:solidFill>
                <a:latin typeface="Calibri"/>
                <a:ea typeface="Calibri"/>
                <a:cs typeface="Calibri"/>
                <a:sym typeface="Calibri"/>
              </a:rPr>
              <a:t>The firm was looking for an efficient : </a:t>
            </a:r>
            <a:endParaRPr sz="1228" dirty="0"/>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p:txBody>
      </p:sp>
      <p:sp>
        <p:nvSpPr>
          <p:cNvPr id="1329" name="Google Shape;1329;p43"/>
          <p:cNvSpPr txBox="1"/>
          <p:nvPr/>
        </p:nvSpPr>
        <p:spPr>
          <a:xfrm>
            <a:off x="5547775" y="2112009"/>
            <a:ext cx="1921731" cy="350865"/>
          </a:xfrm>
          <a:prstGeom prst="rect">
            <a:avLst/>
          </a:prstGeom>
          <a:noFill/>
          <a:ln>
            <a:noFill/>
          </a:ln>
        </p:spPr>
        <p:txBody>
          <a:bodyPr spcFirstLastPara="1" wrap="square" lIns="0" tIns="0" rIns="0" bIns="0" anchor="t" anchorCtr="0">
            <a:spAutoFit/>
          </a:bodyPr>
          <a:lstStyle/>
          <a:p>
            <a:pPr>
              <a:buClr>
                <a:srgbClr val="444444"/>
              </a:buClr>
              <a:buSzPts val="1300"/>
            </a:pPr>
            <a:r>
              <a:rPr lang="en-US" sz="1140" b="1" dirty="0">
                <a:solidFill>
                  <a:srgbClr val="222222"/>
                </a:solidFill>
                <a:latin typeface="Calibri"/>
                <a:ea typeface="Calibri"/>
                <a:cs typeface="Calibri"/>
                <a:sym typeface="Calibri"/>
              </a:rPr>
              <a:t>Infomineo’ s Data Analytics delivered:</a:t>
            </a:r>
            <a:endParaRPr sz="1228" dirty="0">
              <a:solidFill>
                <a:srgbClr val="222222"/>
              </a:solidFill>
            </a:endParaRPr>
          </a:p>
        </p:txBody>
      </p:sp>
      <p:sp>
        <p:nvSpPr>
          <p:cNvPr id="1330" name="Google Shape;1330;p43"/>
          <p:cNvSpPr txBox="1"/>
          <p:nvPr/>
        </p:nvSpPr>
        <p:spPr>
          <a:xfrm>
            <a:off x="8043559" y="2082204"/>
            <a:ext cx="2011770" cy="2271391"/>
          </a:xfrm>
          <a:prstGeom prst="rect">
            <a:avLst/>
          </a:prstGeom>
          <a:noFill/>
          <a:ln>
            <a:noFill/>
          </a:ln>
        </p:spPr>
        <p:txBody>
          <a:bodyPr spcFirstLastPara="1" wrap="square" lIns="0" tIns="0" rIns="0" bIns="0" anchor="t" anchorCtr="0">
            <a:spAutoFit/>
          </a:bodyPr>
          <a:lstStyle/>
          <a:p>
            <a:pPr marL="285750" indent="-285750">
              <a:buSzPts val="1400"/>
              <a:buFont typeface="Arial" panose="020B0604020202020204" pitchFamily="34" charset="0"/>
              <a:buChar char="•"/>
            </a:pPr>
            <a:r>
              <a:rPr lang="en-US" sz="1230" i="0" dirty="0">
                <a:effectLst/>
                <a:latin typeface="Calibri" panose="020F0502020204030204" pitchFamily="34" charset="0"/>
                <a:ea typeface="Calibri" panose="020F0502020204030204" pitchFamily="34" charset="0"/>
                <a:cs typeface="Calibri" panose="020F0502020204030204" pitchFamily="34" charset="0"/>
              </a:rPr>
              <a:t>A full-fledged webscraping tool, operable through a user interface was delivered to the client.</a:t>
            </a:r>
          </a:p>
          <a:p>
            <a:pPr marL="285750" indent="-285750">
              <a:buSzPts val="1400"/>
              <a:buFont typeface="Arial" panose="020B0604020202020204" pitchFamily="34" charset="0"/>
              <a:buChar char="•"/>
            </a:pPr>
            <a:endParaRPr lang="en-US" sz="1230" dirty="0">
              <a:latin typeface="Calibri" panose="020F0502020204030204" pitchFamily="34" charset="0"/>
              <a:ea typeface="Calibri" panose="020F0502020204030204" pitchFamily="34" charset="0"/>
              <a:cs typeface="Calibri" panose="020F0502020204030204" pitchFamily="34" charset="0"/>
            </a:endParaRPr>
          </a:p>
          <a:p>
            <a:pPr marL="285750" indent="-285750">
              <a:buSzPts val="1400"/>
              <a:buFont typeface="Arial" panose="020B0604020202020204" pitchFamily="34" charset="0"/>
              <a:buChar char="•"/>
            </a:pPr>
            <a:r>
              <a:rPr lang="en-US" sz="1230" i="0" dirty="0">
                <a:effectLst/>
                <a:latin typeface="Calibri" panose="020F0502020204030204" pitchFamily="34" charset="0"/>
                <a:ea typeface="Calibri" panose="020F0502020204030204" pitchFamily="34" charset="0"/>
                <a:cs typeface="Calibri" panose="020F0502020204030204" pitchFamily="34" charset="0"/>
              </a:rPr>
              <a:t>The solution enabled the client to extract listings from the e-commerce platform, across all cities and categories, using specific keywords. </a:t>
            </a:r>
          </a:p>
          <a:p>
            <a:pPr>
              <a:buSzPts val="1400"/>
            </a:pPr>
            <a:endParaRPr lang="en-US" sz="1230" dirty="0">
              <a:latin typeface="Calibri" panose="020F0502020204030204" pitchFamily="34" charset="0"/>
              <a:ea typeface="Calibri" panose="020F0502020204030204" pitchFamily="34" charset="0"/>
              <a:cs typeface="Calibri" panose="020F0502020204030204" pitchFamily="34" charset="0"/>
            </a:endParaRPr>
          </a:p>
        </p:txBody>
      </p:sp>
      <p:sp>
        <p:nvSpPr>
          <p:cNvPr id="1331" name="Google Shape;1331;p43"/>
          <p:cNvSpPr/>
          <p:nvPr/>
        </p:nvSpPr>
        <p:spPr>
          <a:xfrm>
            <a:off x="2806600"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2" name="Google Shape;1332;p43"/>
          <p:cNvSpPr txBox="1"/>
          <p:nvPr/>
        </p:nvSpPr>
        <p:spPr>
          <a:xfrm>
            <a:off x="2984418" y="1356291"/>
            <a:ext cx="924935" cy="413190"/>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Client</a:t>
            </a:r>
            <a:br>
              <a:rPr lang="en-US" sz="1579">
                <a:solidFill>
                  <a:srgbClr val="FFFFFF"/>
                </a:solidFill>
                <a:latin typeface="Franklin Gothic"/>
                <a:ea typeface="Franklin Gothic"/>
                <a:cs typeface="Franklin Gothic"/>
                <a:sym typeface="Franklin Gothic"/>
              </a:rPr>
            </a:br>
            <a:r>
              <a:rPr lang="en-US" sz="1579">
                <a:solidFill>
                  <a:srgbClr val="FFFFFF"/>
                </a:solidFill>
                <a:latin typeface="Franklin Gothic"/>
                <a:ea typeface="Franklin Gothic"/>
                <a:cs typeface="Franklin Gothic"/>
                <a:sym typeface="Franklin Gothic"/>
              </a:rPr>
              <a:t>Challenge</a:t>
            </a:r>
            <a:endParaRPr sz="1228"/>
          </a:p>
        </p:txBody>
      </p:sp>
      <p:sp>
        <p:nvSpPr>
          <p:cNvPr id="1333" name="Google Shape;1333;p43"/>
          <p:cNvSpPr/>
          <p:nvPr/>
        </p:nvSpPr>
        <p:spPr>
          <a:xfrm>
            <a:off x="4188633"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4" name="Google Shape;1334;p43"/>
          <p:cNvSpPr/>
          <p:nvPr/>
        </p:nvSpPr>
        <p:spPr>
          <a:xfrm>
            <a:off x="5369956"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5" name="Google Shape;1335;p43"/>
          <p:cNvSpPr txBox="1"/>
          <p:nvPr/>
        </p:nvSpPr>
        <p:spPr>
          <a:xfrm>
            <a:off x="5547775" y="1356291"/>
            <a:ext cx="760340" cy="413190"/>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Our</a:t>
            </a:r>
            <a:br>
              <a:rPr lang="en-US" sz="1579">
                <a:solidFill>
                  <a:srgbClr val="FFFFFF"/>
                </a:solidFill>
                <a:latin typeface="Franklin Gothic"/>
                <a:ea typeface="Franklin Gothic"/>
                <a:cs typeface="Franklin Gothic"/>
                <a:sym typeface="Franklin Gothic"/>
              </a:rPr>
            </a:br>
            <a:r>
              <a:rPr lang="en-US" sz="1579">
                <a:solidFill>
                  <a:srgbClr val="FFFFFF"/>
                </a:solidFill>
                <a:latin typeface="Franklin Gothic"/>
                <a:ea typeface="Franklin Gothic"/>
                <a:cs typeface="Franklin Gothic"/>
                <a:sym typeface="Franklin Gothic"/>
              </a:rPr>
              <a:t>Solution</a:t>
            </a:r>
            <a:endParaRPr sz="1228"/>
          </a:p>
        </p:txBody>
      </p:sp>
      <p:sp>
        <p:nvSpPr>
          <p:cNvPr id="1336" name="Google Shape;1336;p43"/>
          <p:cNvSpPr/>
          <p:nvPr/>
        </p:nvSpPr>
        <p:spPr>
          <a:xfrm>
            <a:off x="6731632"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7" name="Google Shape;1337;p43"/>
          <p:cNvSpPr/>
          <p:nvPr/>
        </p:nvSpPr>
        <p:spPr>
          <a:xfrm>
            <a:off x="7933313"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sp>
        <p:nvSpPr>
          <p:cNvPr id="1338" name="Google Shape;1338;p43"/>
          <p:cNvSpPr txBox="1"/>
          <p:nvPr/>
        </p:nvSpPr>
        <p:spPr>
          <a:xfrm>
            <a:off x="8111132" y="1459531"/>
            <a:ext cx="827343" cy="206595"/>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Outcome</a:t>
            </a:r>
            <a:endParaRPr sz="1579">
              <a:solidFill>
                <a:srgbClr val="FFFFFF"/>
              </a:solidFill>
              <a:latin typeface="Franklin Gothic"/>
              <a:ea typeface="Franklin Gothic"/>
              <a:cs typeface="Franklin Gothic"/>
              <a:sym typeface="Franklin Gothic"/>
            </a:endParaRPr>
          </a:p>
        </p:txBody>
      </p:sp>
      <p:sp>
        <p:nvSpPr>
          <p:cNvPr id="1339" name="Google Shape;1339;p43"/>
          <p:cNvSpPr/>
          <p:nvPr/>
        </p:nvSpPr>
        <p:spPr>
          <a:xfrm>
            <a:off x="9294988"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grpSp>
        <p:nvGrpSpPr>
          <p:cNvPr id="1340" name="Google Shape;1340;p43"/>
          <p:cNvGrpSpPr/>
          <p:nvPr/>
        </p:nvGrpSpPr>
        <p:grpSpPr>
          <a:xfrm>
            <a:off x="9432194" y="1337707"/>
            <a:ext cx="432288" cy="400866"/>
            <a:chOff x="7154863" y="4446588"/>
            <a:chExt cx="527050" cy="506412"/>
          </a:xfrm>
        </p:grpSpPr>
        <p:sp>
          <p:nvSpPr>
            <p:cNvPr id="1341" name="Google Shape;1341;p43"/>
            <p:cNvSpPr/>
            <p:nvPr/>
          </p:nvSpPr>
          <p:spPr>
            <a:xfrm>
              <a:off x="7154863" y="4446588"/>
              <a:ext cx="527050" cy="506412"/>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80175" tIns="40077" rIns="80175" bIns="40077" anchor="t" anchorCtr="0">
              <a:noAutofit/>
            </a:bodyPr>
            <a:lstStyle/>
            <a:p>
              <a:pPr>
                <a:buSzPts val="1800"/>
              </a:pPr>
              <a:endParaRPr sz="1579">
                <a:solidFill>
                  <a:srgbClr val="444444"/>
                </a:solidFill>
                <a:highlight>
                  <a:srgbClr val="FFFF00"/>
                </a:highlight>
                <a:latin typeface="Calibri"/>
                <a:ea typeface="Calibri"/>
                <a:cs typeface="Calibri"/>
                <a:sym typeface="Calibri"/>
              </a:endParaRPr>
            </a:p>
          </p:txBody>
        </p:sp>
        <p:sp>
          <p:nvSpPr>
            <p:cNvPr id="1342" name="Google Shape;1342;p43"/>
            <p:cNvSpPr/>
            <p:nvPr/>
          </p:nvSpPr>
          <p:spPr>
            <a:xfrm>
              <a:off x="7275513" y="4554538"/>
              <a:ext cx="344488" cy="336550"/>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80175" tIns="40077" rIns="80175" bIns="40077" anchor="t" anchorCtr="0">
              <a:noAutofit/>
            </a:bodyPr>
            <a:lstStyle/>
            <a:p>
              <a:pPr>
                <a:buSzPts val="1800"/>
              </a:pPr>
              <a:endParaRPr sz="1579">
                <a:solidFill>
                  <a:srgbClr val="444444"/>
                </a:solidFill>
                <a:highlight>
                  <a:srgbClr val="FFFF00"/>
                </a:highlight>
                <a:latin typeface="Calibri"/>
                <a:ea typeface="Calibri"/>
                <a:cs typeface="Calibri"/>
                <a:sym typeface="Calibri"/>
              </a:endParaRPr>
            </a:p>
          </p:txBody>
        </p:sp>
      </p:grpSp>
      <p:pic>
        <p:nvPicPr>
          <p:cNvPr id="1343" name="Google Shape;1343;p43"/>
          <p:cNvPicPr preferRelativeResize="0"/>
          <p:nvPr/>
        </p:nvPicPr>
        <p:blipFill rotWithShape="1">
          <a:blip r:embed="rId3">
            <a:alphaModFix/>
          </a:blip>
          <a:srcRect/>
          <a:stretch/>
        </p:blipFill>
        <p:spPr>
          <a:xfrm>
            <a:off x="473029" y="1264375"/>
            <a:ext cx="744343" cy="672164"/>
          </a:xfrm>
          <a:prstGeom prst="rect">
            <a:avLst/>
          </a:prstGeom>
          <a:noFill/>
          <a:ln>
            <a:noFill/>
          </a:ln>
        </p:spPr>
      </p:pic>
      <p:sp>
        <p:nvSpPr>
          <p:cNvPr id="1344" name="Google Shape;1344;p43"/>
          <p:cNvSpPr txBox="1"/>
          <p:nvPr/>
        </p:nvSpPr>
        <p:spPr>
          <a:xfrm>
            <a:off x="1345432" y="1264374"/>
            <a:ext cx="1268475" cy="734047"/>
          </a:xfrm>
          <a:prstGeom prst="rect">
            <a:avLst/>
          </a:prstGeom>
          <a:noFill/>
          <a:ln>
            <a:noFill/>
          </a:ln>
        </p:spPr>
        <p:txBody>
          <a:bodyPr spcFirstLastPara="1" wrap="square" lIns="0" tIns="0" rIns="0" bIns="0" anchor="t" anchorCtr="0">
            <a:spAutoFit/>
          </a:bodyPr>
          <a:lstStyle/>
          <a:p>
            <a:pPr>
              <a:lnSpc>
                <a:spcPct val="85000"/>
              </a:lnSpc>
              <a:buSzPts val="3200"/>
            </a:pPr>
            <a:r>
              <a:rPr lang="en-US" sz="2806" dirty="0">
                <a:solidFill>
                  <a:srgbClr val="0F47F2"/>
                </a:solidFill>
                <a:latin typeface="Franklin Gothic"/>
                <a:ea typeface="Franklin Gothic"/>
                <a:cs typeface="Franklin Gothic"/>
                <a:sym typeface="Franklin Gothic"/>
              </a:rPr>
              <a:t>CASE</a:t>
            </a:r>
            <a:br>
              <a:rPr lang="en-US" sz="2806" dirty="0">
                <a:solidFill>
                  <a:srgbClr val="0F47F2"/>
                </a:solidFill>
                <a:latin typeface="Franklin Gothic"/>
                <a:ea typeface="Franklin Gothic"/>
                <a:cs typeface="Franklin Gothic"/>
                <a:sym typeface="Franklin Gothic"/>
              </a:rPr>
            </a:br>
            <a:r>
              <a:rPr lang="en-US" sz="2806" dirty="0">
                <a:solidFill>
                  <a:srgbClr val="0F47F2"/>
                </a:solidFill>
                <a:latin typeface="Franklin Gothic"/>
                <a:ea typeface="Franklin Gothic"/>
                <a:cs typeface="Franklin Gothic"/>
                <a:sym typeface="Franklin Gothic"/>
              </a:rPr>
              <a:t>STUDY</a:t>
            </a:r>
            <a:endParaRPr sz="1228" dirty="0"/>
          </a:p>
        </p:txBody>
      </p:sp>
      <p:cxnSp>
        <p:nvCxnSpPr>
          <p:cNvPr id="1345" name="Google Shape;1345;p43"/>
          <p:cNvCxnSpPr/>
          <p:nvPr/>
        </p:nvCxnSpPr>
        <p:spPr>
          <a:xfrm>
            <a:off x="473029" y="2070159"/>
            <a:ext cx="2029495" cy="0"/>
          </a:xfrm>
          <a:prstGeom prst="straightConnector1">
            <a:avLst/>
          </a:prstGeom>
          <a:noFill/>
          <a:ln w="19050" cap="flat" cmpd="sng">
            <a:solidFill>
              <a:schemeClr val="dk2"/>
            </a:solidFill>
            <a:prstDash val="solid"/>
            <a:miter lim="800000"/>
            <a:headEnd type="none" w="sm" len="sm"/>
            <a:tailEnd type="none" w="sm" len="sm"/>
          </a:ln>
        </p:spPr>
      </p:cxnSp>
      <p:sp>
        <p:nvSpPr>
          <p:cNvPr id="1346" name="Google Shape;1346;p43"/>
          <p:cNvSpPr txBox="1"/>
          <p:nvPr/>
        </p:nvSpPr>
        <p:spPr>
          <a:xfrm>
            <a:off x="494026" y="2185531"/>
            <a:ext cx="2046928" cy="243015"/>
          </a:xfrm>
          <a:prstGeom prst="rect">
            <a:avLst/>
          </a:prstGeom>
          <a:noFill/>
          <a:ln>
            <a:noFill/>
          </a:ln>
        </p:spPr>
        <p:txBody>
          <a:bodyPr spcFirstLastPara="1" wrap="square" lIns="0" tIns="0" rIns="0" bIns="0" anchor="t" anchorCtr="0">
            <a:spAutoFit/>
          </a:bodyPr>
          <a:lstStyle/>
          <a:p>
            <a:pPr>
              <a:buClr>
                <a:srgbClr val="444444"/>
              </a:buClr>
              <a:buSzPts val="1800"/>
            </a:pPr>
            <a:r>
              <a:rPr lang="en-US" sz="1579" dirty="0">
                <a:solidFill>
                  <a:srgbClr val="444444"/>
                </a:solidFill>
                <a:latin typeface="Franklin Gothic"/>
                <a:ea typeface="Franklin Gothic"/>
                <a:cs typeface="Franklin Gothic"/>
                <a:sym typeface="Franklin Gothic"/>
              </a:rPr>
              <a:t>Client:</a:t>
            </a:r>
            <a:endParaRPr sz="1228" dirty="0"/>
          </a:p>
        </p:txBody>
      </p:sp>
      <p:sp>
        <p:nvSpPr>
          <p:cNvPr id="1347" name="Google Shape;1347;p43"/>
          <p:cNvSpPr txBox="1"/>
          <p:nvPr/>
        </p:nvSpPr>
        <p:spPr>
          <a:xfrm>
            <a:off x="494026" y="2465773"/>
            <a:ext cx="2029495" cy="350865"/>
          </a:xfrm>
          <a:prstGeom prst="rect">
            <a:avLst/>
          </a:prstGeom>
          <a:noFill/>
          <a:ln>
            <a:noFill/>
          </a:ln>
        </p:spPr>
        <p:txBody>
          <a:bodyPr spcFirstLastPara="1" wrap="square" lIns="0" tIns="0" rIns="0" bIns="0" anchor="t" anchorCtr="0">
            <a:spAutoFit/>
          </a:bodyPr>
          <a:lstStyle/>
          <a:p>
            <a:pPr>
              <a:buSzPts val="1300"/>
            </a:pPr>
            <a:r>
              <a:rPr lang="en-US" sz="1140" dirty="0">
                <a:solidFill>
                  <a:srgbClr val="444444"/>
                </a:solidFill>
                <a:latin typeface="Calibri"/>
                <a:ea typeface="Calibri"/>
                <a:cs typeface="Calibri"/>
                <a:sym typeface="Calibri"/>
              </a:rPr>
              <a:t>A leading strategy consulting company</a:t>
            </a:r>
            <a:endParaRPr sz="1140" dirty="0">
              <a:solidFill>
                <a:srgbClr val="444444"/>
              </a:solidFill>
              <a:latin typeface="Calibri"/>
              <a:ea typeface="Calibri"/>
              <a:cs typeface="Calibri"/>
              <a:sym typeface="Calibri"/>
            </a:endParaRPr>
          </a:p>
        </p:txBody>
      </p:sp>
      <p:pic>
        <p:nvPicPr>
          <p:cNvPr id="1348" name="Google Shape;1348;p43"/>
          <p:cNvPicPr preferRelativeResize="0"/>
          <p:nvPr/>
        </p:nvPicPr>
        <p:blipFill rotWithShape="1">
          <a:blip r:embed="rId4">
            <a:alphaModFix/>
          </a:blip>
          <a:srcRect/>
          <a:stretch/>
        </p:blipFill>
        <p:spPr>
          <a:xfrm>
            <a:off x="6841523" y="1294705"/>
            <a:ext cx="527194" cy="527194"/>
          </a:xfrm>
          <a:prstGeom prst="rect">
            <a:avLst/>
          </a:prstGeom>
          <a:noFill/>
          <a:ln>
            <a:noFill/>
          </a:ln>
        </p:spPr>
      </p:pic>
      <p:pic>
        <p:nvPicPr>
          <p:cNvPr id="1349" name="Google Shape;1349;p43"/>
          <p:cNvPicPr preferRelativeResize="0"/>
          <p:nvPr/>
        </p:nvPicPr>
        <p:blipFill rotWithShape="1">
          <a:blip r:embed="rId5">
            <a:alphaModFix/>
          </a:blip>
          <a:srcRect/>
          <a:stretch/>
        </p:blipFill>
        <p:spPr>
          <a:xfrm>
            <a:off x="4309586" y="1298006"/>
            <a:ext cx="518435" cy="518435"/>
          </a:xfrm>
          <a:prstGeom prst="rect">
            <a:avLst/>
          </a:prstGeom>
          <a:noFill/>
          <a:ln>
            <a:noFill/>
          </a:ln>
        </p:spPr>
      </p:pic>
      <p:sp>
        <p:nvSpPr>
          <p:cNvPr id="1350" name="Google Shape;1350;p43"/>
          <p:cNvSpPr/>
          <p:nvPr/>
        </p:nvSpPr>
        <p:spPr>
          <a:xfrm>
            <a:off x="2956725" y="3887118"/>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pic>
        <p:nvPicPr>
          <p:cNvPr id="1351" name="Google Shape;1351;p43" descr="Gears"/>
          <p:cNvPicPr preferRelativeResize="0"/>
          <p:nvPr/>
        </p:nvPicPr>
        <p:blipFill rotWithShape="1">
          <a:blip r:embed="rId6">
            <a:alphaModFix/>
          </a:blip>
          <a:srcRect/>
          <a:stretch/>
        </p:blipFill>
        <p:spPr>
          <a:xfrm>
            <a:off x="2996820" y="3931521"/>
            <a:ext cx="320754" cy="320754"/>
          </a:xfrm>
          <a:prstGeom prst="rect">
            <a:avLst/>
          </a:prstGeom>
          <a:noFill/>
          <a:ln>
            <a:noFill/>
          </a:ln>
        </p:spPr>
      </p:pic>
      <p:grpSp>
        <p:nvGrpSpPr>
          <p:cNvPr id="2" name="Group 1">
            <a:extLst>
              <a:ext uri="{FF2B5EF4-FFF2-40B4-BE49-F238E27FC236}">
                <a16:creationId xmlns:a16="http://schemas.microsoft.com/office/drawing/2014/main" id="{87DA8E2C-40FB-FAB4-49EC-91DD9A22D6E3}"/>
              </a:ext>
            </a:extLst>
          </p:cNvPr>
          <p:cNvGrpSpPr/>
          <p:nvPr/>
        </p:nvGrpSpPr>
        <p:grpSpPr>
          <a:xfrm>
            <a:off x="2956725" y="5266814"/>
            <a:ext cx="400943" cy="400943"/>
            <a:chOff x="2956725" y="4881800"/>
            <a:chExt cx="400943" cy="400943"/>
          </a:xfrm>
        </p:grpSpPr>
        <p:pic>
          <p:nvPicPr>
            <p:cNvPr id="1352" name="Google Shape;1352;p43" descr="Arrow circle"/>
            <p:cNvPicPr preferRelativeResize="0"/>
            <p:nvPr/>
          </p:nvPicPr>
          <p:blipFill rotWithShape="1">
            <a:blip r:embed="rId7">
              <a:alphaModFix/>
            </a:blip>
            <a:srcRect/>
            <a:stretch/>
          </p:blipFill>
          <p:spPr>
            <a:xfrm>
              <a:off x="2996819" y="4921894"/>
              <a:ext cx="320754" cy="320754"/>
            </a:xfrm>
            <a:prstGeom prst="rect">
              <a:avLst/>
            </a:prstGeom>
            <a:noFill/>
            <a:ln>
              <a:noFill/>
            </a:ln>
          </p:spPr>
        </p:pic>
        <p:sp>
          <p:nvSpPr>
            <p:cNvPr id="1353" name="Google Shape;1353;p43"/>
            <p:cNvSpPr/>
            <p:nvPr/>
          </p:nvSpPr>
          <p:spPr>
            <a:xfrm>
              <a:off x="2956725" y="4881800"/>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sp>
        <p:nvSpPr>
          <p:cNvPr id="1357" name="Google Shape;1357;p43"/>
          <p:cNvSpPr txBox="1"/>
          <p:nvPr/>
        </p:nvSpPr>
        <p:spPr>
          <a:xfrm>
            <a:off x="4537396" y="7636583"/>
            <a:ext cx="57" cy="188962"/>
          </a:xfrm>
          <a:prstGeom prst="rect">
            <a:avLst/>
          </a:prstGeom>
          <a:noFill/>
          <a:ln>
            <a:noFill/>
          </a:ln>
        </p:spPr>
        <p:txBody>
          <a:bodyPr spcFirstLastPara="1" wrap="square" lIns="0" tIns="0" rIns="0" bIns="0" anchor="t" anchorCtr="0">
            <a:spAutoFit/>
          </a:bodyPr>
          <a:lstStyle/>
          <a:p>
            <a:pPr>
              <a:buSzPts val="1400"/>
            </a:pPr>
            <a:endParaRPr sz="1228"/>
          </a:p>
        </p:txBody>
      </p:sp>
      <p:sp>
        <p:nvSpPr>
          <p:cNvPr id="1358" name="Google Shape;1358;p43"/>
          <p:cNvSpPr txBox="1"/>
          <p:nvPr/>
        </p:nvSpPr>
        <p:spPr>
          <a:xfrm>
            <a:off x="3429903" y="3898634"/>
            <a:ext cx="1443395" cy="1133772"/>
          </a:xfrm>
          <a:prstGeom prst="rect">
            <a:avLst/>
          </a:prstGeom>
          <a:noFill/>
          <a:ln>
            <a:noFill/>
          </a:ln>
        </p:spPr>
        <p:txBody>
          <a:bodyPr spcFirstLastPara="1" wrap="square" lIns="0" tIns="0" rIns="0" bIns="0" anchor="t" anchorCtr="0">
            <a:spAutoFit/>
          </a:bodyPr>
          <a:lstStyle/>
          <a:p>
            <a:pPr>
              <a:buSzPts val="1400"/>
            </a:pPr>
            <a:r>
              <a:rPr lang="en-US" sz="1228" b="1" dirty="0">
                <a:solidFill>
                  <a:srgbClr val="444444"/>
                </a:solidFill>
                <a:latin typeface="Calibri"/>
                <a:ea typeface="Calibri"/>
                <a:cs typeface="Calibri"/>
                <a:sym typeface="Calibri"/>
              </a:rPr>
              <a:t>An efficient and effective way to regularly collect data from an e-commerce website which operates in Morocco</a:t>
            </a:r>
            <a:endParaRPr sz="1228" dirty="0"/>
          </a:p>
        </p:txBody>
      </p:sp>
      <p:sp>
        <p:nvSpPr>
          <p:cNvPr id="1359" name="Google Shape;1359;p43"/>
          <p:cNvSpPr txBox="1"/>
          <p:nvPr/>
        </p:nvSpPr>
        <p:spPr>
          <a:xfrm>
            <a:off x="3463665" y="5266814"/>
            <a:ext cx="1443395" cy="1322734"/>
          </a:xfrm>
          <a:prstGeom prst="rect">
            <a:avLst/>
          </a:prstGeom>
          <a:noFill/>
          <a:ln>
            <a:noFill/>
          </a:ln>
        </p:spPr>
        <p:txBody>
          <a:bodyPr spcFirstLastPara="1" wrap="square" lIns="0" tIns="0" rIns="0" bIns="0" anchor="t" anchorCtr="0">
            <a:spAutoFit/>
          </a:bodyPr>
          <a:lstStyle/>
          <a:p>
            <a:pPr>
              <a:buSzPts val="1400"/>
            </a:pPr>
            <a:r>
              <a:rPr lang="en-US" sz="1228" b="1" dirty="0">
                <a:solidFill>
                  <a:srgbClr val="444444"/>
                </a:solidFill>
                <a:latin typeface="Calibri"/>
                <a:ea typeface="Calibri"/>
                <a:cs typeface="Calibri"/>
                <a:sym typeface="Calibri"/>
              </a:rPr>
              <a:t>Using the data collected, generate relevant insights that are relevant to one of the client’s practice areas</a:t>
            </a:r>
            <a:endParaRPr sz="1228" dirty="0"/>
          </a:p>
          <a:p>
            <a:pPr>
              <a:buSzPts val="1400"/>
            </a:pPr>
            <a:endParaRPr sz="1228" dirty="0"/>
          </a:p>
        </p:txBody>
      </p:sp>
      <p:sp>
        <p:nvSpPr>
          <p:cNvPr id="1361" name="Google Shape;1361;p43"/>
          <p:cNvSpPr txBox="1"/>
          <p:nvPr/>
        </p:nvSpPr>
        <p:spPr>
          <a:xfrm>
            <a:off x="6077336" y="2878013"/>
            <a:ext cx="1569987" cy="1703543"/>
          </a:xfrm>
          <a:prstGeom prst="rect">
            <a:avLst/>
          </a:prstGeom>
          <a:noFill/>
          <a:ln>
            <a:noFill/>
          </a:ln>
        </p:spPr>
        <p:txBody>
          <a:bodyPr spcFirstLastPara="1" wrap="square" lIns="0" tIns="0" rIns="0" bIns="0" anchor="t" anchorCtr="0">
            <a:spAutoFit/>
          </a:bodyPr>
          <a:lstStyle/>
          <a:p>
            <a:pPr>
              <a:buSzPts val="1400"/>
            </a:pPr>
            <a:r>
              <a:rPr lang="en-US" sz="1230" i="0" dirty="0">
                <a:effectLst/>
                <a:latin typeface="Calibri" panose="020F0502020204030204" pitchFamily="34" charset="0"/>
                <a:ea typeface="Calibri" panose="020F0502020204030204" pitchFamily="34" charset="0"/>
                <a:cs typeface="Calibri" panose="020F0502020204030204" pitchFamily="34" charset="0"/>
              </a:rPr>
              <a:t>An end-to-end solution using Python, wrapped in a Graphical User Interface (GUI) to improve user experience. In addition, the solution was delivered as a Pypi package </a:t>
            </a:r>
            <a:endParaRPr sz="1230" dirty="0">
              <a:solidFill>
                <a:srgbClr val="444444"/>
              </a:solidFill>
              <a:latin typeface="Calibri" panose="020F0502020204030204" pitchFamily="34" charset="0"/>
              <a:ea typeface="Calibri" panose="020F0502020204030204" pitchFamily="34" charset="0"/>
              <a:cs typeface="Calibri" panose="020F0502020204030204" pitchFamily="34" charset="0"/>
              <a:sym typeface="Calibri"/>
            </a:endParaRPr>
          </a:p>
        </p:txBody>
      </p:sp>
      <p:grpSp>
        <p:nvGrpSpPr>
          <p:cNvPr id="1365" name="Google Shape;1365;p43"/>
          <p:cNvGrpSpPr/>
          <p:nvPr/>
        </p:nvGrpSpPr>
        <p:grpSpPr>
          <a:xfrm>
            <a:off x="326982" y="3932189"/>
            <a:ext cx="2213972" cy="365304"/>
            <a:chOff x="550863" y="4854495"/>
            <a:chExt cx="3188017" cy="416560"/>
          </a:xfrm>
        </p:grpSpPr>
        <p:cxnSp>
          <p:nvCxnSpPr>
            <p:cNvPr id="1366" name="Google Shape;1366;p43"/>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367" name="Google Shape;1367;p43"/>
            <p:cNvSpPr/>
            <p:nvPr/>
          </p:nvSpPr>
          <p:spPr>
            <a:xfrm>
              <a:off x="1936591" y="4854495"/>
              <a:ext cx="416560" cy="416560"/>
            </a:xfrm>
            <a:prstGeom prst="ellipse">
              <a:avLst/>
            </a:prstGeom>
            <a:solidFill>
              <a:schemeClr val="lt2"/>
            </a:solidFill>
            <a:ln>
              <a:noFill/>
            </a:ln>
          </p:spPr>
          <p:txBody>
            <a:bodyPr spcFirstLastPara="1" wrap="square" lIns="80175" tIns="40077" rIns="80175" bIns="40077" anchor="ctr" anchorCtr="0">
              <a:noAutofit/>
            </a:bodyPr>
            <a:lstStyle/>
            <a:p>
              <a:pPr algn="ctr">
                <a:buClr>
                  <a:srgbClr val="FFFFFF"/>
                </a:buClr>
                <a:buSzPts val="1800"/>
              </a:pPr>
              <a:endParaRPr sz="1579">
                <a:solidFill>
                  <a:srgbClr val="FFFFFF"/>
                </a:solidFill>
                <a:latin typeface="Calibri"/>
                <a:ea typeface="Calibri"/>
                <a:cs typeface="Calibri"/>
                <a:sym typeface="Calibri"/>
              </a:endParaRPr>
            </a:p>
          </p:txBody>
        </p:sp>
        <p:grpSp>
          <p:nvGrpSpPr>
            <p:cNvPr id="1368" name="Google Shape;1368;p43"/>
            <p:cNvGrpSpPr/>
            <p:nvPr/>
          </p:nvGrpSpPr>
          <p:grpSpPr>
            <a:xfrm>
              <a:off x="1994217" y="4949317"/>
              <a:ext cx="301308" cy="220726"/>
              <a:chOff x="5754688" y="3178175"/>
              <a:chExt cx="682626" cy="500063"/>
            </a:xfrm>
          </p:grpSpPr>
          <p:sp>
            <p:nvSpPr>
              <p:cNvPr id="1369" name="Google Shape;1369;p43"/>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sp>
            <p:nvSpPr>
              <p:cNvPr id="1370" name="Google Shape;1370;p43"/>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grpSp>
      </p:grpSp>
      <p:grpSp>
        <p:nvGrpSpPr>
          <p:cNvPr id="1371" name="Google Shape;1371;p43"/>
          <p:cNvGrpSpPr/>
          <p:nvPr/>
        </p:nvGrpSpPr>
        <p:grpSpPr>
          <a:xfrm>
            <a:off x="328278" y="5772943"/>
            <a:ext cx="2213972" cy="365304"/>
            <a:chOff x="550863" y="4854495"/>
            <a:chExt cx="3188017" cy="416560"/>
          </a:xfrm>
        </p:grpSpPr>
        <p:cxnSp>
          <p:nvCxnSpPr>
            <p:cNvPr id="1372" name="Google Shape;1372;p43"/>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373" name="Google Shape;1373;p43"/>
            <p:cNvSpPr/>
            <p:nvPr/>
          </p:nvSpPr>
          <p:spPr>
            <a:xfrm>
              <a:off x="1936591" y="4854495"/>
              <a:ext cx="416560" cy="416560"/>
            </a:xfrm>
            <a:prstGeom prst="ellipse">
              <a:avLst/>
            </a:prstGeom>
            <a:solidFill>
              <a:schemeClr val="lt2"/>
            </a:solidFill>
            <a:ln>
              <a:noFill/>
            </a:ln>
          </p:spPr>
          <p:txBody>
            <a:bodyPr spcFirstLastPara="1" wrap="square" lIns="80175" tIns="40077" rIns="80175" bIns="40077" anchor="ctr" anchorCtr="0">
              <a:noAutofit/>
            </a:bodyPr>
            <a:lstStyle/>
            <a:p>
              <a:pPr algn="ctr">
                <a:buClr>
                  <a:srgbClr val="FFFFFF"/>
                </a:buClr>
                <a:buSzPts val="1800"/>
              </a:pPr>
              <a:endParaRPr sz="1579">
                <a:solidFill>
                  <a:srgbClr val="FFFFFF"/>
                </a:solidFill>
                <a:latin typeface="Calibri"/>
                <a:ea typeface="Calibri"/>
                <a:cs typeface="Calibri"/>
                <a:sym typeface="Calibri"/>
              </a:endParaRPr>
            </a:p>
          </p:txBody>
        </p:sp>
        <p:grpSp>
          <p:nvGrpSpPr>
            <p:cNvPr id="1374" name="Google Shape;1374;p43"/>
            <p:cNvGrpSpPr/>
            <p:nvPr/>
          </p:nvGrpSpPr>
          <p:grpSpPr>
            <a:xfrm>
              <a:off x="1994217" y="4949317"/>
              <a:ext cx="301308" cy="220726"/>
              <a:chOff x="5754688" y="3178175"/>
              <a:chExt cx="682626" cy="500063"/>
            </a:xfrm>
          </p:grpSpPr>
          <p:sp>
            <p:nvSpPr>
              <p:cNvPr id="1375" name="Google Shape;1375;p43"/>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sp>
            <p:nvSpPr>
              <p:cNvPr id="1376" name="Google Shape;1376;p43"/>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grpSp>
      </p:grpSp>
      <p:grpSp>
        <p:nvGrpSpPr>
          <p:cNvPr id="6" name="Group 5">
            <a:extLst>
              <a:ext uri="{FF2B5EF4-FFF2-40B4-BE49-F238E27FC236}">
                <a16:creationId xmlns:a16="http://schemas.microsoft.com/office/drawing/2014/main" id="{E364022A-9A9E-EA90-D3E4-271699B6F8FE}"/>
              </a:ext>
            </a:extLst>
          </p:cNvPr>
          <p:cNvGrpSpPr/>
          <p:nvPr/>
        </p:nvGrpSpPr>
        <p:grpSpPr>
          <a:xfrm>
            <a:off x="5381486" y="2985378"/>
            <a:ext cx="518058" cy="505159"/>
            <a:chOff x="5501803" y="3033502"/>
            <a:chExt cx="518058" cy="505159"/>
          </a:xfrm>
        </p:grpSpPr>
        <p:pic>
          <p:nvPicPr>
            <p:cNvPr id="1377" name="Google Shape;1377;p43" descr="The importance of the Data Quality - Captain Verify"/>
            <p:cNvPicPr preferRelativeResize="0"/>
            <p:nvPr/>
          </p:nvPicPr>
          <p:blipFill rotWithShape="1">
            <a:blip r:embed="rId8">
              <a:alphaModFix/>
            </a:blip>
            <a:srcRect/>
            <a:stretch/>
          </p:blipFill>
          <p:spPr>
            <a:xfrm>
              <a:off x="5591008" y="3039129"/>
              <a:ext cx="320655" cy="499532"/>
            </a:xfrm>
            <a:prstGeom prst="rect">
              <a:avLst/>
            </a:prstGeom>
            <a:noFill/>
            <a:ln>
              <a:noFill/>
            </a:ln>
          </p:spPr>
        </p:pic>
        <p:sp>
          <p:nvSpPr>
            <p:cNvPr id="1381" name="Google Shape;1381;p43"/>
            <p:cNvSpPr/>
            <p:nvPr/>
          </p:nvSpPr>
          <p:spPr>
            <a:xfrm>
              <a:off x="5501803" y="3033502"/>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sp>
        <p:nvSpPr>
          <p:cNvPr id="5" name="Google Shape;919;p38">
            <a:extLst>
              <a:ext uri="{FF2B5EF4-FFF2-40B4-BE49-F238E27FC236}">
                <a16:creationId xmlns:a16="http://schemas.microsoft.com/office/drawing/2014/main" id="{38534844-B45C-6CFD-D533-D57095F29AA3}"/>
              </a:ext>
            </a:extLst>
          </p:cNvPr>
          <p:cNvSpPr txBox="1">
            <a:spLocks/>
          </p:cNvSpPr>
          <p:nvPr/>
        </p:nvSpPr>
        <p:spPr>
          <a:xfrm>
            <a:off x="124969" y="284360"/>
            <a:ext cx="11089972" cy="33239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buClr>
                <a:schemeClr val="dk2"/>
              </a:buClr>
              <a:buSzPts val="3200"/>
              <a:buFont typeface="Franklin Gothic"/>
              <a:buNone/>
            </a:pPr>
            <a:r>
              <a:rPr lang="en-US" sz="2400" b="1" dirty="0">
                <a:solidFill>
                  <a:srgbClr val="0F47F2"/>
                </a:solidFill>
              </a:rPr>
              <a:t>Data Collection and Analysis: Automobile Practice</a:t>
            </a:r>
          </a:p>
        </p:txBody>
      </p:sp>
      <p:sp>
        <p:nvSpPr>
          <p:cNvPr id="3" name="Rectangle: Folded Corner 2">
            <a:extLst>
              <a:ext uri="{FF2B5EF4-FFF2-40B4-BE49-F238E27FC236}">
                <a16:creationId xmlns:a16="http://schemas.microsoft.com/office/drawing/2014/main" id="{678FF0FC-8AD9-65AC-0C72-2D6E35C14B8F}"/>
              </a:ext>
            </a:extLst>
          </p:cNvPr>
          <p:cNvSpPr/>
          <p:nvPr/>
        </p:nvSpPr>
        <p:spPr>
          <a:xfrm>
            <a:off x="7888143" y="89051"/>
            <a:ext cx="2100664" cy="943192"/>
          </a:xfrm>
          <a:prstGeom prst="foldedCorne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WIP</a:t>
            </a:r>
            <a:endParaRPr lang="en-GB" sz="1600" b="1" dirty="0">
              <a:solidFill>
                <a:schemeClr val="tx1"/>
              </a:solidFill>
            </a:endParaRPr>
          </a:p>
        </p:txBody>
      </p:sp>
    </p:spTree>
    <p:extLst>
      <p:ext uri="{BB962C8B-B14F-4D97-AF65-F5344CB8AC3E}">
        <p14:creationId xmlns:p14="http://schemas.microsoft.com/office/powerpoint/2010/main" val="12053518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42D207BB-5084-4A34-85B6-E281A499ABDF}"/>
              </a:ext>
            </a:extLst>
          </p:cNvPr>
          <p:cNvGraphicFramePr>
            <a:graphicFrameLocks noChangeAspect="1"/>
          </p:cNvGraphicFramePr>
          <p:nvPr>
            <p:custDataLst>
              <p:tags r:id="rId1"/>
            </p:custDataLst>
          </p:nvPr>
        </p:nvGraphicFramePr>
        <p:xfrm>
          <a:off x="307873" y="1750"/>
          <a:ext cx="1750" cy="1750"/>
        </p:xfrm>
        <a:graphic>
          <a:graphicData uri="http://schemas.openxmlformats.org/presentationml/2006/ole">
            <mc:AlternateContent xmlns:mc="http://schemas.openxmlformats.org/markup-compatibility/2006">
              <mc:Choice xmlns:v="urn:schemas-microsoft-com:vml" Requires="v">
                <p:oleObj name="Diapositive think-cell" r:id="rId5" imgW="421" imgH="423" progId="TCLayout.ActiveDocument.1">
                  <p:embed/>
                </p:oleObj>
              </mc:Choice>
              <mc:Fallback>
                <p:oleObj name="Diapositive think-cell" r:id="rId5" imgW="421" imgH="423" progId="TCLayout.ActiveDocument.1">
                  <p:embed/>
                  <p:pic>
                    <p:nvPicPr>
                      <p:cNvPr id="18" name="Object 17" hidden="1">
                        <a:extLst>
                          <a:ext uri="{FF2B5EF4-FFF2-40B4-BE49-F238E27FC236}">
                            <a16:creationId xmlns:a16="http://schemas.microsoft.com/office/drawing/2014/main" id="{42D207BB-5084-4A34-85B6-E281A499ABDF}"/>
                          </a:ext>
                        </a:extLst>
                      </p:cNvPr>
                      <p:cNvPicPr/>
                      <p:nvPr/>
                    </p:nvPicPr>
                    <p:blipFill>
                      <a:blip r:embed="rId6"/>
                      <a:stretch>
                        <a:fillRect/>
                      </a:stretch>
                    </p:blipFill>
                    <p:spPr>
                      <a:xfrm>
                        <a:off x="307873" y="1750"/>
                        <a:ext cx="1750" cy="1750"/>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FD42D41-6D17-44D0-91D1-A15F3597FF67}"/>
              </a:ext>
            </a:extLst>
          </p:cNvPr>
          <p:cNvSpPr/>
          <p:nvPr>
            <p:custDataLst>
              <p:tags r:id="rId2"/>
            </p:custDataLst>
          </p:nvPr>
        </p:nvSpPr>
        <p:spPr>
          <a:xfrm>
            <a:off x="306123" y="0"/>
            <a:ext cx="174992" cy="174992"/>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pPr>
            <a:endParaRPr lang="en-US" sz="2646" b="1" dirty="0" err="1">
              <a:solidFill>
                <a:schemeClr val="tx1"/>
              </a:solidFill>
              <a:latin typeface="Open Sans"/>
              <a:ea typeface="+mj-ea"/>
              <a:cs typeface="+mj-cs"/>
              <a:sym typeface="Open Sans"/>
            </a:endParaRPr>
          </a:p>
        </p:txBody>
      </p:sp>
      <p:sp>
        <p:nvSpPr>
          <p:cNvPr id="9" name="Slide Number Placeholder 8">
            <a:extLst>
              <a:ext uri="{FF2B5EF4-FFF2-40B4-BE49-F238E27FC236}">
                <a16:creationId xmlns:a16="http://schemas.microsoft.com/office/drawing/2014/main" id="{665A1A2A-D90F-41BE-86AC-52E69E4492CF}"/>
              </a:ext>
            </a:extLst>
          </p:cNvPr>
          <p:cNvSpPr>
            <a:spLocks noGrp="1"/>
          </p:cNvSpPr>
          <p:nvPr>
            <p:ph type="sldNum" sz="quarter" idx="23"/>
          </p:nvPr>
        </p:nvSpPr>
        <p:spPr/>
        <p:txBody>
          <a:bodyPr/>
          <a:lstStyle/>
          <a:p>
            <a:fld id="{D04A32BC-4AEA-4C75-B397-D319FFB728D1}" type="slidenum">
              <a:rPr lang="en-US" smtClean="0"/>
              <a:pPr/>
              <a:t>5</a:t>
            </a:fld>
            <a:endParaRPr lang="en-US" dirty="0"/>
          </a:p>
        </p:txBody>
      </p:sp>
      <p:sp>
        <p:nvSpPr>
          <p:cNvPr id="11" name="Text Placeholder 10">
            <a:extLst>
              <a:ext uri="{FF2B5EF4-FFF2-40B4-BE49-F238E27FC236}">
                <a16:creationId xmlns:a16="http://schemas.microsoft.com/office/drawing/2014/main" id="{7FBCA2CD-B566-4F93-9D3B-9CB2F1AD0683}"/>
              </a:ext>
            </a:extLst>
          </p:cNvPr>
          <p:cNvSpPr>
            <a:spLocks noGrp="1"/>
          </p:cNvSpPr>
          <p:nvPr>
            <p:ph type="body" sz="quarter" idx="24"/>
          </p:nvPr>
        </p:nvSpPr>
        <p:spPr>
          <a:xfrm>
            <a:off x="849991" y="1075891"/>
            <a:ext cx="10697830" cy="340991"/>
          </a:xfrm>
        </p:spPr>
        <p:txBody>
          <a:bodyPr/>
          <a:lstStyle/>
          <a:p>
            <a:r>
              <a:rPr lang="en-US" sz="1543" b="1" dirty="0"/>
              <a:t>Presentation</a:t>
            </a:r>
          </a:p>
        </p:txBody>
      </p:sp>
      <p:sp>
        <p:nvSpPr>
          <p:cNvPr id="12" name="Text Placeholder 11">
            <a:extLst>
              <a:ext uri="{FF2B5EF4-FFF2-40B4-BE49-F238E27FC236}">
                <a16:creationId xmlns:a16="http://schemas.microsoft.com/office/drawing/2014/main" id="{341FE5C9-84F1-4B95-9EA7-0C821693FE11}"/>
              </a:ext>
            </a:extLst>
          </p:cNvPr>
          <p:cNvSpPr>
            <a:spLocks noGrp="1"/>
          </p:cNvSpPr>
          <p:nvPr>
            <p:ph type="body" sz="quarter" idx="38"/>
          </p:nvPr>
        </p:nvSpPr>
        <p:spPr>
          <a:xfrm>
            <a:off x="862210" y="1630411"/>
            <a:ext cx="1578560" cy="341071"/>
          </a:xfrm>
        </p:spPr>
        <p:txBody>
          <a:bodyPr/>
          <a:lstStyle/>
          <a:p>
            <a:r>
              <a:rPr lang="en-US" dirty="0"/>
              <a:t>Asia</a:t>
            </a:r>
          </a:p>
        </p:txBody>
      </p:sp>
      <p:sp>
        <p:nvSpPr>
          <p:cNvPr id="13" name="Text Placeholder 12">
            <a:extLst>
              <a:ext uri="{FF2B5EF4-FFF2-40B4-BE49-F238E27FC236}">
                <a16:creationId xmlns:a16="http://schemas.microsoft.com/office/drawing/2014/main" id="{78E84F63-64D2-4416-BE82-25E5BB9E0DA9}"/>
              </a:ext>
            </a:extLst>
          </p:cNvPr>
          <p:cNvSpPr>
            <a:spLocks noGrp="1"/>
          </p:cNvSpPr>
          <p:nvPr>
            <p:ph type="body" sz="quarter" idx="39"/>
          </p:nvPr>
        </p:nvSpPr>
        <p:spPr>
          <a:xfrm>
            <a:off x="2722568" y="1630411"/>
            <a:ext cx="1578560" cy="341071"/>
          </a:xfrm>
        </p:spPr>
        <p:txBody>
          <a:bodyPr/>
          <a:lstStyle/>
          <a:p>
            <a:r>
              <a:rPr lang="en-US" dirty="0"/>
              <a:t>Europe</a:t>
            </a:r>
          </a:p>
        </p:txBody>
      </p:sp>
      <p:sp>
        <p:nvSpPr>
          <p:cNvPr id="14" name="Text Placeholder 13">
            <a:extLst>
              <a:ext uri="{FF2B5EF4-FFF2-40B4-BE49-F238E27FC236}">
                <a16:creationId xmlns:a16="http://schemas.microsoft.com/office/drawing/2014/main" id="{21CC1E57-0BB7-4368-BE52-5FC99D6895B5}"/>
              </a:ext>
            </a:extLst>
          </p:cNvPr>
          <p:cNvSpPr>
            <a:spLocks noGrp="1"/>
          </p:cNvSpPr>
          <p:nvPr>
            <p:ph type="body" sz="quarter" idx="40"/>
          </p:nvPr>
        </p:nvSpPr>
        <p:spPr>
          <a:xfrm>
            <a:off x="4560062" y="1642887"/>
            <a:ext cx="1578560" cy="341071"/>
          </a:xfrm>
        </p:spPr>
        <p:txBody>
          <a:bodyPr/>
          <a:lstStyle/>
          <a:p>
            <a:r>
              <a:rPr lang="en-US" dirty="0"/>
              <a:t>US</a:t>
            </a:r>
          </a:p>
        </p:txBody>
      </p:sp>
      <p:sp>
        <p:nvSpPr>
          <p:cNvPr id="15" name="Text Placeholder 14">
            <a:extLst>
              <a:ext uri="{FF2B5EF4-FFF2-40B4-BE49-F238E27FC236}">
                <a16:creationId xmlns:a16="http://schemas.microsoft.com/office/drawing/2014/main" id="{0857D901-14D0-4BBA-973B-AF3D5E65179A}"/>
              </a:ext>
            </a:extLst>
          </p:cNvPr>
          <p:cNvSpPr>
            <a:spLocks noGrp="1"/>
          </p:cNvSpPr>
          <p:nvPr>
            <p:ph type="body" sz="quarter" idx="41"/>
          </p:nvPr>
        </p:nvSpPr>
        <p:spPr>
          <a:xfrm>
            <a:off x="6489310" y="1642887"/>
            <a:ext cx="1578560" cy="341071"/>
          </a:xfrm>
        </p:spPr>
        <p:txBody>
          <a:bodyPr/>
          <a:lstStyle/>
          <a:p>
            <a:r>
              <a:rPr lang="en-US" dirty="0"/>
              <a:t>Africa</a:t>
            </a:r>
          </a:p>
        </p:txBody>
      </p:sp>
      <p:sp>
        <p:nvSpPr>
          <p:cNvPr id="16" name="Text Placeholder 15">
            <a:extLst>
              <a:ext uri="{FF2B5EF4-FFF2-40B4-BE49-F238E27FC236}">
                <a16:creationId xmlns:a16="http://schemas.microsoft.com/office/drawing/2014/main" id="{E724FD86-A18C-4D90-8CE3-E28930E572FB}"/>
              </a:ext>
            </a:extLst>
          </p:cNvPr>
          <p:cNvSpPr>
            <a:spLocks noGrp="1"/>
          </p:cNvSpPr>
          <p:nvPr>
            <p:ph type="body" sz="quarter" idx="4294967295"/>
          </p:nvPr>
        </p:nvSpPr>
        <p:spPr>
          <a:xfrm>
            <a:off x="8323221" y="1630410"/>
            <a:ext cx="1578560" cy="340991"/>
          </a:xfrm>
          <a:prstGeom prst="rect">
            <a:avLst/>
          </a:prstGeom>
        </p:spPr>
        <p:txBody>
          <a:bodyPr/>
          <a:lstStyle/>
          <a:p>
            <a:pPr algn="ctr"/>
            <a:r>
              <a:rPr lang="en-US" sz="1543" dirty="0">
                <a:solidFill>
                  <a:schemeClr val="bg1"/>
                </a:solidFill>
              </a:rPr>
              <a:t>Middle East</a:t>
            </a:r>
          </a:p>
        </p:txBody>
      </p:sp>
      <p:sp>
        <p:nvSpPr>
          <p:cNvPr id="19" name="Content Placeholder 1">
            <a:extLst>
              <a:ext uri="{FF2B5EF4-FFF2-40B4-BE49-F238E27FC236}">
                <a16:creationId xmlns:a16="http://schemas.microsoft.com/office/drawing/2014/main" id="{970B8BE4-E5FA-4A69-B401-D8279E4CF7B9}"/>
              </a:ext>
            </a:extLst>
          </p:cNvPr>
          <p:cNvSpPr txBox="1">
            <a:spLocks/>
          </p:cNvSpPr>
          <p:nvPr/>
        </p:nvSpPr>
        <p:spPr>
          <a:xfrm>
            <a:off x="2663963" y="2746365"/>
            <a:ext cx="7091328" cy="1467594"/>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88989" indent="-188989">
              <a:buFont typeface="Wingdings" panose="05000000000000000000" pitchFamily="2" charset="2"/>
              <a:buChar char="§"/>
            </a:pPr>
            <a:r>
              <a:rPr lang="en-US" sz="1102" b="0" dirty="0"/>
              <a:t>Performing a relevant clustering and analysis  of Dubai’s real estate projects, with 1M rows over 15 years.</a:t>
            </a:r>
          </a:p>
          <a:p>
            <a:pPr marL="188989" indent="-188989">
              <a:buFont typeface="Wingdings" panose="05000000000000000000" pitchFamily="2" charset="2"/>
              <a:buChar char="§"/>
            </a:pPr>
            <a:r>
              <a:rPr lang="en-US" sz="1102" b="0" dirty="0"/>
              <a:t>Identifying time related trends in the market</a:t>
            </a:r>
          </a:p>
          <a:p>
            <a:pPr marL="188989" indent="-188989">
              <a:buFont typeface="Wingdings" panose="05000000000000000000" pitchFamily="2" charset="2"/>
              <a:buChar char="§"/>
            </a:pPr>
            <a:r>
              <a:rPr lang="en-US" sz="1102" b="0" dirty="0"/>
              <a:t>Estimate the price of any real estate asset located in Dubai with a precision emphasis.</a:t>
            </a:r>
          </a:p>
          <a:p>
            <a:pPr marL="188989" indent="-188989">
              <a:buFont typeface="Wingdings" panose="05000000000000000000" pitchFamily="2" charset="2"/>
              <a:buChar char="§"/>
            </a:pPr>
            <a:r>
              <a:rPr lang="en-US" sz="1102" b="0" dirty="0"/>
              <a:t>Dubai doesn’t provide any detailed socio-demographic data; therefore, external features are only USD index, Dubai stock market index, </a:t>
            </a:r>
            <a:r>
              <a:rPr lang="en-US" sz="1102" b="0" dirty="0" err="1"/>
              <a:t>oil&amp;gaz</a:t>
            </a:r>
            <a:r>
              <a:rPr lang="en-US" sz="1102" b="0" dirty="0"/>
              <a:t> index and AED Index.</a:t>
            </a:r>
          </a:p>
        </p:txBody>
      </p:sp>
      <p:sp>
        <p:nvSpPr>
          <p:cNvPr id="20" name="Content Placeholder 2">
            <a:extLst>
              <a:ext uri="{FF2B5EF4-FFF2-40B4-BE49-F238E27FC236}">
                <a16:creationId xmlns:a16="http://schemas.microsoft.com/office/drawing/2014/main" id="{B4EF1B19-8A32-43A8-BEB2-F747C6C2EDD0}"/>
              </a:ext>
            </a:extLst>
          </p:cNvPr>
          <p:cNvSpPr txBox="1">
            <a:spLocks/>
          </p:cNvSpPr>
          <p:nvPr/>
        </p:nvSpPr>
        <p:spPr>
          <a:xfrm>
            <a:off x="2663963" y="2099196"/>
            <a:ext cx="7091330" cy="731833"/>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88989" indent="-188989">
              <a:buFont typeface="Wingdings" panose="05000000000000000000" pitchFamily="2" charset="2"/>
              <a:buChar char="§"/>
            </a:pPr>
            <a:r>
              <a:rPr lang="en-US" sz="1102" b="0" dirty="0"/>
              <a:t>The project’s objective was to deliver a forecasting method of Dubai real estate market and compare “The Sustainable City” to its direct competitors.</a:t>
            </a:r>
          </a:p>
        </p:txBody>
      </p:sp>
      <p:sp>
        <p:nvSpPr>
          <p:cNvPr id="21" name="Content Placeholder 3">
            <a:extLst>
              <a:ext uri="{FF2B5EF4-FFF2-40B4-BE49-F238E27FC236}">
                <a16:creationId xmlns:a16="http://schemas.microsoft.com/office/drawing/2014/main" id="{FAEEE0C9-94A9-45C7-AE43-7AC11D94368B}"/>
              </a:ext>
            </a:extLst>
          </p:cNvPr>
          <p:cNvSpPr txBox="1">
            <a:spLocks/>
          </p:cNvSpPr>
          <p:nvPr/>
        </p:nvSpPr>
        <p:spPr>
          <a:xfrm>
            <a:off x="2722568" y="6088433"/>
            <a:ext cx="7560002" cy="796683"/>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88989" indent="-188989">
              <a:buFont typeface="Wingdings" panose="05000000000000000000" pitchFamily="2" charset="2"/>
              <a:buChar char="§"/>
            </a:pPr>
            <a:r>
              <a:rPr lang="en-US" sz="1102" b="0" dirty="0"/>
              <a:t>A web-app for data visualization, mapping and price-prediction tools</a:t>
            </a:r>
          </a:p>
          <a:p>
            <a:pPr marL="188989" indent="-188989">
              <a:buFont typeface="Wingdings" panose="05000000000000000000" pitchFamily="2" charset="2"/>
              <a:buChar char="§"/>
            </a:pPr>
            <a:r>
              <a:rPr lang="en-US" sz="1102" b="0" dirty="0"/>
              <a:t>A presentation to introduce the application and detail our work and our assumptions</a:t>
            </a:r>
          </a:p>
        </p:txBody>
      </p:sp>
      <p:sp>
        <p:nvSpPr>
          <p:cNvPr id="23" name="Rectangle 22">
            <a:extLst>
              <a:ext uri="{FF2B5EF4-FFF2-40B4-BE49-F238E27FC236}">
                <a16:creationId xmlns:a16="http://schemas.microsoft.com/office/drawing/2014/main" id="{3C791AD1-2433-47B3-88DD-A864DA729D4A}"/>
              </a:ext>
            </a:extLst>
          </p:cNvPr>
          <p:cNvSpPr/>
          <p:nvPr/>
        </p:nvSpPr>
        <p:spPr>
          <a:xfrm>
            <a:off x="771124" y="2129861"/>
            <a:ext cx="1828809" cy="503978"/>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43" b="1" dirty="0">
                <a:solidFill>
                  <a:schemeClr val="bg1"/>
                </a:solidFill>
                <a:latin typeface="+mj-lt"/>
              </a:rPr>
              <a:t>Request</a:t>
            </a:r>
          </a:p>
        </p:txBody>
      </p:sp>
      <p:sp>
        <p:nvSpPr>
          <p:cNvPr id="24" name="Rectangle 23">
            <a:extLst>
              <a:ext uri="{FF2B5EF4-FFF2-40B4-BE49-F238E27FC236}">
                <a16:creationId xmlns:a16="http://schemas.microsoft.com/office/drawing/2014/main" id="{2A5DD346-1BD7-404E-BF6F-D22F5AA77BF3}"/>
              </a:ext>
            </a:extLst>
          </p:cNvPr>
          <p:cNvSpPr/>
          <p:nvPr/>
        </p:nvSpPr>
        <p:spPr>
          <a:xfrm>
            <a:off x="771124" y="2772426"/>
            <a:ext cx="1828809" cy="1467594"/>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43" b="1" dirty="0">
                <a:solidFill>
                  <a:schemeClr val="bg1"/>
                </a:solidFill>
                <a:latin typeface="+mj-lt"/>
              </a:rPr>
              <a:t>Main challenges</a:t>
            </a:r>
          </a:p>
        </p:txBody>
      </p:sp>
      <p:sp>
        <p:nvSpPr>
          <p:cNvPr id="25" name="Rectangle 24">
            <a:extLst>
              <a:ext uri="{FF2B5EF4-FFF2-40B4-BE49-F238E27FC236}">
                <a16:creationId xmlns:a16="http://schemas.microsoft.com/office/drawing/2014/main" id="{23C288B7-8154-4757-8DCD-6534836706A5}"/>
              </a:ext>
            </a:extLst>
          </p:cNvPr>
          <p:cNvSpPr/>
          <p:nvPr/>
        </p:nvSpPr>
        <p:spPr>
          <a:xfrm>
            <a:off x="771124" y="4371967"/>
            <a:ext cx="1828809" cy="1569826"/>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43" b="1" dirty="0">
                <a:solidFill>
                  <a:schemeClr val="bg1"/>
                </a:solidFill>
                <a:latin typeface="+mj-lt"/>
              </a:rPr>
              <a:t>Infomineo’s approach</a:t>
            </a:r>
          </a:p>
        </p:txBody>
      </p:sp>
      <p:sp>
        <p:nvSpPr>
          <p:cNvPr id="26" name="Rectangle 25">
            <a:extLst>
              <a:ext uri="{FF2B5EF4-FFF2-40B4-BE49-F238E27FC236}">
                <a16:creationId xmlns:a16="http://schemas.microsoft.com/office/drawing/2014/main" id="{D69A83CC-7C9A-449A-8E5F-C0726B70213D}"/>
              </a:ext>
            </a:extLst>
          </p:cNvPr>
          <p:cNvSpPr/>
          <p:nvPr/>
        </p:nvSpPr>
        <p:spPr>
          <a:xfrm>
            <a:off x="771124" y="6088433"/>
            <a:ext cx="1828809" cy="796683"/>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43" b="1" dirty="0">
                <a:solidFill>
                  <a:schemeClr val="bg1"/>
                </a:solidFill>
                <a:latin typeface="+mj-lt"/>
              </a:rPr>
              <a:t>Deliverable</a:t>
            </a:r>
          </a:p>
        </p:txBody>
      </p:sp>
      <p:sp>
        <p:nvSpPr>
          <p:cNvPr id="27" name="Content Placeholder 3">
            <a:extLst>
              <a:ext uri="{FF2B5EF4-FFF2-40B4-BE49-F238E27FC236}">
                <a16:creationId xmlns:a16="http://schemas.microsoft.com/office/drawing/2014/main" id="{71C2257E-751E-4F67-9606-D448228E952E}"/>
              </a:ext>
            </a:extLst>
          </p:cNvPr>
          <p:cNvSpPr txBox="1">
            <a:spLocks/>
          </p:cNvSpPr>
          <p:nvPr/>
        </p:nvSpPr>
        <p:spPr>
          <a:xfrm>
            <a:off x="2663964" y="4371967"/>
            <a:ext cx="7320469" cy="1467594"/>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88989" indent="-188989">
              <a:buFont typeface="Wingdings" panose="05000000000000000000" pitchFamily="2" charset="2"/>
              <a:buChar char="§"/>
            </a:pPr>
            <a:r>
              <a:rPr lang="en-US" sz="1102" b="0" dirty="0"/>
              <a:t>Data cleaning, Data </a:t>
            </a:r>
            <a:r>
              <a:rPr lang="en-US" sz="1102" b="0" dirty="0" err="1"/>
              <a:t>Vizualisation</a:t>
            </a:r>
            <a:r>
              <a:rPr lang="en-US" sz="1102" b="0" dirty="0"/>
              <a:t>, feature engineering.</a:t>
            </a:r>
          </a:p>
          <a:p>
            <a:pPr marL="188989" indent="-188989">
              <a:buFont typeface="Wingdings" panose="05000000000000000000" pitchFamily="2" charset="2"/>
              <a:buChar char="§"/>
            </a:pPr>
            <a:r>
              <a:rPr lang="en-US" sz="1102" b="0" dirty="0"/>
              <a:t>Using K-means clustering with elbow approach to determine the cluster where The Sustainable City is.</a:t>
            </a:r>
          </a:p>
          <a:p>
            <a:pPr marL="188989" indent="-188989">
              <a:buFont typeface="Wingdings" panose="05000000000000000000" pitchFamily="2" charset="2"/>
              <a:buChar char="§"/>
            </a:pPr>
            <a:r>
              <a:rPr lang="en-US" sz="1102" b="0" dirty="0"/>
              <a:t> Perform statistical analysis of time series predictions for the TSC and its direct competitors.</a:t>
            </a:r>
          </a:p>
          <a:p>
            <a:pPr marL="188989" indent="-188989">
              <a:buFont typeface="Wingdings" panose="05000000000000000000" pitchFamily="2" charset="2"/>
              <a:buChar char="§"/>
            </a:pPr>
            <a:r>
              <a:rPr lang="en-US" sz="1102" b="0" dirty="0"/>
              <a:t>Compute and fine tune time series algorithms : NPTS, Simple feed forward, ARIMA, SARIMAX, seasonal trends, Transformer …</a:t>
            </a:r>
          </a:p>
          <a:p>
            <a:pPr marL="188989" indent="-188989">
              <a:buFont typeface="Wingdings" panose="05000000000000000000" pitchFamily="2" charset="2"/>
              <a:buChar char="§"/>
            </a:pPr>
            <a:r>
              <a:rPr lang="en-US" sz="1102" b="0" dirty="0"/>
              <a:t>Predict the price of any asset through Machine learning algorithms : tree based, neuronal networks, regressions …</a:t>
            </a:r>
          </a:p>
        </p:txBody>
      </p:sp>
      <p:sp>
        <p:nvSpPr>
          <p:cNvPr id="2" name="Rectangle 1"/>
          <p:cNvSpPr/>
          <p:nvPr/>
        </p:nvSpPr>
        <p:spPr>
          <a:xfrm>
            <a:off x="6574384" y="-584365"/>
            <a:ext cx="482824" cy="329770"/>
          </a:xfrm>
          <a:prstGeom prst="rect">
            <a:avLst/>
          </a:prstGeom>
        </p:spPr>
        <p:txBody>
          <a:bodyPr wrap="none">
            <a:spAutoFit/>
          </a:bodyPr>
          <a:lstStyle/>
          <a:p>
            <a:r>
              <a:rPr lang="en-US" sz="1543" dirty="0">
                <a:solidFill>
                  <a:prstClr val="black"/>
                </a:solidFill>
              </a:rPr>
              <a:t>xxx</a:t>
            </a:r>
            <a:endParaRPr lang="en-US" sz="1543" dirty="0"/>
          </a:p>
        </p:txBody>
      </p:sp>
      <p:sp>
        <p:nvSpPr>
          <p:cNvPr id="4" name="Title 3">
            <a:extLst>
              <a:ext uri="{FF2B5EF4-FFF2-40B4-BE49-F238E27FC236}">
                <a16:creationId xmlns:a16="http://schemas.microsoft.com/office/drawing/2014/main" id="{9E16B58C-2524-A8F4-374E-DF2D01F7A3F9}"/>
              </a:ext>
            </a:extLst>
          </p:cNvPr>
          <p:cNvSpPr>
            <a:spLocks noGrp="1"/>
          </p:cNvSpPr>
          <p:nvPr>
            <p:ph type="title"/>
          </p:nvPr>
        </p:nvSpPr>
        <p:spPr>
          <a:xfrm>
            <a:off x="503591" y="512061"/>
            <a:ext cx="9704877" cy="366447"/>
          </a:xfrm>
        </p:spPr>
        <p:txBody>
          <a:bodyPr/>
          <a:lstStyle/>
          <a:p>
            <a:r>
              <a:rPr lang="en-US" dirty="0"/>
              <a:t>Time Series Analysis: Real Estate</a:t>
            </a:r>
            <a:endParaRPr lang="en-GB" dirty="0"/>
          </a:p>
        </p:txBody>
      </p:sp>
      <p:sp>
        <p:nvSpPr>
          <p:cNvPr id="3" name="Rectangle: Folded Corner 2">
            <a:extLst>
              <a:ext uri="{FF2B5EF4-FFF2-40B4-BE49-F238E27FC236}">
                <a16:creationId xmlns:a16="http://schemas.microsoft.com/office/drawing/2014/main" id="{9211D74D-5E7B-5E3E-936F-88586D86549C}"/>
              </a:ext>
            </a:extLst>
          </p:cNvPr>
          <p:cNvSpPr/>
          <p:nvPr/>
        </p:nvSpPr>
        <p:spPr>
          <a:xfrm>
            <a:off x="7888143" y="89051"/>
            <a:ext cx="2100664" cy="943192"/>
          </a:xfrm>
          <a:prstGeom prst="foldedCorne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WIP</a:t>
            </a:r>
            <a:endParaRPr lang="en-GB" sz="1600" b="1" dirty="0">
              <a:solidFill>
                <a:schemeClr val="tx1"/>
              </a:solidFill>
            </a:endParaRPr>
          </a:p>
        </p:txBody>
      </p:sp>
    </p:spTree>
    <p:extLst>
      <p:ext uri="{BB962C8B-B14F-4D97-AF65-F5344CB8AC3E}">
        <p14:creationId xmlns:p14="http://schemas.microsoft.com/office/powerpoint/2010/main" val="495817261"/>
      </p:ext>
    </p:extLst>
  </p:cSld>
  <p:clrMapOvr>
    <a:masterClrMapping/>
  </p:clrMapOvr>
  <p:extLst>
    <p:ext uri="{6950BFC3-D8DA-4A85-94F7-54DA5524770B}">
      <p188:commentRel xmlns:p188="http://schemas.microsoft.com/office/powerpoint/2018/8/main" r:id="rId4"/>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9F81C0F7-4DA2-8001-4C26-5ABFEACA5C02}"/>
              </a:ext>
            </a:extLst>
          </p:cNvPr>
          <p:cNvGraphicFramePr>
            <a:graphicFrameLocks noChangeAspect="1"/>
          </p:cNvGraphicFramePr>
          <p:nvPr>
            <p:custDataLst>
              <p:tags r:id="rId1"/>
            </p:custDataLst>
          </p:nvPr>
        </p:nvGraphicFramePr>
        <p:xfrm>
          <a:off x="307873" y="1750"/>
          <a:ext cx="1750" cy="1750"/>
        </p:xfrm>
        <a:graphic>
          <a:graphicData uri="http://schemas.openxmlformats.org/presentationml/2006/ole">
            <mc:AlternateContent xmlns:mc="http://schemas.openxmlformats.org/markup-compatibility/2006">
              <mc:Choice xmlns:v="urn:schemas-microsoft-com:vml" Requires="v">
                <p:oleObj name="Diapositive think-cell" r:id="rId4" imgW="425" imgH="424" progId="TCLayout.ActiveDocument.1">
                  <p:embed/>
                </p:oleObj>
              </mc:Choice>
              <mc:Fallback>
                <p:oleObj name="Diapositive think-cell" r:id="rId4" imgW="425" imgH="424" progId="TCLayout.ActiveDocument.1">
                  <p:embed/>
                  <p:pic>
                    <p:nvPicPr>
                      <p:cNvPr id="3" name="Objet 2" hidden="1">
                        <a:extLst>
                          <a:ext uri="{FF2B5EF4-FFF2-40B4-BE49-F238E27FC236}">
                            <a16:creationId xmlns:a16="http://schemas.microsoft.com/office/drawing/2014/main" id="{9F81C0F7-4DA2-8001-4C26-5ABFEACA5C02}"/>
                          </a:ext>
                        </a:extLst>
                      </p:cNvPr>
                      <p:cNvPicPr/>
                      <p:nvPr/>
                    </p:nvPicPr>
                    <p:blipFill>
                      <a:blip r:embed="rId5"/>
                      <a:stretch>
                        <a:fillRect/>
                      </a:stretch>
                    </p:blipFill>
                    <p:spPr>
                      <a:xfrm>
                        <a:off x="307873" y="1750"/>
                        <a:ext cx="1750" cy="1750"/>
                      </a:xfrm>
                      <a:prstGeom prst="rect">
                        <a:avLst/>
                      </a:prstGeom>
                    </p:spPr>
                  </p:pic>
                </p:oleObj>
              </mc:Fallback>
            </mc:AlternateContent>
          </a:graphicData>
        </a:graphic>
      </p:graphicFrame>
      <p:sp>
        <p:nvSpPr>
          <p:cNvPr id="42" name="Espace réservé du contenu 11">
            <a:extLst>
              <a:ext uri="{FF2B5EF4-FFF2-40B4-BE49-F238E27FC236}">
                <a16:creationId xmlns:a16="http://schemas.microsoft.com/office/drawing/2014/main" id="{24848083-FEC7-F4A6-40F9-959202F0487C}"/>
              </a:ext>
            </a:extLst>
          </p:cNvPr>
          <p:cNvSpPr txBox="1">
            <a:spLocks/>
          </p:cNvSpPr>
          <p:nvPr/>
        </p:nvSpPr>
        <p:spPr>
          <a:xfrm>
            <a:off x="682595" y="2047301"/>
            <a:ext cx="4283287" cy="2308973"/>
          </a:xfrm>
          <a:prstGeom prst="rect">
            <a:avLst/>
          </a:prstGeom>
        </p:spPr>
        <p:txBody>
          <a:bodyPr lIns="0" rIns="0"/>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200" kern="1200">
                <a:solidFill>
                  <a:schemeClr val="tx1"/>
                </a:solidFill>
                <a:latin typeface="+mj-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323" dirty="0"/>
          </a:p>
        </p:txBody>
      </p:sp>
      <p:sp>
        <p:nvSpPr>
          <p:cNvPr id="49" name="Espace réservé du contenu 11">
            <a:extLst>
              <a:ext uri="{FF2B5EF4-FFF2-40B4-BE49-F238E27FC236}">
                <a16:creationId xmlns:a16="http://schemas.microsoft.com/office/drawing/2014/main" id="{BC292D36-E24B-85F3-1D34-59F806660780}"/>
              </a:ext>
            </a:extLst>
          </p:cNvPr>
          <p:cNvSpPr txBox="1">
            <a:spLocks/>
          </p:cNvSpPr>
          <p:nvPr/>
        </p:nvSpPr>
        <p:spPr>
          <a:xfrm>
            <a:off x="738594" y="2318357"/>
            <a:ext cx="4283287" cy="1437441"/>
          </a:xfrm>
          <a:prstGeom prst="rect">
            <a:avLst/>
          </a:prstGeom>
        </p:spPr>
        <p:txBody>
          <a:bodyPr lIns="0" rIns="0"/>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200" kern="1200">
                <a:solidFill>
                  <a:schemeClr val="tx1"/>
                </a:solidFill>
                <a:latin typeface="+mj-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323" dirty="0"/>
          </a:p>
        </p:txBody>
      </p:sp>
      <p:sp>
        <p:nvSpPr>
          <p:cNvPr id="55" name="Espace réservé du contenu 11">
            <a:extLst>
              <a:ext uri="{FF2B5EF4-FFF2-40B4-BE49-F238E27FC236}">
                <a16:creationId xmlns:a16="http://schemas.microsoft.com/office/drawing/2014/main" id="{0135F893-2823-B63B-8815-0CE5217DE51E}"/>
              </a:ext>
            </a:extLst>
          </p:cNvPr>
          <p:cNvSpPr txBox="1">
            <a:spLocks/>
          </p:cNvSpPr>
          <p:nvPr/>
        </p:nvSpPr>
        <p:spPr>
          <a:xfrm>
            <a:off x="682596" y="2495682"/>
            <a:ext cx="4283287" cy="1437441"/>
          </a:xfrm>
          <a:prstGeom prst="rect">
            <a:avLst/>
          </a:prstGeom>
        </p:spPr>
        <p:txBody>
          <a:bodyPr lIns="0" rIns="0"/>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200" kern="1200">
                <a:solidFill>
                  <a:schemeClr val="tx1"/>
                </a:solidFill>
                <a:latin typeface="+mj-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323" dirty="0"/>
          </a:p>
        </p:txBody>
      </p:sp>
      <p:sp>
        <p:nvSpPr>
          <p:cNvPr id="94" name="Espace réservé du texte 13">
            <a:extLst>
              <a:ext uri="{FF2B5EF4-FFF2-40B4-BE49-F238E27FC236}">
                <a16:creationId xmlns:a16="http://schemas.microsoft.com/office/drawing/2014/main" id="{B341A6A2-18E9-396B-8FE2-F6D6C6E2E793}"/>
              </a:ext>
            </a:extLst>
          </p:cNvPr>
          <p:cNvSpPr txBox="1">
            <a:spLocks/>
          </p:cNvSpPr>
          <p:nvPr/>
        </p:nvSpPr>
        <p:spPr>
          <a:xfrm>
            <a:off x="6468814" y="3124814"/>
            <a:ext cx="2731909" cy="346768"/>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543" dirty="0">
                <a:solidFill>
                  <a:schemeClr val="accent1"/>
                </a:solidFill>
                <a:latin typeface="+mj-lt"/>
              </a:rPr>
              <a:t>Green Community West</a:t>
            </a:r>
          </a:p>
        </p:txBody>
      </p:sp>
      <p:sp>
        <p:nvSpPr>
          <p:cNvPr id="96" name="Espace réservé du texte 21">
            <a:extLst>
              <a:ext uri="{FF2B5EF4-FFF2-40B4-BE49-F238E27FC236}">
                <a16:creationId xmlns:a16="http://schemas.microsoft.com/office/drawing/2014/main" id="{1DE643FF-38DB-A3F2-2CA6-ECD5F5120443}"/>
              </a:ext>
            </a:extLst>
          </p:cNvPr>
          <p:cNvSpPr txBox="1">
            <a:spLocks/>
          </p:cNvSpPr>
          <p:nvPr/>
        </p:nvSpPr>
        <p:spPr>
          <a:xfrm>
            <a:off x="6819891" y="5033106"/>
            <a:ext cx="1910890" cy="346768"/>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543" dirty="0">
                <a:solidFill>
                  <a:schemeClr val="accent1"/>
                </a:solidFill>
                <a:latin typeface="+mj-lt"/>
              </a:rPr>
              <a:t>Victory Heights</a:t>
            </a:r>
          </a:p>
        </p:txBody>
      </p:sp>
      <p:sp>
        <p:nvSpPr>
          <p:cNvPr id="97" name="Espace réservé du texte 22">
            <a:extLst>
              <a:ext uri="{FF2B5EF4-FFF2-40B4-BE49-F238E27FC236}">
                <a16:creationId xmlns:a16="http://schemas.microsoft.com/office/drawing/2014/main" id="{F00DB661-8B92-AE9D-2519-5BC99A2E0662}"/>
              </a:ext>
            </a:extLst>
          </p:cNvPr>
          <p:cNvSpPr txBox="1">
            <a:spLocks/>
          </p:cNvSpPr>
          <p:nvPr/>
        </p:nvSpPr>
        <p:spPr>
          <a:xfrm>
            <a:off x="715258" y="1046880"/>
            <a:ext cx="9149146" cy="1846456"/>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just"/>
            <a:r>
              <a:rPr lang="en-US" sz="992" b="0" dirty="0"/>
              <a:t>Our data consist of all real estate transactions in Dubai for the last 15 years. We also added economic data such as the dollar index to track inflation, </a:t>
            </a:r>
            <a:r>
              <a:rPr lang="en-US" sz="992" b="0" dirty="0" err="1"/>
              <a:t>oil&amp;gaz</a:t>
            </a:r>
            <a:r>
              <a:rPr lang="en-US" sz="992" b="0" dirty="0"/>
              <a:t> index, stock index …</a:t>
            </a:r>
          </a:p>
          <a:p>
            <a:pPr algn="just"/>
            <a:r>
              <a:rPr lang="en-US" sz="992" b="0" dirty="0"/>
              <a:t>Dubai real estate is separated in 3 main categories : apartments, villas and townhouses. Those are, most of the time, located in communities that are built and sold following phases. After clustering the data with K-means, The Sustainable City is a medium luxury community, with a target of foreign and young customers. TSC has mainly townhouses and villas, with a green and sustainable identity. 8 other communities are within the cluster and are similar and close to TSC. </a:t>
            </a:r>
          </a:p>
          <a:p>
            <a:pPr algn="just"/>
            <a:r>
              <a:rPr lang="en-US" sz="992" b="0" dirty="0"/>
              <a:t>8 other communities are within the cluster and are similar and close to TSC. We then analyzed our data by statistical tests, in particular : Durbin-Watson for autocorrelation, Kwiatkowski for non-stationarity,  </a:t>
            </a:r>
            <a:r>
              <a:rPr lang="en-US" sz="992" b="0" dirty="0" err="1"/>
              <a:t>Zivot</a:t>
            </a:r>
            <a:r>
              <a:rPr lang="en-US" sz="992" b="0" dirty="0"/>
              <a:t>-Andrews for trend stationarity and Mann-Kendall for trend.</a:t>
            </a:r>
            <a:r>
              <a:rPr lang="en-US" sz="992" dirty="0"/>
              <a:t> Conclusions were that the only community of the cluster that follows an autocorrelated time series, non-flat, and having a highly increasing trend was The Sustainable City. </a:t>
            </a:r>
            <a:r>
              <a:rPr lang="en-US" sz="992" b="0" dirty="0"/>
              <a:t>The best performing time series model was neural networks scoring a </a:t>
            </a:r>
            <a:r>
              <a:rPr lang="en-US" sz="992" dirty="0"/>
              <a:t>6% MAPE</a:t>
            </a:r>
            <a:r>
              <a:rPr lang="en-US" sz="992" b="0" dirty="0"/>
              <a:t>, a highly accurate forecasting according to literature. Below are displayed time series </a:t>
            </a:r>
            <a:r>
              <a:rPr lang="en-US" sz="992" b="0" dirty="0" err="1"/>
              <a:t>forecastings</a:t>
            </a:r>
            <a:r>
              <a:rPr lang="en-US" sz="992" b="0" dirty="0"/>
              <a:t> for the whole Dubai real estate market and for TSC as well as two comparative competitors.</a:t>
            </a:r>
          </a:p>
          <a:p>
            <a:endParaRPr lang="en-US" sz="992" b="0" dirty="0"/>
          </a:p>
          <a:p>
            <a:endParaRPr lang="en-US" sz="992" b="0" dirty="0"/>
          </a:p>
        </p:txBody>
      </p:sp>
      <p:sp>
        <p:nvSpPr>
          <p:cNvPr id="100" name="Espace réservé du texte 19">
            <a:extLst>
              <a:ext uri="{FF2B5EF4-FFF2-40B4-BE49-F238E27FC236}">
                <a16:creationId xmlns:a16="http://schemas.microsoft.com/office/drawing/2014/main" id="{9543E40B-DD7E-F99B-57E4-C89C12239B97}"/>
              </a:ext>
            </a:extLst>
          </p:cNvPr>
          <p:cNvSpPr txBox="1">
            <a:spLocks/>
          </p:cNvSpPr>
          <p:nvPr/>
        </p:nvSpPr>
        <p:spPr>
          <a:xfrm>
            <a:off x="1770200" y="4317742"/>
            <a:ext cx="2173407" cy="334154"/>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accent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543"/>
          </a:p>
        </p:txBody>
      </p:sp>
      <p:sp>
        <p:nvSpPr>
          <p:cNvPr id="101" name="Espace réservé du contenu 11">
            <a:extLst>
              <a:ext uri="{FF2B5EF4-FFF2-40B4-BE49-F238E27FC236}">
                <a16:creationId xmlns:a16="http://schemas.microsoft.com/office/drawing/2014/main" id="{828065F2-581D-B86D-B428-44C17D9C234E}"/>
              </a:ext>
            </a:extLst>
          </p:cNvPr>
          <p:cNvSpPr txBox="1">
            <a:spLocks/>
          </p:cNvSpPr>
          <p:nvPr/>
        </p:nvSpPr>
        <p:spPr>
          <a:xfrm>
            <a:off x="771259" y="2248361"/>
            <a:ext cx="4283287" cy="1437441"/>
          </a:xfrm>
          <a:prstGeom prst="rect">
            <a:avLst/>
          </a:prstGeom>
        </p:spPr>
        <p:txBody>
          <a:bodyPr lIns="0" rIns="0"/>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200" kern="1200">
                <a:solidFill>
                  <a:schemeClr val="tx1"/>
                </a:solidFill>
                <a:latin typeface="+mj-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323" dirty="0"/>
          </a:p>
        </p:txBody>
      </p:sp>
      <p:sp>
        <p:nvSpPr>
          <p:cNvPr id="103" name="Espace réservé du texte 13">
            <a:extLst>
              <a:ext uri="{FF2B5EF4-FFF2-40B4-BE49-F238E27FC236}">
                <a16:creationId xmlns:a16="http://schemas.microsoft.com/office/drawing/2014/main" id="{2DA23955-1C39-8D96-DA48-A40BDFF2BC74}"/>
              </a:ext>
            </a:extLst>
          </p:cNvPr>
          <p:cNvSpPr txBox="1">
            <a:spLocks/>
          </p:cNvSpPr>
          <p:nvPr/>
        </p:nvSpPr>
        <p:spPr>
          <a:xfrm>
            <a:off x="6664268" y="1531271"/>
            <a:ext cx="2173407" cy="215880"/>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accent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543" dirty="0"/>
          </a:p>
        </p:txBody>
      </p:sp>
      <p:sp>
        <p:nvSpPr>
          <p:cNvPr id="106" name="Espace réservé du contenu 11">
            <a:extLst>
              <a:ext uri="{FF2B5EF4-FFF2-40B4-BE49-F238E27FC236}">
                <a16:creationId xmlns:a16="http://schemas.microsoft.com/office/drawing/2014/main" id="{2713A0A3-34F5-CA93-CD44-3AD846F3B8E7}"/>
              </a:ext>
            </a:extLst>
          </p:cNvPr>
          <p:cNvSpPr txBox="1">
            <a:spLocks/>
          </p:cNvSpPr>
          <p:nvPr/>
        </p:nvSpPr>
        <p:spPr>
          <a:xfrm>
            <a:off x="715261" y="2425686"/>
            <a:ext cx="4283287" cy="1437441"/>
          </a:xfrm>
          <a:prstGeom prst="rect">
            <a:avLst/>
          </a:prstGeom>
        </p:spPr>
        <p:txBody>
          <a:bodyPr lIns="0" rIns="0"/>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200" kern="1200">
                <a:solidFill>
                  <a:schemeClr val="tx1"/>
                </a:solidFill>
                <a:latin typeface="+mj-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323" dirty="0"/>
          </a:p>
        </p:txBody>
      </p:sp>
      <p:sp>
        <p:nvSpPr>
          <p:cNvPr id="111" name="Espace réservé du texte 19">
            <a:extLst>
              <a:ext uri="{FF2B5EF4-FFF2-40B4-BE49-F238E27FC236}">
                <a16:creationId xmlns:a16="http://schemas.microsoft.com/office/drawing/2014/main" id="{720A1F2A-C3F3-2697-14B5-20D778C15D10}"/>
              </a:ext>
            </a:extLst>
          </p:cNvPr>
          <p:cNvSpPr txBox="1">
            <a:spLocks/>
          </p:cNvSpPr>
          <p:nvPr/>
        </p:nvSpPr>
        <p:spPr>
          <a:xfrm>
            <a:off x="1606040" y="5002877"/>
            <a:ext cx="2609748" cy="334154"/>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accent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543" dirty="0"/>
              <a:t>The Sustainable City</a:t>
            </a:r>
          </a:p>
        </p:txBody>
      </p:sp>
      <p:sp>
        <p:nvSpPr>
          <p:cNvPr id="112" name="Titre 25">
            <a:extLst>
              <a:ext uri="{FF2B5EF4-FFF2-40B4-BE49-F238E27FC236}">
                <a16:creationId xmlns:a16="http://schemas.microsoft.com/office/drawing/2014/main" id="{FF935143-9909-0E92-5D7E-8C5D7480709A}"/>
              </a:ext>
            </a:extLst>
          </p:cNvPr>
          <p:cNvSpPr txBox="1">
            <a:spLocks/>
          </p:cNvSpPr>
          <p:nvPr/>
        </p:nvSpPr>
        <p:spPr>
          <a:xfrm>
            <a:off x="767494" y="399151"/>
            <a:ext cx="9149146" cy="481559"/>
          </a:xfrm>
          <a:prstGeom prst="rect">
            <a:avLst/>
          </a:prstGeom>
        </p:spPr>
        <p:txBody>
          <a:bodyPr vert="horz" lIns="0" rIns="0"/>
          <a:lstStyle>
            <a:lvl1pPr algn="l" defTabSz="685800" rtl="0" eaLnBrk="1" latinLnBrk="0" hangingPunct="1">
              <a:lnSpc>
                <a:spcPct val="90000"/>
              </a:lnSpc>
              <a:spcBef>
                <a:spcPct val="0"/>
              </a:spcBef>
              <a:buNone/>
              <a:defRPr sz="2400" b="1" kern="1200" baseline="0">
                <a:solidFill>
                  <a:schemeClr val="accent1"/>
                </a:solidFill>
                <a:latin typeface="+mj-lt"/>
                <a:ea typeface="+mj-ea"/>
                <a:cs typeface="+mj-cs"/>
              </a:defRPr>
            </a:lvl1pPr>
          </a:lstStyle>
          <a:p>
            <a:r>
              <a:rPr lang="en-US" sz="2646"/>
              <a:t>TIME SERIES ANALYSIS</a:t>
            </a:r>
            <a:endParaRPr lang="en-US" sz="2646" dirty="0"/>
          </a:p>
        </p:txBody>
      </p:sp>
      <p:sp>
        <p:nvSpPr>
          <p:cNvPr id="123" name="Text Placeholder 5">
            <a:extLst>
              <a:ext uri="{FF2B5EF4-FFF2-40B4-BE49-F238E27FC236}">
                <a16:creationId xmlns:a16="http://schemas.microsoft.com/office/drawing/2014/main" id="{B8312608-110B-C376-7353-51F93F2EC3F0}"/>
              </a:ext>
            </a:extLst>
          </p:cNvPr>
          <p:cNvSpPr txBox="1">
            <a:spLocks/>
          </p:cNvSpPr>
          <p:nvPr/>
        </p:nvSpPr>
        <p:spPr>
          <a:xfrm>
            <a:off x="1859885" y="3107219"/>
            <a:ext cx="2173407" cy="334154"/>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accent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543" dirty="0"/>
              <a:t>Dubai all market</a:t>
            </a:r>
          </a:p>
        </p:txBody>
      </p:sp>
      <p:pic>
        <p:nvPicPr>
          <p:cNvPr id="129" name="Picture 11" descr="Graphical user interface, application&#10;&#10;Description automatically generated">
            <a:extLst>
              <a:ext uri="{FF2B5EF4-FFF2-40B4-BE49-F238E27FC236}">
                <a16:creationId xmlns:a16="http://schemas.microsoft.com/office/drawing/2014/main" id="{46868E83-200B-3EDA-F3F0-6C62488A8BF9}"/>
              </a:ext>
            </a:extLst>
          </p:cNvPr>
          <p:cNvPicPr>
            <a:picLocks noChangeAspect="1"/>
          </p:cNvPicPr>
          <p:nvPr/>
        </p:nvPicPr>
        <p:blipFill>
          <a:blip r:embed="rId6"/>
          <a:stretch>
            <a:fillRect/>
          </a:stretch>
        </p:blipFill>
        <p:spPr>
          <a:xfrm>
            <a:off x="5660801" y="3457691"/>
            <a:ext cx="4282605" cy="1462937"/>
          </a:xfrm>
          <a:prstGeom prst="rect">
            <a:avLst/>
          </a:prstGeom>
        </p:spPr>
      </p:pic>
      <p:pic>
        <p:nvPicPr>
          <p:cNvPr id="130" name="Content Placeholder 4" descr="Graphical user interface, chart&#10;&#10;Description automatically generated">
            <a:extLst>
              <a:ext uri="{FF2B5EF4-FFF2-40B4-BE49-F238E27FC236}">
                <a16:creationId xmlns:a16="http://schemas.microsoft.com/office/drawing/2014/main" id="{48F47603-A291-35A7-BDA6-89A3E20C41BC}"/>
              </a:ext>
            </a:extLst>
          </p:cNvPr>
          <p:cNvPicPr>
            <a:picLocks noChangeAspect="1"/>
          </p:cNvPicPr>
          <p:nvPr/>
        </p:nvPicPr>
        <p:blipFill rotWithShape="1">
          <a:blip r:embed="rId7"/>
          <a:srcRect t="10053"/>
          <a:stretch/>
        </p:blipFill>
        <p:spPr>
          <a:xfrm>
            <a:off x="5609326" y="5378583"/>
            <a:ext cx="4282605" cy="1462937"/>
          </a:xfrm>
          <a:prstGeom prst="rect">
            <a:avLst/>
          </a:prstGeom>
        </p:spPr>
      </p:pic>
      <p:pic>
        <p:nvPicPr>
          <p:cNvPr id="131" name="Picture 6" descr="Graphical user interface&#10;&#10;Description automatically generated">
            <a:extLst>
              <a:ext uri="{FF2B5EF4-FFF2-40B4-BE49-F238E27FC236}">
                <a16:creationId xmlns:a16="http://schemas.microsoft.com/office/drawing/2014/main" id="{B3285C18-1E5A-E87E-BE8D-E4216B810A51}"/>
              </a:ext>
            </a:extLst>
          </p:cNvPr>
          <p:cNvPicPr>
            <a:picLocks noChangeAspect="1"/>
          </p:cNvPicPr>
          <p:nvPr/>
        </p:nvPicPr>
        <p:blipFill>
          <a:blip r:embed="rId8"/>
          <a:stretch>
            <a:fillRect/>
          </a:stretch>
        </p:blipFill>
        <p:spPr>
          <a:xfrm>
            <a:off x="804945" y="3482340"/>
            <a:ext cx="4283287" cy="1462937"/>
          </a:xfrm>
          <a:prstGeom prst="rect">
            <a:avLst/>
          </a:prstGeom>
        </p:spPr>
      </p:pic>
      <p:pic>
        <p:nvPicPr>
          <p:cNvPr id="132" name="Picture 6" descr="Graphical user interface&#10;&#10;Description automatically generated">
            <a:extLst>
              <a:ext uri="{FF2B5EF4-FFF2-40B4-BE49-F238E27FC236}">
                <a16:creationId xmlns:a16="http://schemas.microsoft.com/office/drawing/2014/main" id="{44C9F905-B42B-0C9F-6146-5075D6FEACE3}"/>
              </a:ext>
            </a:extLst>
          </p:cNvPr>
          <p:cNvPicPr>
            <a:picLocks noChangeAspect="1"/>
          </p:cNvPicPr>
          <p:nvPr/>
        </p:nvPicPr>
        <p:blipFill rotWithShape="1">
          <a:blip r:embed="rId9"/>
          <a:srcRect t="4431"/>
          <a:stretch/>
        </p:blipFill>
        <p:spPr>
          <a:xfrm>
            <a:off x="715258" y="5377998"/>
            <a:ext cx="4283287" cy="1462937"/>
          </a:xfrm>
          <a:prstGeom prst="rect">
            <a:avLst/>
          </a:prstGeom>
        </p:spPr>
      </p:pic>
    </p:spTree>
    <p:extLst>
      <p:ext uri="{BB962C8B-B14F-4D97-AF65-F5344CB8AC3E}">
        <p14:creationId xmlns:p14="http://schemas.microsoft.com/office/powerpoint/2010/main" val="3780226531"/>
      </p:ext>
    </p:extLst>
  </p:cSld>
  <p:clrMapOvr>
    <a:masterClrMapping/>
  </p:clrMapOvr>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4E22FD09-F0FC-44A8-B32E-B2CC24184EB5}"/>
              </a:ext>
            </a:extLst>
          </p:cNvPr>
          <p:cNvGraphicFramePr>
            <a:graphicFrameLocks noChangeAspect="1"/>
          </p:cNvGraphicFramePr>
          <p:nvPr>
            <p:custDataLst>
              <p:tags r:id="rId1"/>
            </p:custDataLst>
          </p:nvPr>
        </p:nvGraphicFramePr>
        <p:xfrm>
          <a:off x="307873" y="1750"/>
          <a:ext cx="1750" cy="1750"/>
        </p:xfrm>
        <a:graphic>
          <a:graphicData uri="http://schemas.openxmlformats.org/presentationml/2006/ole">
            <mc:AlternateContent xmlns:mc="http://schemas.openxmlformats.org/markup-compatibility/2006">
              <mc:Choice xmlns:v="urn:schemas-microsoft-com:vml" Requires="v">
                <p:oleObj name="Diapositive think-cell" r:id="rId4" imgW="421" imgH="423" progId="TCLayout.ActiveDocument.1">
                  <p:embed/>
                </p:oleObj>
              </mc:Choice>
              <mc:Fallback>
                <p:oleObj name="Diapositive think-cell" r:id="rId4" imgW="421" imgH="423" progId="TCLayout.ActiveDocument.1">
                  <p:embed/>
                  <p:pic>
                    <p:nvPicPr>
                      <p:cNvPr id="17" name="Object 16" hidden="1">
                        <a:extLst>
                          <a:ext uri="{FF2B5EF4-FFF2-40B4-BE49-F238E27FC236}">
                            <a16:creationId xmlns:a16="http://schemas.microsoft.com/office/drawing/2014/main" id="{4E22FD09-F0FC-44A8-B32E-B2CC24184EB5}"/>
                          </a:ext>
                        </a:extLst>
                      </p:cNvPr>
                      <p:cNvPicPr/>
                      <p:nvPr/>
                    </p:nvPicPr>
                    <p:blipFill>
                      <a:blip r:embed="rId5"/>
                      <a:stretch>
                        <a:fillRect/>
                      </a:stretch>
                    </p:blipFill>
                    <p:spPr>
                      <a:xfrm>
                        <a:off x="307873" y="1750"/>
                        <a:ext cx="1750" cy="1750"/>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397576FB-27FA-439A-9D5D-92F11145E784}"/>
              </a:ext>
            </a:extLst>
          </p:cNvPr>
          <p:cNvSpPr/>
          <p:nvPr>
            <p:custDataLst>
              <p:tags r:id="rId2"/>
            </p:custDataLst>
          </p:nvPr>
        </p:nvSpPr>
        <p:spPr>
          <a:xfrm>
            <a:off x="306123" y="0"/>
            <a:ext cx="174992" cy="174992"/>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pPr>
            <a:endParaRPr lang="en-US" sz="2646" b="1" dirty="0" err="1">
              <a:solidFill>
                <a:schemeClr val="tx1"/>
              </a:solidFill>
              <a:latin typeface="Open Sans"/>
              <a:ea typeface="+mj-ea"/>
              <a:cs typeface="+mj-cs"/>
              <a:sym typeface="Open Sans"/>
            </a:endParaRPr>
          </a:p>
        </p:txBody>
      </p:sp>
      <p:sp>
        <p:nvSpPr>
          <p:cNvPr id="49" name="Espace réservé du texte 48">
            <a:extLst>
              <a:ext uri="{FF2B5EF4-FFF2-40B4-BE49-F238E27FC236}">
                <a16:creationId xmlns:a16="http://schemas.microsoft.com/office/drawing/2014/main" id="{803AC302-59CB-329D-4C65-01EB51181E56}"/>
              </a:ext>
            </a:extLst>
          </p:cNvPr>
          <p:cNvSpPr>
            <a:spLocks noGrp="1"/>
          </p:cNvSpPr>
          <p:nvPr>
            <p:ph type="body" sz="quarter" idx="16"/>
          </p:nvPr>
        </p:nvSpPr>
        <p:spPr/>
        <p:txBody>
          <a:bodyPr/>
          <a:lstStyle/>
          <a:p>
            <a:r>
              <a:rPr lang="en-US" dirty="0"/>
              <a:t>4 bedrooms in TSC</a:t>
            </a:r>
          </a:p>
        </p:txBody>
      </p:sp>
      <p:sp>
        <p:nvSpPr>
          <p:cNvPr id="52" name="Espace réservé du texte 51">
            <a:extLst>
              <a:ext uri="{FF2B5EF4-FFF2-40B4-BE49-F238E27FC236}">
                <a16:creationId xmlns:a16="http://schemas.microsoft.com/office/drawing/2014/main" id="{3DD0F8DC-8DA9-9041-5B13-ED9E6ADA74EB}"/>
              </a:ext>
            </a:extLst>
          </p:cNvPr>
          <p:cNvSpPr>
            <a:spLocks noGrp="1"/>
          </p:cNvSpPr>
          <p:nvPr>
            <p:ph type="body" sz="quarter" idx="17"/>
          </p:nvPr>
        </p:nvSpPr>
        <p:spPr/>
        <p:txBody>
          <a:bodyPr/>
          <a:lstStyle/>
          <a:p>
            <a:r>
              <a:rPr lang="en-US" dirty="0"/>
              <a:t>3 bedrooms in TSC</a:t>
            </a:r>
          </a:p>
        </p:txBody>
      </p:sp>
      <p:sp>
        <p:nvSpPr>
          <p:cNvPr id="53" name="Espace réservé du texte 52">
            <a:extLst>
              <a:ext uri="{FF2B5EF4-FFF2-40B4-BE49-F238E27FC236}">
                <a16:creationId xmlns:a16="http://schemas.microsoft.com/office/drawing/2014/main" id="{90EAE9BF-DA61-F2A5-71F4-2385575D1771}"/>
              </a:ext>
            </a:extLst>
          </p:cNvPr>
          <p:cNvSpPr>
            <a:spLocks noGrp="1"/>
          </p:cNvSpPr>
          <p:nvPr>
            <p:ph type="body" sz="quarter" idx="18"/>
          </p:nvPr>
        </p:nvSpPr>
        <p:spPr>
          <a:xfrm>
            <a:off x="849374" y="5588129"/>
            <a:ext cx="10697711" cy="714234"/>
          </a:xfrm>
        </p:spPr>
        <p:txBody>
          <a:bodyPr/>
          <a:lstStyle/>
          <a:p>
            <a:r>
              <a:rPr lang="en-US" sz="1102" b="0" dirty="0"/>
              <a:t>Optimization of gradient boosted trees with 247 trees of max depth 7 gave an </a:t>
            </a:r>
            <a:r>
              <a:rPr lang="en-US" sz="1102" dirty="0"/>
              <a:t>R2 score of 0.9 </a:t>
            </a:r>
            <a:r>
              <a:rPr lang="en-US" sz="1102" b="0" dirty="0"/>
              <a:t>and a </a:t>
            </a:r>
            <a:r>
              <a:rPr lang="en-US" sz="1102" dirty="0"/>
              <a:t>MAPE of 15%.</a:t>
            </a:r>
          </a:p>
          <a:p>
            <a:r>
              <a:rPr lang="en-US" sz="1102" b="0" dirty="0"/>
              <a:t>Those results are highly positive and informative and constitute a satisfying POC. However, they need to be enriched with more exogenous and geospatial data in order to reduce the Mean Average Percentage Error.</a:t>
            </a:r>
          </a:p>
        </p:txBody>
      </p:sp>
      <p:sp>
        <p:nvSpPr>
          <p:cNvPr id="54" name="Espace réservé du texte 53">
            <a:extLst>
              <a:ext uri="{FF2B5EF4-FFF2-40B4-BE49-F238E27FC236}">
                <a16:creationId xmlns:a16="http://schemas.microsoft.com/office/drawing/2014/main" id="{B39E0357-519F-C1DC-3D80-13D5FCBB2162}"/>
              </a:ext>
            </a:extLst>
          </p:cNvPr>
          <p:cNvSpPr>
            <a:spLocks noGrp="1"/>
          </p:cNvSpPr>
          <p:nvPr>
            <p:ph type="body" sz="quarter" idx="21"/>
          </p:nvPr>
        </p:nvSpPr>
        <p:spPr>
          <a:xfrm>
            <a:off x="770729" y="755967"/>
            <a:ext cx="9149146" cy="276551"/>
          </a:xfrm>
        </p:spPr>
        <p:txBody>
          <a:bodyPr/>
          <a:lstStyle/>
          <a:p>
            <a:r>
              <a:rPr lang="en-US" sz="1102" b="1" dirty="0"/>
              <a:t>The web-app built in feature, allows the user to quicky evaluate the value of his asset or forecast it’s future value.</a:t>
            </a:r>
          </a:p>
        </p:txBody>
      </p:sp>
      <p:sp>
        <p:nvSpPr>
          <p:cNvPr id="37" name="Titre 36">
            <a:extLst>
              <a:ext uri="{FF2B5EF4-FFF2-40B4-BE49-F238E27FC236}">
                <a16:creationId xmlns:a16="http://schemas.microsoft.com/office/drawing/2014/main" id="{BFE13949-9C62-8C5F-3839-64CAA0306591}"/>
              </a:ext>
            </a:extLst>
          </p:cNvPr>
          <p:cNvSpPr>
            <a:spLocks noGrp="1"/>
          </p:cNvSpPr>
          <p:nvPr>
            <p:ph type="title"/>
          </p:nvPr>
        </p:nvSpPr>
        <p:spPr/>
        <p:txBody>
          <a:bodyPr vert="horz"/>
          <a:lstStyle/>
          <a:p>
            <a:r>
              <a:rPr lang="en-US" dirty="0"/>
              <a:t>Price Estimation App</a:t>
            </a:r>
          </a:p>
        </p:txBody>
      </p:sp>
      <p:pic>
        <p:nvPicPr>
          <p:cNvPr id="55" name="Content Placeholder 4" descr="Graphical user interface, application&#10;&#10;Description automatically generated">
            <a:extLst>
              <a:ext uri="{FF2B5EF4-FFF2-40B4-BE49-F238E27FC236}">
                <a16:creationId xmlns:a16="http://schemas.microsoft.com/office/drawing/2014/main" id="{A8A2B54E-E0A3-B2B4-E124-5B88079F5154}"/>
              </a:ext>
            </a:extLst>
          </p:cNvPr>
          <p:cNvPicPr>
            <a:picLocks noGrp="1" noChangeAspect="1"/>
          </p:cNvPicPr>
          <p:nvPr>
            <p:ph idx="1"/>
          </p:nvPr>
        </p:nvPicPr>
        <p:blipFill>
          <a:blip r:embed="rId6"/>
          <a:stretch>
            <a:fillRect/>
          </a:stretch>
        </p:blipFill>
        <p:spPr>
          <a:xfrm>
            <a:off x="770729" y="1776646"/>
            <a:ext cx="4321541" cy="2672902"/>
          </a:xfrm>
          <a:prstGeom prst="rect">
            <a:avLst/>
          </a:prstGeom>
        </p:spPr>
      </p:pic>
      <p:pic>
        <p:nvPicPr>
          <p:cNvPr id="56" name="Picture 6" descr="A picture containing graphical user interface&#10;&#10;Description automatically generated">
            <a:extLst>
              <a:ext uri="{FF2B5EF4-FFF2-40B4-BE49-F238E27FC236}">
                <a16:creationId xmlns:a16="http://schemas.microsoft.com/office/drawing/2014/main" id="{7F6CF7B5-4D77-4649-7B61-B83D32810BB5}"/>
              </a:ext>
            </a:extLst>
          </p:cNvPr>
          <p:cNvPicPr>
            <a:picLocks noGrp="1" noChangeAspect="1"/>
          </p:cNvPicPr>
          <p:nvPr>
            <p:ph idx="10"/>
          </p:nvPr>
        </p:nvPicPr>
        <p:blipFill>
          <a:blip r:embed="rId7"/>
          <a:stretch>
            <a:fillRect/>
          </a:stretch>
        </p:blipFill>
        <p:spPr>
          <a:xfrm>
            <a:off x="5610145" y="1799980"/>
            <a:ext cx="4282065" cy="2649568"/>
          </a:xfrm>
          <a:prstGeom prst="rect">
            <a:avLst/>
          </a:prstGeom>
        </p:spPr>
      </p:pic>
      <p:sp>
        <p:nvSpPr>
          <p:cNvPr id="7" name="TextBox 6">
            <a:extLst>
              <a:ext uri="{FF2B5EF4-FFF2-40B4-BE49-F238E27FC236}">
                <a16:creationId xmlns:a16="http://schemas.microsoft.com/office/drawing/2014/main" id="{16C322E8-74BC-16DA-AB8A-E2D93546605C}"/>
              </a:ext>
            </a:extLst>
          </p:cNvPr>
          <p:cNvSpPr txBox="1"/>
          <p:nvPr/>
        </p:nvSpPr>
        <p:spPr>
          <a:xfrm>
            <a:off x="2887579" y="3624028"/>
            <a:ext cx="5775158" cy="307777"/>
          </a:xfrm>
          <a:prstGeom prst="rect">
            <a:avLst/>
          </a:prstGeom>
          <a:noFill/>
        </p:spPr>
        <p:txBody>
          <a:bodyPr wrap="square">
            <a:spAutoFit/>
          </a:bodyPr>
          <a:lstStyle/>
          <a:p>
            <a:r>
              <a:rPr lang="en-GB" b="0" dirty="0">
                <a:effectLst/>
              </a:rPr>
              <a:t> </a:t>
            </a:r>
            <a:endParaRPr lang="en-GB" dirty="0"/>
          </a:p>
        </p:txBody>
      </p:sp>
    </p:spTree>
    <p:extLst>
      <p:ext uri="{BB962C8B-B14F-4D97-AF65-F5344CB8AC3E}">
        <p14:creationId xmlns:p14="http://schemas.microsoft.com/office/powerpoint/2010/main" val="17415431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42D207BB-5084-4A34-85B6-E281A499ABDF}"/>
              </a:ext>
            </a:extLst>
          </p:cNvPr>
          <p:cNvGraphicFramePr>
            <a:graphicFrameLocks noChangeAspect="1"/>
          </p:cNvGraphicFramePr>
          <p:nvPr>
            <p:custDataLst>
              <p:tags r:id="rId1"/>
            </p:custDataLst>
          </p:nvPr>
        </p:nvGraphicFramePr>
        <p:xfrm>
          <a:off x="307873" y="1750"/>
          <a:ext cx="1750" cy="1750"/>
        </p:xfrm>
        <a:graphic>
          <a:graphicData uri="http://schemas.openxmlformats.org/presentationml/2006/ole">
            <mc:AlternateContent xmlns:mc="http://schemas.openxmlformats.org/markup-compatibility/2006">
              <mc:Choice xmlns:v="urn:schemas-microsoft-com:vml" Requires="v">
                <p:oleObj name="Diapositive think-cell" r:id="rId4" imgW="421" imgH="423" progId="TCLayout.ActiveDocument.1">
                  <p:embed/>
                </p:oleObj>
              </mc:Choice>
              <mc:Fallback>
                <p:oleObj name="Diapositive think-cell" r:id="rId4" imgW="421" imgH="423" progId="TCLayout.ActiveDocument.1">
                  <p:embed/>
                  <p:pic>
                    <p:nvPicPr>
                      <p:cNvPr id="18" name="Object 17" hidden="1">
                        <a:extLst>
                          <a:ext uri="{FF2B5EF4-FFF2-40B4-BE49-F238E27FC236}">
                            <a16:creationId xmlns:a16="http://schemas.microsoft.com/office/drawing/2014/main" id="{42D207BB-5084-4A34-85B6-E281A499ABDF}"/>
                          </a:ext>
                        </a:extLst>
                      </p:cNvPr>
                      <p:cNvPicPr/>
                      <p:nvPr/>
                    </p:nvPicPr>
                    <p:blipFill>
                      <a:blip r:embed="rId5"/>
                      <a:stretch>
                        <a:fillRect/>
                      </a:stretch>
                    </p:blipFill>
                    <p:spPr>
                      <a:xfrm>
                        <a:off x="307873" y="1750"/>
                        <a:ext cx="1750" cy="1750"/>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FD42D41-6D17-44D0-91D1-A15F3597FF67}"/>
              </a:ext>
            </a:extLst>
          </p:cNvPr>
          <p:cNvSpPr/>
          <p:nvPr>
            <p:custDataLst>
              <p:tags r:id="rId2"/>
            </p:custDataLst>
          </p:nvPr>
        </p:nvSpPr>
        <p:spPr>
          <a:xfrm>
            <a:off x="306123" y="0"/>
            <a:ext cx="174992" cy="174992"/>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pPr>
            <a:endParaRPr lang="en-US" sz="2646" b="1" dirty="0" err="1">
              <a:solidFill>
                <a:schemeClr val="tx1"/>
              </a:solidFill>
              <a:latin typeface="Open Sans"/>
              <a:ea typeface="+mj-ea"/>
              <a:cs typeface="+mj-cs"/>
              <a:sym typeface="Open Sans"/>
            </a:endParaRPr>
          </a:p>
        </p:txBody>
      </p:sp>
      <p:sp>
        <p:nvSpPr>
          <p:cNvPr id="9" name="Slide Number Placeholder 8">
            <a:extLst>
              <a:ext uri="{FF2B5EF4-FFF2-40B4-BE49-F238E27FC236}">
                <a16:creationId xmlns:a16="http://schemas.microsoft.com/office/drawing/2014/main" id="{665A1A2A-D90F-41BE-86AC-52E69E4492CF}"/>
              </a:ext>
            </a:extLst>
          </p:cNvPr>
          <p:cNvSpPr>
            <a:spLocks noGrp="1"/>
          </p:cNvSpPr>
          <p:nvPr>
            <p:ph type="sldNum" sz="quarter" idx="23"/>
          </p:nvPr>
        </p:nvSpPr>
        <p:spPr/>
        <p:txBody>
          <a:bodyPr/>
          <a:lstStyle/>
          <a:p>
            <a:fld id="{D04A32BC-4AEA-4C75-B397-D319FFB728D1}" type="slidenum">
              <a:rPr lang="en-US" smtClean="0"/>
              <a:pPr/>
              <a:t>8</a:t>
            </a:fld>
            <a:endParaRPr lang="en-US" dirty="0"/>
          </a:p>
        </p:txBody>
      </p:sp>
      <p:sp>
        <p:nvSpPr>
          <p:cNvPr id="10" name="Title 9">
            <a:extLst>
              <a:ext uri="{FF2B5EF4-FFF2-40B4-BE49-F238E27FC236}">
                <a16:creationId xmlns:a16="http://schemas.microsoft.com/office/drawing/2014/main" id="{F4676C29-19E7-46C1-AEE9-85E40E3873D0}"/>
              </a:ext>
            </a:extLst>
          </p:cNvPr>
          <p:cNvSpPr>
            <a:spLocks noGrp="1"/>
          </p:cNvSpPr>
          <p:nvPr>
            <p:ph type="title"/>
          </p:nvPr>
        </p:nvSpPr>
        <p:spPr>
          <a:xfrm>
            <a:off x="503591" y="597162"/>
            <a:ext cx="9704877" cy="366447"/>
          </a:xfrm>
        </p:spPr>
        <p:txBody>
          <a:bodyPr vert="horz"/>
          <a:lstStyle/>
          <a:p>
            <a:r>
              <a:rPr lang="en-US" dirty="0"/>
              <a:t>Time Series Analysis: MART SALES PREDICTIONS</a:t>
            </a:r>
          </a:p>
        </p:txBody>
      </p:sp>
      <p:sp>
        <p:nvSpPr>
          <p:cNvPr id="11" name="Text Placeholder 10">
            <a:extLst>
              <a:ext uri="{FF2B5EF4-FFF2-40B4-BE49-F238E27FC236}">
                <a16:creationId xmlns:a16="http://schemas.microsoft.com/office/drawing/2014/main" id="{7FBCA2CD-B566-4F93-9D3B-9CB2F1AD0683}"/>
              </a:ext>
            </a:extLst>
          </p:cNvPr>
          <p:cNvSpPr>
            <a:spLocks noGrp="1"/>
          </p:cNvSpPr>
          <p:nvPr>
            <p:ph type="body" sz="quarter" idx="24"/>
          </p:nvPr>
        </p:nvSpPr>
        <p:spPr>
          <a:xfrm>
            <a:off x="771257" y="929145"/>
            <a:ext cx="9149146" cy="340991"/>
          </a:xfrm>
        </p:spPr>
        <p:txBody>
          <a:bodyPr/>
          <a:lstStyle/>
          <a:p>
            <a:r>
              <a:rPr lang="en-US" sz="1543" b="1" dirty="0"/>
              <a:t>Introduction</a:t>
            </a:r>
          </a:p>
        </p:txBody>
      </p:sp>
      <p:sp>
        <p:nvSpPr>
          <p:cNvPr id="12" name="Text Placeholder 11">
            <a:extLst>
              <a:ext uri="{FF2B5EF4-FFF2-40B4-BE49-F238E27FC236}">
                <a16:creationId xmlns:a16="http://schemas.microsoft.com/office/drawing/2014/main" id="{341FE5C9-84F1-4B95-9EA7-0C821693FE11}"/>
              </a:ext>
            </a:extLst>
          </p:cNvPr>
          <p:cNvSpPr>
            <a:spLocks noGrp="1"/>
          </p:cNvSpPr>
          <p:nvPr>
            <p:ph type="body" sz="quarter" idx="38"/>
          </p:nvPr>
        </p:nvSpPr>
        <p:spPr>
          <a:xfrm>
            <a:off x="862210" y="1630411"/>
            <a:ext cx="1578560" cy="341071"/>
          </a:xfrm>
        </p:spPr>
        <p:txBody>
          <a:bodyPr/>
          <a:lstStyle/>
          <a:p>
            <a:r>
              <a:rPr lang="en-US" dirty="0"/>
              <a:t>Asia</a:t>
            </a:r>
          </a:p>
        </p:txBody>
      </p:sp>
      <p:sp>
        <p:nvSpPr>
          <p:cNvPr id="13" name="Text Placeholder 12">
            <a:extLst>
              <a:ext uri="{FF2B5EF4-FFF2-40B4-BE49-F238E27FC236}">
                <a16:creationId xmlns:a16="http://schemas.microsoft.com/office/drawing/2014/main" id="{78E84F63-64D2-4416-BE82-25E5BB9E0DA9}"/>
              </a:ext>
            </a:extLst>
          </p:cNvPr>
          <p:cNvSpPr>
            <a:spLocks noGrp="1"/>
          </p:cNvSpPr>
          <p:nvPr>
            <p:ph type="body" sz="quarter" idx="39"/>
          </p:nvPr>
        </p:nvSpPr>
        <p:spPr>
          <a:xfrm>
            <a:off x="2722568" y="1630411"/>
            <a:ext cx="1578560" cy="341071"/>
          </a:xfrm>
        </p:spPr>
        <p:txBody>
          <a:bodyPr/>
          <a:lstStyle/>
          <a:p>
            <a:r>
              <a:rPr lang="en-US" dirty="0"/>
              <a:t>Europe</a:t>
            </a:r>
          </a:p>
        </p:txBody>
      </p:sp>
      <p:sp>
        <p:nvSpPr>
          <p:cNvPr id="14" name="Text Placeholder 13">
            <a:extLst>
              <a:ext uri="{FF2B5EF4-FFF2-40B4-BE49-F238E27FC236}">
                <a16:creationId xmlns:a16="http://schemas.microsoft.com/office/drawing/2014/main" id="{21CC1E57-0BB7-4368-BE52-5FC99D6895B5}"/>
              </a:ext>
            </a:extLst>
          </p:cNvPr>
          <p:cNvSpPr>
            <a:spLocks noGrp="1"/>
          </p:cNvSpPr>
          <p:nvPr>
            <p:ph type="body" sz="quarter" idx="40"/>
          </p:nvPr>
        </p:nvSpPr>
        <p:spPr>
          <a:xfrm>
            <a:off x="4560062" y="1642887"/>
            <a:ext cx="1578560" cy="341071"/>
          </a:xfrm>
        </p:spPr>
        <p:txBody>
          <a:bodyPr/>
          <a:lstStyle/>
          <a:p>
            <a:r>
              <a:rPr lang="en-US" dirty="0"/>
              <a:t>US</a:t>
            </a:r>
          </a:p>
        </p:txBody>
      </p:sp>
      <p:sp>
        <p:nvSpPr>
          <p:cNvPr id="16" name="Text Placeholder 15">
            <a:extLst>
              <a:ext uri="{FF2B5EF4-FFF2-40B4-BE49-F238E27FC236}">
                <a16:creationId xmlns:a16="http://schemas.microsoft.com/office/drawing/2014/main" id="{E724FD86-A18C-4D90-8CE3-E28930E572FB}"/>
              </a:ext>
            </a:extLst>
          </p:cNvPr>
          <p:cNvSpPr>
            <a:spLocks noGrp="1"/>
          </p:cNvSpPr>
          <p:nvPr>
            <p:ph type="body" sz="quarter" idx="4294967295"/>
          </p:nvPr>
        </p:nvSpPr>
        <p:spPr>
          <a:xfrm>
            <a:off x="8939171" y="3903711"/>
            <a:ext cx="1578560" cy="340991"/>
          </a:xfrm>
          <a:prstGeom prst="rect">
            <a:avLst/>
          </a:prstGeom>
        </p:spPr>
        <p:txBody>
          <a:bodyPr/>
          <a:lstStyle/>
          <a:p>
            <a:pPr algn="ctr"/>
            <a:r>
              <a:rPr lang="en-US" sz="1543" dirty="0">
                <a:solidFill>
                  <a:schemeClr val="bg1"/>
                </a:solidFill>
              </a:rPr>
              <a:t>Middle East</a:t>
            </a:r>
          </a:p>
        </p:txBody>
      </p:sp>
      <p:sp>
        <p:nvSpPr>
          <p:cNvPr id="19" name="Content Placeholder 1">
            <a:extLst>
              <a:ext uri="{FF2B5EF4-FFF2-40B4-BE49-F238E27FC236}">
                <a16:creationId xmlns:a16="http://schemas.microsoft.com/office/drawing/2014/main" id="{970B8BE4-E5FA-4A69-B401-D8279E4CF7B9}"/>
              </a:ext>
            </a:extLst>
          </p:cNvPr>
          <p:cNvSpPr txBox="1">
            <a:spLocks/>
          </p:cNvSpPr>
          <p:nvPr/>
        </p:nvSpPr>
        <p:spPr>
          <a:xfrm>
            <a:off x="2663962" y="2861115"/>
            <a:ext cx="7560003" cy="1224370"/>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88989" indent="-188989">
              <a:buFont typeface="Wingdings" panose="05000000000000000000" pitchFamily="2" charset="2"/>
              <a:buChar char="§"/>
            </a:pPr>
            <a:r>
              <a:rPr lang="en-US" sz="1102" b="0" dirty="0"/>
              <a:t>With a missing values, data needs to be accurately cleaned to keep enough information while not adding noise.</a:t>
            </a:r>
          </a:p>
          <a:p>
            <a:pPr marL="188989" indent="-188989">
              <a:buFont typeface="Wingdings" panose="05000000000000000000" pitchFamily="2" charset="2"/>
              <a:buChar char="§"/>
            </a:pPr>
            <a:r>
              <a:rPr lang="en-US" sz="1102" b="0" dirty="0"/>
              <a:t>Data quantity is also a barrier since we only have 8K rows, we will need to put effort to achieve satisfying scores, in order to give relevant insights to our client.</a:t>
            </a:r>
          </a:p>
          <a:p>
            <a:pPr marL="188989" indent="-188989">
              <a:buFont typeface="Wingdings" panose="05000000000000000000" pitchFamily="2" charset="2"/>
              <a:buChar char="§"/>
            </a:pPr>
            <a:r>
              <a:rPr lang="en-US" sz="1102" b="0" dirty="0"/>
              <a:t>Create a precise model that would retain good interpretability </a:t>
            </a:r>
          </a:p>
        </p:txBody>
      </p:sp>
      <p:sp>
        <p:nvSpPr>
          <p:cNvPr id="20" name="Content Placeholder 2">
            <a:extLst>
              <a:ext uri="{FF2B5EF4-FFF2-40B4-BE49-F238E27FC236}">
                <a16:creationId xmlns:a16="http://schemas.microsoft.com/office/drawing/2014/main" id="{B4EF1B19-8A32-43A8-BEB2-F747C6C2EDD0}"/>
              </a:ext>
            </a:extLst>
          </p:cNvPr>
          <p:cNvSpPr txBox="1">
            <a:spLocks/>
          </p:cNvSpPr>
          <p:nvPr/>
        </p:nvSpPr>
        <p:spPr>
          <a:xfrm>
            <a:off x="2663963" y="2099196"/>
            <a:ext cx="7650821" cy="796683"/>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88989" indent="-188989">
              <a:buFont typeface="Wingdings" panose="05000000000000000000" pitchFamily="2" charset="2"/>
              <a:buChar char="§"/>
            </a:pPr>
            <a:r>
              <a:rPr lang="en-US" sz="1102" b="0" dirty="0"/>
              <a:t>Shopping centers such as malls and marts are usually recording sales as an important step to predict the activity and get an idea about future demands that can help, for example, with inventory management. The objective of this project is to understand what role certain properties of an item play and how they affect their sales. The data is listing sales of 1559 different products from 10 stores in different cities.</a:t>
            </a:r>
          </a:p>
        </p:txBody>
      </p:sp>
      <p:sp>
        <p:nvSpPr>
          <p:cNvPr id="21" name="Content Placeholder 3">
            <a:extLst>
              <a:ext uri="{FF2B5EF4-FFF2-40B4-BE49-F238E27FC236}">
                <a16:creationId xmlns:a16="http://schemas.microsoft.com/office/drawing/2014/main" id="{FAEEE0C9-94A9-45C7-AE43-7AC11D94368B}"/>
              </a:ext>
            </a:extLst>
          </p:cNvPr>
          <p:cNvSpPr txBox="1">
            <a:spLocks/>
          </p:cNvSpPr>
          <p:nvPr/>
        </p:nvSpPr>
        <p:spPr>
          <a:xfrm>
            <a:off x="2620349" y="6075989"/>
            <a:ext cx="7624031" cy="796683"/>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102" b="0" dirty="0"/>
              <a:t>We built a predictive model that can find out the sales of each product at a particular store and then provide actionable recommendations to the client’s sales team, in order to understand the properties of products and stores which play a key role in increasing sales.</a:t>
            </a:r>
          </a:p>
        </p:txBody>
      </p:sp>
      <p:sp>
        <p:nvSpPr>
          <p:cNvPr id="27" name="Content Placeholder 3">
            <a:extLst>
              <a:ext uri="{FF2B5EF4-FFF2-40B4-BE49-F238E27FC236}">
                <a16:creationId xmlns:a16="http://schemas.microsoft.com/office/drawing/2014/main" id="{71C2257E-751E-4F67-9606-D448228E952E}"/>
              </a:ext>
            </a:extLst>
          </p:cNvPr>
          <p:cNvSpPr txBox="1">
            <a:spLocks/>
          </p:cNvSpPr>
          <p:nvPr/>
        </p:nvSpPr>
        <p:spPr>
          <a:xfrm>
            <a:off x="2663963" y="4371967"/>
            <a:ext cx="7560002" cy="1467594"/>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102" b="0" dirty="0"/>
              <a:t>Conducting desk research leveraging different types of sources (by order of priority): </a:t>
            </a:r>
          </a:p>
          <a:p>
            <a:pPr marL="188989" indent="-188989">
              <a:buFont typeface="Wingdings" panose="05000000000000000000" pitchFamily="2" charset="2"/>
              <a:buChar char="§"/>
            </a:pPr>
            <a:r>
              <a:rPr lang="en-US" sz="1102" b="0" dirty="0"/>
              <a:t>To build a predictive model that can find out the sales of each product at a particular store and then provide actionable recommendations to the </a:t>
            </a:r>
            <a:r>
              <a:rPr lang="en-US" sz="1102" b="0" dirty="0" err="1"/>
              <a:t>cie</a:t>
            </a:r>
            <a:r>
              <a:rPr lang="en-US" sz="1102" b="0" dirty="0"/>
              <a:t> sales team to understand the properties of products and stores which play a key role in increasing sales. </a:t>
            </a:r>
          </a:p>
          <a:p>
            <a:pPr marL="188989" indent="-188989">
              <a:buFont typeface="Wingdings" panose="05000000000000000000" pitchFamily="2" charset="2"/>
              <a:buChar char="§"/>
            </a:pPr>
            <a:r>
              <a:rPr lang="en-US" sz="1102" b="0" dirty="0"/>
              <a:t>Checking Africa-focused Development banks and financial institutions project documents as they provide financial and technical assistance to countries implementing such programs </a:t>
            </a:r>
          </a:p>
          <a:p>
            <a:pPr marL="188989" indent="-188989">
              <a:buFont typeface="Wingdings" panose="05000000000000000000" pitchFamily="2" charset="2"/>
              <a:buChar char="§"/>
            </a:pPr>
            <a:r>
              <a:rPr lang="en-US" sz="1102" b="0" dirty="0"/>
              <a:t> Countries local press to find insights on programs achievements and bottlenecks </a:t>
            </a:r>
          </a:p>
          <a:p>
            <a:pPr marL="188989" indent="-188989">
              <a:buFont typeface="Wingdings" panose="05000000000000000000" pitchFamily="2" charset="2"/>
              <a:buChar char="§"/>
            </a:pPr>
            <a:endParaRPr lang="en-US" sz="1102" b="0" dirty="0"/>
          </a:p>
          <a:p>
            <a:endParaRPr lang="en-US" sz="1102" b="0" dirty="0"/>
          </a:p>
        </p:txBody>
      </p:sp>
      <p:sp>
        <p:nvSpPr>
          <p:cNvPr id="22" name="Rectangle 21">
            <a:extLst>
              <a:ext uri="{FF2B5EF4-FFF2-40B4-BE49-F238E27FC236}">
                <a16:creationId xmlns:a16="http://schemas.microsoft.com/office/drawing/2014/main" id="{6BF83CD7-EE61-4768-99C2-9D27B14F6715}"/>
              </a:ext>
            </a:extLst>
          </p:cNvPr>
          <p:cNvSpPr/>
          <p:nvPr/>
        </p:nvSpPr>
        <p:spPr>
          <a:xfrm>
            <a:off x="771124" y="2129861"/>
            <a:ext cx="1828809" cy="503978"/>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43" b="1" dirty="0">
                <a:solidFill>
                  <a:schemeClr val="bg1"/>
                </a:solidFill>
                <a:latin typeface="+mj-lt"/>
              </a:rPr>
              <a:t>Request</a:t>
            </a:r>
          </a:p>
        </p:txBody>
      </p:sp>
      <p:sp>
        <p:nvSpPr>
          <p:cNvPr id="28" name="Rectangle 27">
            <a:extLst>
              <a:ext uri="{FF2B5EF4-FFF2-40B4-BE49-F238E27FC236}">
                <a16:creationId xmlns:a16="http://schemas.microsoft.com/office/drawing/2014/main" id="{9F869481-8E00-432C-BC2A-7CF7E9D6FACB}"/>
              </a:ext>
            </a:extLst>
          </p:cNvPr>
          <p:cNvSpPr/>
          <p:nvPr/>
        </p:nvSpPr>
        <p:spPr>
          <a:xfrm>
            <a:off x="771124" y="2882713"/>
            <a:ext cx="1828809" cy="1254293"/>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43" b="1" dirty="0">
                <a:solidFill>
                  <a:schemeClr val="bg1"/>
                </a:solidFill>
                <a:latin typeface="+mj-lt"/>
              </a:rPr>
              <a:t>Main challenges</a:t>
            </a:r>
          </a:p>
        </p:txBody>
      </p:sp>
      <p:sp>
        <p:nvSpPr>
          <p:cNvPr id="29" name="Rectangle 28">
            <a:extLst>
              <a:ext uri="{FF2B5EF4-FFF2-40B4-BE49-F238E27FC236}">
                <a16:creationId xmlns:a16="http://schemas.microsoft.com/office/drawing/2014/main" id="{05A25D78-0B88-422B-A9A0-11BEBB8F595B}"/>
              </a:ext>
            </a:extLst>
          </p:cNvPr>
          <p:cNvSpPr/>
          <p:nvPr/>
        </p:nvSpPr>
        <p:spPr>
          <a:xfrm>
            <a:off x="771124" y="4371967"/>
            <a:ext cx="1828809" cy="1467594"/>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43" b="1" dirty="0">
                <a:solidFill>
                  <a:schemeClr val="bg1"/>
                </a:solidFill>
                <a:latin typeface="+mj-lt"/>
              </a:rPr>
              <a:t>Infomineo’s approach</a:t>
            </a:r>
          </a:p>
        </p:txBody>
      </p:sp>
      <p:sp>
        <p:nvSpPr>
          <p:cNvPr id="30" name="Rectangle 29">
            <a:extLst>
              <a:ext uri="{FF2B5EF4-FFF2-40B4-BE49-F238E27FC236}">
                <a16:creationId xmlns:a16="http://schemas.microsoft.com/office/drawing/2014/main" id="{EE476936-B69D-4294-A358-E6692463772D}"/>
              </a:ext>
            </a:extLst>
          </p:cNvPr>
          <p:cNvSpPr/>
          <p:nvPr/>
        </p:nvSpPr>
        <p:spPr>
          <a:xfrm>
            <a:off x="771124" y="6088433"/>
            <a:ext cx="1828809" cy="796683"/>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43" b="1" dirty="0">
                <a:solidFill>
                  <a:schemeClr val="bg1"/>
                </a:solidFill>
                <a:latin typeface="+mj-lt"/>
              </a:rPr>
              <a:t>Deliverable</a:t>
            </a:r>
          </a:p>
        </p:txBody>
      </p:sp>
      <p:sp>
        <p:nvSpPr>
          <p:cNvPr id="23" name="Arrow: Pentagon 22">
            <a:extLst>
              <a:ext uri="{FF2B5EF4-FFF2-40B4-BE49-F238E27FC236}">
                <a16:creationId xmlns:a16="http://schemas.microsoft.com/office/drawing/2014/main" id="{A6217DAF-C379-44CF-9EDC-8D9570981A72}"/>
              </a:ext>
            </a:extLst>
          </p:cNvPr>
          <p:cNvSpPr/>
          <p:nvPr/>
        </p:nvSpPr>
        <p:spPr>
          <a:xfrm>
            <a:off x="6420419" y="1548719"/>
            <a:ext cx="1770282" cy="459558"/>
          </a:xfrm>
          <a:prstGeom prst="homePlate">
            <a:avLst/>
          </a:prstGeom>
          <a:solidFill>
            <a:srgbClr val="002060"/>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7" b="1" dirty="0" err="1">
              <a:solidFill>
                <a:schemeClr val="tx1"/>
              </a:solidFill>
              <a:latin typeface="+mj-lt"/>
            </a:endParaRPr>
          </a:p>
        </p:txBody>
      </p:sp>
      <p:sp>
        <p:nvSpPr>
          <p:cNvPr id="24" name="Arrow: Pentagon 23">
            <a:extLst>
              <a:ext uri="{FF2B5EF4-FFF2-40B4-BE49-F238E27FC236}">
                <a16:creationId xmlns:a16="http://schemas.microsoft.com/office/drawing/2014/main" id="{76F281A1-92D1-4711-B276-5CF0CAE54716}"/>
              </a:ext>
            </a:extLst>
          </p:cNvPr>
          <p:cNvSpPr/>
          <p:nvPr/>
        </p:nvSpPr>
        <p:spPr>
          <a:xfrm>
            <a:off x="8269634" y="1541606"/>
            <a:ext cx="1770282" cy="459558"/>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7" b="1" dirty="0" err="1">
              <a:solidFill>
                <a:schemeClr val="tx1"/>
              </a:solidFill>
              <a:latin typeface="+mj-lt"/>
            </a:endParaRPr>
          </a:p>
        </p:txBody>
      </p:sp>
      <p:sp>
        <p:nvSpPr>
          <p:cNvPr id="25" name="Text Placeholder 14">
            <a:extLst>
              <a:ext uri="{FF2B5EF4-FFF2-40B4-BE49-F238E27FC236}">
                <a16:creationId xmlns:a16="http://schemas.microsoft.com/office/drawing/2014/main" id="{099D79A6-1469-4AA1-9C0E-0BC8CA64C0F5}"/>
              </a:ext>
            </a:extLst>
          </p:cNvPr>
          <p:cNvSpPr txBox="1">
            <a:spLocks/>
          </p:cNvSpPr>
          <p:nvPr/>
        </p:nvSpPr>
        <p:spPr>
          <a:xfrm>
            <a:off x="8418558" y="1637563"/>
            <a:ext cx="1578560" cy="341071"/>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bg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r>
              <a:rPr lang="en-US" sz="1543" dirty="0">
                <a:latin typeface="+mn-lt"/>
              </a:rPr>
              <a:t>Middle East</a:t>
            </a:r>
          </a:p>
        </p:txBody>
      </p:sp>
      <p:sp>
        <p:nvSpPr>
          <p:cNvPr id="15" name="Text Placeholder 14">
            <a:extLst>
              <a:ext uri="{FF2B5EF4-FFF2-40B4-BE49-F238E27FC236}">
                <a16:creationId xmlns:a16="http://schemas.microsoft.com/office/drawing/2014/main" id="{0857D901-14D0-4BBA-973B-AF3D5E65179A}"/>
              </a:ext>
            </a:extLst>
          </p:cNvPr>
          <p:cNvSpPr>
            <a:spLocks noGrp="1"/>
          </p:cNvSpPr>
          <p:nvPr>
            <p:ph type="body" sz="quarter" idx="41"/>
          </p:nvPr>
        </p:nvSpPr>
        <p:spPr>
          <a:xfrm>
            <a:off x="6489374" y="1607962"/>
            <a:ext cx="1578560" cy="341071"/>
          </a:xfrm>
        </p:spPr>
        <p:txBody>
          <a:bodyPr/>
          <a:lstStyle/>
          <a:p>
            <a:pPr>
              <a:buFontTx/>
            </a:pPr>
            <a:r>
              <a:rPr lang="en-US" dirty="0">
                <a:latin typeface="+mn-lt"/>
              </a:rPr>
              <a:t>Africa</a:t>
            </a:r>
          </a:p>
        </p:txBody>
      </p:sp>
      <p:sp>
        <p:nvSpPr>
          <p:cNvPr id="2" name="Rectangle: Folded Corner 1">
            <a:extLst>
              <a:ext uri="{FF2B5EF4-FFF2-40B4-BE49-F238E27FC236}">
                <a16:creationId xmlns:a16="http://schemas.microsoft.com/office/drawing/2014/main" id="{B25B593B-095D-79A0-868D-E7A77A163D52}"/>
              </a:ext>
            </a:extLst>
          </p:cNvPr>
          <p:cNvSpPr/>
          <p:nvPr/>
        </p:nvSpPr>
        <p:spPr>
          <a:xfrm>
            <a:off x="7888143" y="89051"/>
            <a:ext cx="2100664" cy="943192"/>
          </a:xfrm>
          <a:prstGeom prst="foldedCorne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WIP</a:t>
            </a:r>
            <a:endParaRPr lang="en-GB" sz="1600" b="1" dirty="0">
              <a:solidFill>
                <a:schemeClr val="tx1"/>
              </a:solidFill>
            </a:endParaRPr>
          </a:p>
        </p:txBody>
      </p:sp>
    </p:spTree>
    <p:extLst>
      <p:ext uri="{BB962C8B-B14F-4D97-AF65-F5344CB8AC3E}">
        <p14:creationId xmlns:p14="http://schemas.microsoft.com/office/powerpoint/2010/main" val="19673949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t 20" hidden="1">
            <a:extLst>
              <a:ext uri="{FF2B5EF4-FFF2-40B4-BE49-F238E27FC236}">
                <a16:creationId xmlns:a16="http://schemas.microsoft.com/office/drawing/2014/main" id="{F71C3072-09A7-5675-F665-12B14C623B21}"/>
              </a:ext>
            </a:extLst>
          </p:cNvPr>
          <p:cNvGraphicFramePr>
            <a:graphicFrameLocks noChangeAspect="1"/>
          </p:cNvGraphicFramePr>
          <p:nvPr>
            <p:custDataLst>
              <p:tags r:id="rId1"/>
            </p:custDataLst>
          </p:nvPr>
        </p:nvGraphicFramePr>
        <p:xfrm>
          <a:off x="307873" y="1750"/>
          <a:ext cx="1750" cy="1750"/>
        </p:xfrm>
        <a:graphic>
          <a:graphicData uri="http://schemas.openxmlformats.org/presentationml/2006/ole">
            <mc:AlternateContent xmlns:mc="http://schemas.openxmlformats.org/markup-compatibility/2006">
              <mc:Choice xmlns:v="urn:schemas-microsoft-com:vml" Requires="v">
                <p:oleObj name="Diapositive think-cell" r:id="rId3" imgW="425" imgH="424" progId="TCLayout.ActiveDocument.1">
                  <p:embed/>
                </p:oleObj>
              </mc:Choice>
              <mc:Fallback>
                <p:oleObj name="Diapositive think-cell" r:id="rId3" imgW="425" imgH="424" progId="TCLayout.ActiveDocument.1">
                  <p:embed/>
                  <p:pic>
                    <p:nvPicPr>
                      <p:cNvPr id="21" name="Objet 20" hidden="1">
                        <a:extLst>
                          <a:ext uri="{FF2B5EF4-FFF2-40B4-BE49-F238E27FC236}">
                            <a16:creationId xmlns:a16="http://schemas.microsoft.com/office/drawing/2014/main" id="{F71C3072-09A7-5675-F665-12B14C623B21}"/>
                          </a:ext>
                        </a:extLst>
                      </p:cNvPr>
                      <p:cNvPicPr/>
                      <p:nvPr/>
                    </p:nvPicPr>
                    <p:blipFill>
                      <a:blip r:embed="rId4"/>
                      <a:stretch>
                        <a:fillRect/>
                      </a:stretch>
                    </p:blipFill>
                    <p:spPr>
                      <a:xfrm>
                        <a:off x="307873" y="1750"/>
                        <a:ext cx="1750" cy="1750"/>
                      </a:xfrm>
                      <a:prstGeom prst="rect">
                        <a:avLst/>
                      </a:prstGeom>
                    </p:spPr>
                  </p:pic>
                </p:oleObj>
              </mc:Fallback>
            </mc:AlternateContent>
          </a:graphicData>
        </a:graphic>
      </p:graphicFrame>
      <p:pic>
        <p:nvPicPr>
          <p:cNvPr id="23554" name="Picture 2">
            <a:extLst>
              <a:ext uri="{FF2B5EF4-FFF2-40B4-BE49-F238E27FC236}">
                <a16:creationId xmlns:a16="http://schemas.microsoft.com/office/drawing/2014/main" id="{23949225-83D6-E4EF-DB0D-B8F411860825}"/>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tretch>
            <a:fillRect/>
          </a:stretch>
        </p:blipFill>
        <p:spPr bwMode="auto">
          <a:xfrm>
            <a:off x="798669" y="1736950"/>
            <a:ext cx="4283816" cy="1291966"/>
          </a:xfrm>
          <a:prstGeom prst="rect">
            <a:avLst/>
          </a:prstGeom>
          <a:noFill/>
          <a:extLst>
            <a:ext uri="{909E8E84-426E-40DD-AFC4-6F175D3DCCD1}">
              <a14:hiddenFill xmlns:a14="http://schemas.microsoft.com/office/drawing/2010/main">
                <a:solidFill>
                  <a:srgbClr val="FFFFFF"/>
                </a:solidFill>
              </a14:hiddenFill>
            </a:ext>
          </a:extLst>
        </p:spPr>
      </p:pic>
      <p:sp>
        <p:nvSpPr>
          <p:cNvPr id="24" name="Espace réservé du texte 23">
            <a:extLst>
              <a:ext uri="{FF2B5EF4-FFF2-40B4-BE49-F238E27FC236}">
                <a16:creationId xmlns:a16="http://schemas.microsoft.com/office/drawing/2014/main" id="{5DE527F9-6D40-8ECF-84EE-EB4663BB8943}"/>
              </a:ext>
            </a:extLst>
          </p:cNvPr>
          <p:cNvSpPr>
            <a:spLocks noGrp="1"/>
          </p:cNvSpPr>
          <p:nvPr>
            <p:ph type="body" sz="quarter" idx="16"/>
          </p:nvPr>
        </p:nvSpPr>
        <p:spPr>
          <a:xfrm>
            <a:off x="1508310" y="1481474"/>
            <a:ext cx="2864536" cy="340991"/>
          </a:xfrm>
        </p:spPr>
        <p:txBody>
          <a:bodyPr/>
          <a:lstStyle/>
          <a:p>
            <a:r>
              <a:rPr lang="en-US" dirty="0"/>
              <a:t>Analyzing num. Variables</a:t>
            </a:r>
          </a:p>
        </p:txBody>
      </p:sp>
      <p:sp>
        <p:nvSpPr>
          <p:cNvPr id="25" name="Espace réservé du texte 24">
            <a:extLst>
              <a:ext uri="{FF2B5EF4-FFF2-40B4-BE49-F238E27FC236}">
                <a16:creationId xmlns:a16="http://schemas.microsoft.com/office/drawing/2014/main" id="{09D232F7-8A96-C37A-07F9-AED5E9169222}"/>
              </a:ext>
            </a:extLst>
          </p:cNvPr>
          <p:cNvSpPr>
            <a:spLocks noGrp="1"/>
          </p:cNvSpPr>
          <p:nvPr>
            <p:ph type="body" sz="quarter" idx="17"/>
          </p:nvPr>
        </p:nvSpPr>
        <p:spPr>
          <a:xfrm>
            <a:off x="6318969" y="1440479"/>
            <a:ext cx="2615545" cy="346768"/>
          </a:xfrm>
        </p:spPr>
        <p:txBody>
          <a:bodyPr/>
          <a:lstStyle/>
          <a:p>
            <a:r>
              <a:rPr lang="en-US" dirty="0"/>
              <a:t>Bi-variate scatter plot</a:t>
            </a:r>
          </a:p>
        </p:txBody>
      </p:sp>
      <p:sp>
        <p:nvSpPr>
          <p:cNvPr id="28" name="Espace réservé du texte 27">
            <a:extLst>
              <a:ext uri="{FF2B5EF4-FFF2-40B4-BE49-F238E27FC236}">
                <a16:creationId xmlns:a16="http://schemas.microsoft.com/office/drawing/2014/main" id="{239C3966-786C-A4D2-C882-C17BBF31EEDD}"/>
              </a:ext>
            </a:extLst>
          </p:cNvPr>
          <p:cNvSpPr>
            <a:spLocks noGrp="1"/>
          </p:cNvSpPr>
          <p:nvPr>
            <p:ph type="body" sz="quarter" idx="20"/>
          </p:nvPr>
        </p:nvSpPr>
        <p:spPr>
          <a:xfrm>
            <a:off x="696876" y="4285150"/>
            <a:ext cx="4401673" cy="340991"/>
          </a:xfrm>
        </p:spPr>
        <p:txBody>
          <a:bodyPr/>
          <a:lstStyle/>
          <a:p>
            <a:r>
              <a:rPr lang="en-US" dirty="0"/>
              <a:t>Bi-variate Analysis for num. variables</a:t>
            </a:r>
          </a:p>
        </p:txBody>
      </p:sp>
      <p:sp>
        <p:nvSpPr>
          <p:cNvPr id="29" name="Espace réservé du texte 28">
            <a:extLst>
              <a:ext uri="{FF2B5EF4-FFF2-40B4-BE49-F238E27FC236}">
                <a16:creationId xmlns:a16="http://schemas.microsoft.com/office/drawing/2014/main" id="{74577B1F-01D7-242B-91AD-35EFE3B89ADE}"/>
              </a:ext>
            </a:extLst>
          </p:cNvPr>
          <p:cNvSpPr>
            <a:spLocks noGrp="1"/>
          </p:cNvSpPr>
          <p:nvPr>
            <p:ph type="body" sz="quarter" idx="21"/>
          </p:nvPr>
        </p:nvSpPr>
        <p:spPr>
          <a:xfrm>
            <a:off x="5742776" y="4278077"/>
            <a:ext cx="4081420" cy="346768"/>
          </a:xfrm>
        </p:spPr>
        <p:txBody>
          <a:bodyPr/>
          <a:lstStyle/>
          <a:p>
            <a:r>
              <a:rPr lang="en-US" dirty="0"/>
              <a:t>Bi-variate analysis for cat. variables</a:t>
            </a:r>
          </a:p>
        </p:txBody>
      </p:sp>
      <p:sp>
        <p:nvSpPr>
          <p:cNvPr id="3" name="Espace réservé du pied de page 2">
            <a:extLst>
              <a:ext uri="{FF2B5EF4-FFF2-40B4-BE49-F238E27FC236}">
                <a16:creationId xmlns:a16="http://schemas.microsoft.com/office/drawing/2014/main" id="{C78BC1F5-017F-FA79-80F5-91306B9D7DB0}"/>
              </a:ext>
            </a:extLst>
          </p:cNvPr>
          <p:cNvSpPr>
            <a:spLocks noGrp="1"/>
          </p:cNvSpPr>
          <p:nvPr>
            <p:ph type="ftr" sz="quarter" idx="22"/>
          </p:nvPr>
        </p:nvSpPr>
        <p:spPr/>
        <p:txBody>
          <a:bodyPr/>
          <a:lstStyle/>
          <a:p>
            <a:r>
              <a:rPr lang="en-US"/>
              <a:t>Sources:</a:t>
            </a:r>
            <a:endParaRPr lang="en-US" dirty="0"/>
          </a:p>
        </p:txBody>
      </p:sp>
      <p:sp>
        <p:nvSpPr>
          <p:cNvPr id="4" name="Espace réservé du numéro de diapositive 3">
            <a:extLst>
              <a:ext uri="{FF2B5EF4-FFF2-40B4-BE49-F238E27FC236}">
                <a16:creationId xmlns:a16="http://schemas.microsoft.com/office/drawing/2014/main" id="{B73ABBA1-5749-ACA6-AC8C-FCB95FCB5AC8}"/>
              </a:ext>
            </a:extLst>
          </p:cNvPr>
          <p:cNvSpPr>
            <a:spLocks noGrp="1"/>
          </p:cNvSpPr>
          <p:nvPr>
            <p:ph type="sldNum" sz="quarter" idx="23"/>
          </p:nvPr>
        </p:nvSpPr>
        <p:spPr/>
        <p:txBody>
          <a:bodyPr/>
          <a:lstStyle/>
          <a:p>
            <a:fld id="{D04A32BC-4AEA-4C75-B397-D319FFB728D1}" type="slidenum">
              <a:rPr lang="en-US" smtClean="0"/>
              <a:pPr/>
              <a:t>9</a:t>
            </a:fld>
            <a:endParaRPr lang="en-US" dirty="0"/>
          </a:p>
        </p:txBody>
      </p:sp>
      <p:sp>
        <p:nvSpPr>
          <p:cNvPr id="30" name="Espace réservé du texte 29">
            <a:extLst>
              <a:ext uri="{FF2B5EF4-FFF2-40B4-BE49-F238E27FC236}">
                <a16:creationId xmlns:a16="http://schemas.microsoft.com/office/drawing/2014/main" id="{6988006E-D473-0DB0-754A-960C18A559B0}"/>
              </a:ext>
            </a:extLst>
          </p:cNvPr>
          <p:cNvSpPr>
            <a:spLocks noGrp="1"/>
          </p:cNvSpPr>
          <p:nvPr>
            <p:ph type="body" sz="quarter" idx="24"/>
          </p:nvPr>
        </p:nvSpPr>
        <p:spPr>
          <a:xfrm>
            <a:off x="742247" y="812768"/>
            <a:ext cx="9149146" cy="631198"/>
          </a:xfrm>
        </p:spPr>
        <p:txBody>
          <a:bodyPr/>
          <a:lstStyle/>
          <a:p>
            <a:r>
              <a:rPr lang="en-US" sz="882" dirty="0"/>
              <a:t>The training dataset we collected has 8523 observations and 10 columns. Item Weight and Outlet Size revealed substantial number of missing values, specifically outlet size that is a n important feature. After understanding the business problem, the next step to follow is to have a better understanding of the dataset, i.e., what is the distribution of the variables, what are different relationships that exist between variables, etc. We will also treat anomalies like missing values or outliers. Part of this analysis is available in the below graphs</a:t>
            </a:r>
          </a:p>
        </p:txBody>
      </p:sp>
      <p:sp>
        <p:nvSpPr>
          <p:cNvPr id="22" name="Titre 21">
            <a:extLst>
              <a:ext uri="{FF2B5EF4-FFF2-40B4-BE49-F238E27FC236}">
                <a16:creationId xmlns:a16="http://schemas.microsoft.com/office/drawing/2014/main" id="{04F9FC34-B764-E5D1-77E1-EB543E495784}"/>
              </a:ext>
            </a:extLst>
          </p:cNvPr>
          <p:cNvSpPr>
            <a:spLocks noGrp="1"/>
          </p:cNvSpPr>
          <p:nvPr>
            <p:ph type="title"/>
          </p:nvPr>
        </p:nvSpPr>
        <p:spPr>
          <a:xfrm>
            <a:off x="493392" y="548381"/>
            <a:ext cx="9704877" cy="366447"/>
          </a:xfrm>
        </p:spPr>
        <p:txBody>
          <a:bodyPr vert="horz"/>
          <a:lstStyle/>
          <a:p>
            <a:r>
              <a:rPr lang="en-US" dirty="0"/>
              <a:t>Analyzing and cleaning data</a:t>
            </a:r>
          </a:p>
        </p:txBody>
      </p:sp>
      <p:pic>
        <p:nvPicPr>
          <p:cNvPr id="23556" name="Picture 4">
            <a:extLst>
              <a:ext uri="{FF2B5EF4-FFF2-40B4-BE49-F238E27FC236}">
                <a16:creationId xmlns:a16="http://schemas.microsoft.com/office/drawing/2014/main" id="{10D6DAFE-72C1-57FF-AA48-43E68E9A5163}"/>
              </a:ext>
            </a:extLst>
          </p:cNvPr>
          <p:cNvPicPr>
            <a:picLocks noGrp="1" noChangeAspect="1" noChangeArrowheads="1"/>
          </p:cNvPicPr>
          <p:nvPr>
            <p:ph idx="18"/>
          </p:nvPr>
        </p:nvPicPr>
        <p:blipFill>
          <a:blip r:embed="rId6">
            <a:extLst>
              <a:ext uri="{28A0092B-C50C-407E-A947-70E740481C1C}">
                <a14:useLocalDpi xmlns:a14="http://schemas.microsoft.com/office/drawing/2010/main" val="0"/>
              </a:ext>
            </a:extLst>
          </a:blip>
          <a:srcRect/>
          <a:stretch>
            <a:fillRect/>
          </a:stretch>
        </p:blipFill>
        <p:spPr bwMode="auto">
          <a:xfrm>
            <a:off x="771258" y="4624846"/>
            <a:ext cx="4282066" cy="1423872"/>
          </a:xfrm>
          <a:prstGeom prst="rect">
            <a:avLst/>
          </a:prstGeom>
          <a:noFill/>
          <a:extLst>
            <a:ext uri="{909E8E84-426E-40DD-AFC4-6F175D3DCCD1}">
              <a14:hiddenFill xmlns:a14="http://schemas.microsoft.com/office/drawing/2010/main">
                <a:solidFill>
                  <a:srgbClr val="FFFFFF"/>
                </a:solidFill>
              </a14:hiddenFill>
            </a:ext>
          </a:extLst>
        </p:spPr>
      </p:pic>
      <p:pic>
        <p:nvPicPr>
          <p:cNvPr id="23558" name="Picture 6">
            <a:extLst>
              <a:ext uri="{FF2B5EF4-FFF2-40B4-BE49-F238E27FC236}">
                <a16:creationId xmlns:a16="http://schemas.microsoft.com/office/drawing/2014/main" id="{60AADC8E-0DD0-14B5-70B4-9A08BBE9E576}"/>
              </a:ext>
            </a:extLst>
          </p:cNvPr>
          <p:cNvPicPr>
            <a:picLocks noGrp="1" noChangeAspect="1" noChangeArrowheads="1"/>
          </p:cNvPicPr>
          <p:nvPr>
            <p:ph idx="19"/>
          </p:nvPr>
        </p:nvPicPr>
        <p:blipFill>
          <a:blip r:embed="rId7">
            <a:extLst>
              <a:ext uri="{28A0092B-C50C-407E-A947-70E740481C1C}">
                <a14:useLocalDpi xmlns:a14="http://schemas.microsoft.com/office/drawing/2010/main" val="0"/>
              </a:ext>
            </a:extLst>
          </a:blip>
          <a:srcRect/>
          <a:stretch>
            <a:fillRect/>
          </a:stretch>
        </p:blipFill>
        <p:spPr bwMode="auto">
          <a:xfrm>
            <a:off x="5446385" y="1713526"/>
            <a:ext cx="4282065" cy="1291967"/>
          </a:xfrm>
          <a:prstGeom prst="rect">
            <a:avLst/>
          </a:prstGeom>
          <a:noFill/>
          <a:extLst>
            <a:ext uri="{909E8E84-426E-40DD-AFC4-6F175D3DCCD1}">
              <a14:hiddenFill xmlns:a14="http://schemas.microsoft.com/office/drawing/2010/main">
                <a:solidFill>
                  <a:srgbClr val="FFFFFF"/>
                </a:solidFill>
              </a14:hiddenFill>
            </a:ext>
          </a:extLst>
        </p:spPr>
      </p:pic>
      <p:pic>
        <p:nvPicPr>
          <p:cNvPr id="23562" name="Picture 10">
            <a:extLst>
              <a:ext uri="{FF2B5EF4-FFF2-40B4-BE49-F238E27FC236}">
                <a16:creationId xmlns:a16="http://schemas.microsoft.com/office/drawing/2014/main" id="{3DD75633-D549-B243-579D-67DFD9659A8A}"/>
              </a:ext>
            </a:extLst>
          </p:cNvPr>
          <p:cNvPicPr>
            <a:picLocks noGrp="1" noChangeAspect="1" noChangeArrowheads="1"/>
          </p:cNvPicPr>
          <p:nvPr>
            <p:ph idx="10"/>
          </p:nvPr>
        </p:nvPicPr>
        <p:blipFill>
          <a:blip r:embed="rId8">
            <a:extLst>
              <a:ext uri="{28A0092B-C50C-407E-A947-70E740481C1C}">
                <a14:useLocalDpi xmlns:a14="http://schemas.microsoft.com/office/drawing/2010/main" val="0"/>
              </a:ext>
            </a:extLst>
          </a:blip>
          <a:srcRect/>
          <a:stretch>
            <a:fillRect/>
          </a:stretch>
        </p:blipFill>
        <p:spPr bwMode="auto">
          <a:xfrm>
            <a:off x="5542130" y="4713305"/>
            <a:ext cx="4282065" cy="1218175"/>
          </a:xfrm>
          <a:prstGeom prst="rect">
            <a:avLst/>
          </a:prstGeom>
          <a:noFill/>
          <a:extLst>
            <a:ext uri="{909E8E84-426E-40DD-AFC4-6F175D3DCCD1}">
              <a14:hiddenFill xmlns:a14="http://schemas.microsoft.com/office/drawing/2010/main">
                <a:solidFill>
                  <a:srgbClr val="FFFFFF"/>
                </a:solidFill>
              </a14:hiddenFill>
            </a:ext>
          </a:extLst>
        </p:spPr>
      </p:pic>
      <p:sp>
        <p:nvSpPr>
          <p:cNvPr id="37" name="ZoneTexte 36">
            <a:extLst>
              <a:ext uri="{FF2B5EF4-FFF2-40B4-BE49-F238E27FC236}">
                <a16:creationId xmlns:a16="http://schemas.microsoft.com/office/drawing/2014/main" id="{1521424F-A23A-DC08-E3FB-198A00E4224A}"/>
              </a:ext>
            </a:extLst>
          </p:cNvPr>
          <p:cNvSpPr txBox="1"/>
          <p:nvPr/>
        </p:nvSpPr>
        <p:spPr>
          <a:xfrm>
            <a:off x="674550" y="3115352"/>
            <a:ext cx="4671281" cy="771045"/>
          </a:xfrm>
          <a:prstGeom prst="rect">
            <a:avLst/>
          </a:prstGeom>
          <a:noFill/>
        </p:spPr>
        <p:txBody>
          <a:bodyPr wrap="square" rtlCol="0">
            <a:spAutoFit/>
          </a:bodyPr>
          <a:lstStyle/>
          <a:p>
            <a:pPr algn="just"/>
            <a:r>
              <a:rPr lang="en-US" sz="882" dirty="0">
                <a:latin typeface="+mn-lt"/>
              </a:rPr>
              <a:t>The variable </a:t>
            </a:r>
            <a:r>
              <a:rPr lang="en-US" sz="882" b="1" dirty="0" err="1">
                <a:latin typeface="+mn-lt"/>
              </a:rPr>
              <a:t>Item_Weight</a:t>
            </a:r>
            <a:r>
              <a:rPr lang="en-US" sz="882" b="1" dirty="0">
                <a:latin typeface="+mn-lt"/>
              </a:rPr>
              <a:t> </a:t>
            </a:r>
            <a:r>
              <a:rPr lang="en-US" sz="882" dirty="0">
                <a:latin typeface="+mn-lt"/>
              </a:rPr>
              <a:t>is </a:t>
            </a:r>
            <a:r>
              <a:rPr lang="en-US" sz="882" dirty="0" err="1">
                <a:latin typeface="+mn-lt"/>
              </a:rPr>
              <a:t>approx</a:t>
            </a:r>
            <a:r>
              <a:rPr lang="en-US" sz="882" dirty="0">
                <a:latin typeface="+mn-lt"/>
              </a:rPr>
              <a:t> </a:t>
            </a:r>
            <a:r>
              <a:rPr lang="en-US" sz="882" b="1" dirty="0">
                <a:latin typeface="+mn-lt"/>
              </a:rPr>
              <a:t>uniformly distributed </a:t>
            </a:r>
            <a:r>
              <a:rPr lang="en-US" sz="882" dirty="0">
                <a:latin typeface="+mn-lt"/>
              </a:rPr>
              <a:t>and we will need to keep in mind when we will impute the missing values for this column, so we don't end up changing the distribution significantly after imputing. The variable </a:t>
            </a:r>
            <a:r>
              <a:rPr lang="en-US" sz="882" b="1" dirty="0" err="1">
                <a:latin typeface="+mn-lt"/>
              </a:rPr>
              <a:t>Item_Visibility</a:t>
            </a:r>
            <a:r>
              <a:rPr lang="en-US" sz="882" b="1" dirty="0">
                <a:latin typeface="+mn-lt"/>
              </a:rPr>
              <a:t> </a:t>
            </a:r>
            <a:r>
              <a:rPr lang="en-US" sz="882" dirty="0">
                <a:latin typeface="+mn-lt"/>
              </a:rPr>
              <a:t>is a </a:t>
            </a:r>
            <a:r>
              <a:rPr lang="en-US" sz="882" b="1" dirty="0">
                <a:latin typeface="+mn-lt"/>
              </a:rPr>
              <a:t>right-skewed</a:t>
            </a:r>
            <a:r>
              <a:rPr lang="en-US" sz="882" dirty="0">
                <a:latin typeface="+mn-lt"/>
              </a:rPr>
              <a:t> distribution which means that there are more visible Items. The variable of products prices is following an </a:t>
            </a:r>
            <a:r>
              <a:rPr lang="en-US" sz="882" dirty="0" err="1">
                <a:latin typeface="+mn-lt"/>
              </a:rPr>
              <a:t>approx</a:t>
            </a:r>
            <a:r>
              <a:rPr lang="en-US" sz="882" dirty="0">
                <a:latin typeface="+mn-lt"/>
              </a:rPr>
              <a:t> multi-modal normal distribution.</a:t>
            </a:r>
          </a:p>
        </p:txBody>
      </p:sp>
      <p:sp>
        <p:nvSpPr>
          <p:cNvPr id="38" name="ZoneTexte 37">
            <a:extLst>
              <a:ext uri="{FF2B5EF4-FFF2-40B4-BE49-F238E27FC236}">
                <a16:creationId xmlns:a16="http://schemas.microsoft.com/office/drawing/2014/main" id="{B8948B13-9B6C-50D8-4DFB-103D7B6F6ED0}"/>
              </a:ext>
            </a:extLst>
          </p:cNvPr>
          <p:cNvSpPr txBox="1"/>
          <p:nvPr/>
        </p:nvSpPr>
        <p:spPr>
          <a:xfrm>
            <a:off x="656141" y="5969792"/>
            <a:ext cx="3913188" cy="499560"/>
          </a:xfrm>
          <a:prstGeom prst="rect">
            <a:avLst/>
          </a:prstGeom>
          <a:noFill/>
        </p:spPr>
        <p:txBody>
          <a:bodyPr wrap="square" rtlCol="0">
            <a:spAutoFit/>
          </a:bodyPr>
          <a:lstStyle/>
          <a:p>
            <a:pPr algn="just"/>
            <a:r>
              <a:rPr lang="en-US" sz="882" dirty="0">
                <a:solidFill>
                  <a:srgbClr val="212121"/>
                </a:solidFill>
                <a:latin typeface="+mn-lt"/>
              </a:rPr>
              <a:t>it seems that only the independent variable </a:t>
            </a:r>
            <a:r>
              <a:rPr lang="en-US" sz="882" b="1" dirty="0" err="1">
                <a:solidFill>
                  <a:srgbClr val="212121"/>
                </a:solidFill>
                <a:latin typeface="+mn-lt"/>
              </a:rPr>
              <a:t>Item_MRP</a:t>
            </a:r>
            <a:r>
              <a:rPr lang="en-US" sz="882" dirty="0">
                <a:solidFill>
                  <a:srgbClr val="212121"/>
                </a:solidFill>
                <a:latin typeface="+mn-lt"/>
              </a:rPr>
              <a:t> has a moderate linear relationship with the target </a:t>
            </a:r>
            <a:r>
              <a:rPr lang="en-US" sz="882" b="1" dirty="0" err="1">
                <a:solidFill>
                  <a:srgbClr val="212121"/>
                </a:solidFill>
                <a:latin typeface="+mn-lt"/>
              </a:rPr>
              <a:t>Item_Outlet_Sales</a:t>
            </a:r>
            <a:r>
              <a:rPr lang="en-US" sz="882" dirty="0">
                <a:solidFill>
                  <a:srgbClr val="212121"/>
                </a:solidFill>
                <a:latin typeface="+mn-lt"/>
              </a:rPr>
              <a:t>.</a:t>
            </a:r>
          </a:p>
          <a:p>
            <a:pPr algn="just"/>
            <a:r>
              <a:rPr lang="en-US" sz="882" dirty="0">
                <a:solidFill>
                  <a:srgbClr val="212121"/>
                </a:solidFill>
                <a:latin typeface="+mn-lt"/>
              </a:rPr>
              <a:t>There is no </a:t>
            </a:r>
            <a:r>
              <a:rPr lang="en-US" sz="882" b="1" dirty="0">
                <a:solidFill>
                  <a:srgbClr val="212121"/>
                </a:solidFill>
                <a:latin typeface="+mn-lt"/>
              </a:rPr>
              <a:t>co-linearity</a:t>
            </a:r>
            <a:r>
              <a:rPr lang="en-US" sz="882" dirty="0">
                <a:solidFill>
                  <a:srgbClr val="212121"/>
                </a:solidFill>
                <a:latin typeface="+mn-lt"/>
              </a:rPr>
              <a:t> between features.</a:t>
            </a:r>
            <a:endParaRPr lang="en-US" sz="882" dirty="0">
              <a:latin typeface="+mn-lt"/>
            </a:endParaRPr>
          </a:p>
        </p:txBody>
      </p:sp>
      <p:sp>
        <p:nvSpPr>
          <p:cNvPr id="39" name="ZoneTexte 38">
            <a:extLst>
              <a:ext uri="{FF2B5EF4-FFF2-40B4-BE49-F238E27FC236}">
                <a16:creationId xmlns:a16="http://schemas.microsoft.com/office/drawing/2014/main" id="{9AF94258-0A7A-1600-7DCA-0313AEB5C7CF}"/>
              </a:ext>
            </a:extLst>
          </p:cNvPr>
          <p:cNvSpPr txBox="1"/>
          <p:nvPr/>
        </p:nvSpPr>
        <p:spPr>
          <a:xfrm>
            <a:off x="5443275" y="3115352"/>
            <a:ext cx="4671278" cy="1042529"/>
          </a:xfrm>
          <a:prstGeom prst="rect">
            <a:avLst/>
          </a:prstGeom>
          <a:noFill/>
        </p:spPr>
        <p:txBody>
          <a:bodyPr wrap="square" rtlCol="0">
            <a:spAutoFit/>
          </a:bodyPr>
          <a:lstStyle/>
          <a:p>
            <a:pPr algn="just"/>
            <a:r>
              <a:rPr lang="en-US" sz="882" dirty="0">
                <a:latin typeface="+mn-lt"/>
              </a:rPr>
              <a:t>The first scatter plot shows the data is completely random and there is no relationship between Item Weight and target.</a:t>
            </a:r>
            <a:br>
              <a:rPr lang="en-US" sz="882" dirty="0">
                <a:latin typeface="+mn-lt"/>
              </a:rPr>
            </a:br>
            <a:r>
              <a:rPr lang="en-US" sz="882" dirty="0">
                <a:latin typeface="+mn-lt"/>
              </a:rPr>
              <a:t>The second scatter plot between Item Visibility and target shows some kind of pattern, as the Item Visibility increases from 0.19, the sales decrease. This might be due to the management giving more visibility to those items which are not generally sold often.</a:t>
            </a:r>
            <a:br>
              <a:rPr lang="en-US" sz="882" dirty="0">
                <a:latin typeface="+mn-lt"/>
              </a:rPr>
            </a:br>
            <a:r>
              <a:rPr lang="en-US" sz="882" dirty="0">
                <a:latin typeface="+mn-lt"/>
              </a:rPr>
              <a:t>The third scatter plot is between the variables - </a:t>
            </a:r>
            <a:r>
              <a:rPr lang="en-US" sz="882" dirty="0" err="1">
                <a:latin typeface="+mn-lt"/>
              </a:rPr>
              <a:t>Item_MRP</a:t>
            </a:r>
            <a:r>
              <a:rPr lang="en-US" sz="882" dirty="0">
                <a:latin typeface="+mn-lt"/>
              </a:rPr>
              <a:t> and target. The variable </a:t>
            </a:r>
            <a:r>
              <a:rPr lang="en-US" sz="882" b="1" dirty="0" err="1">
                <a:latin typeface="+mn-lt"/>
              </a:rPr>
              <a:t>Item_MRP</a:t>
            </a:r>
            <a:r>
              <a:rPr lang="en-US" sz="882" b="1" dirty="0">
                <a:latin typeface="+mn-lt"/>
              </a:rPr>
              <a:t> </a:t>
            </a:r>
            <a:r>
              <a:rPr lang="en-US" sz="882" dirty="0">
                <a:latin typeface="+mn-lt"/>
              </a:rPr>
              <a:t>will have a </a:t>
            </a:r>
            <a:r>
              <a:rPr lang="en-US" sz="882" b="1" dirty="0">
                <a:latin typeface="+mn-lt"/>
              </a:rPr>
              <a:t>good predictive power </a:t>
            </a:r>
            <a:r>
              <a:rPr lang="en-US" sz="882" dirty="0">
                <a:latin typeface="+mn-lt"/>
              </a:rPr>
              <a:t>to predict the sales.</a:t>
            </a:r>
          </a:p>
        </p:txBody>
      </p:sp>
      <p:sp>
        <p:nvSpPr>
          <p:cNvPr id="40" name="ZoneTexte 39">
            <a:extLst>
              <a:ext uri="{FF2B5EF4-FFF2-40B4-BE49-F238E27FC236}">
                <a16:creationId xmlns:a16="http://schemas.microsoft.com/office/drawing/2014/main" id="{8AE31DAC-93D2-361E-FDB4-A91B689625C9}"/>
              </a:ext>
            </a:extLst>
          </p:cNvPr>
          <p:cNvSpPr txBox="1"/>
          <p:nvPr/>
        </p:nvSpPr>
        <p:spPr>
          <a:xfrm>
            <a:off x="5443275" y="5813940"/>
            <a:ext cx="4592397" cy="771045"/>
          </a:xfrm>
          <a:prstGeom prst="rect">
            <a:avLst/>
          </a:prstGeom>
          <a:noFill/>
        </p:spPr>
        <p:txBody>
          <a:bodyPr wrap="square" rtlCol="0">
            <a:spAutoFit/>
          </a:bodyPr>
          <a:lstStyle/>
          <a:p>
            <a:pPr algn="just"/>
            <a:endParaRPr lang="en-US" sz="882" dirty="0">
              <a:latin typeface="+mn-lt"/>
            </a:endParaRPr>
          </a:p>
          <a:p>
            <a:pPr algn="just"/>
            <a:r>
              <a:rPr lang="en-US" sz="882" dirty="0">
                <a:latin typeface="+mn-lt"/>
              </a:rPr>
              <a:t>We observe from the above heatmap that all the grocery stores have </a:t>
            </a:r>
            <a:r>
              <a:rPr lang="en-US" sz="882" dirty="0" err="1">
                <a:latin typeface="+mn-lt"/>
              </a:rPr>
              <a:t>Outlet_Size</a:t>
            </a:r>
            <a:r>
              <a:rPr lang="en-US" sz="882" dirty="0">
                <a:latin typeface="+mn-lt"/>
              </a:rPr>
              <a:t> as small.</a:t>
            </a:r>
          </a:p>
          <a:p>
            <a:pPr algn="just"/>
            <a:r>
              <a:rPr lang="en-US" sz="882" dirty="0">
                <a:latin typeface="+mn-lt"/>
              </a:rPr>
              <a:t>All the Supermarket Type 2 and Supermarket Type 3 have </a:t>
            </a:r>
            <a:r>
              <a:rPr lang="en-US" sz="882" dirty="0" err="1">
                <a:latin typeface="+mn-lt"/>
              </a:rPr>
              <a:t>Outlet_Size</a:t>
            </a:r>
            <a:r>
              <a:rPr lang="en-US" sz="882" dirty="0">
                <a:latin typeface="+mn-lt"/>
              </a:rPr>
              <a:t> as Medium.</a:t>
            </a:r>
            <a:br>
              <a:rPr lang="en-US" sz="882" dirty="0">
                <a:latin typeface="+mn-lt"/>
              </a:rPr>
            </a:br>
            <a:r>
              <a:rPr lang="en-US" sz="882" dirty="0">
                <a:latin typeface="+mn-lt"/>
              </a:rPr>
              <a:t>This </a:t>
            </a:r>
            <a:r>
              <a:rPr lang="en-US" sz="882" dirty="0" err="1">
                <a:latin typeface="+mn-lt"/>
              </a:rPr>
              <a:t>informations</a:t>
            </a:r>
            <a:r>
              <a:rPr lang="en-US" sz="882" dirty="0">
                <a:latin typeface="+mn-lt"/>
              </a:rPr>
              <a:t> are used to </a:t>
            </a:r>
            <a:r>
              <a:rPr lang="en-US" sz="882" b="1" dirty="0">
                <a:latin typeface="+mn-lt"/>
              </a:rPr>
              <a:t>impute missing values for </a:t>
            </a:r>
            <a:r>
              <a:rPr lang="en-US" sz="882" b="1" dirty="0" err="1">
                <a:latin typeface="+mn-lt"/>
              </a:rPr>
              <a:t>Outlet_Size</a:t>
            </a:r>
            <a:r>
              <a:rPr lang="en-US" sz="882" dirty="0">
                <a:latin typeface="+mn-lt"/>
              </a:rPr>
              <a:t>.</a:t>
            </a:r>
          </a:p>
        </p:txBody>
      </p:sp>
    </p:spTree>
    <p:extLst>
      <p:ext uri="{BB962C8B-B14F-4D97-AF65-F5344CB8AC3E}">
        <p14:creationId xmlns:p14="http://schemas.microsoft.com/office/powerpoint/2010/main" val="1979881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syFPzzbQuajhlZ.EouK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KQjxupgRbiZc_wUwF8f7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syFPzzbQuajhlZ.EouKC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18</TotalTime>
  <Words>2116</Words>
  <Application>Microsoft Office PowerPoint</Application>
  <PresentationFormat>Custom</PresentationFormat>
  <Paragraphs>191</Paragraphs>
  <Slides>11</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0" baseType="lpstr">
      <vt:lpstr>Franklin Gothic</vt:lpstr>
      <vt:lpstr>Wingdings</vt:lpstr>
      <vt:lpstr>Open Sans</vt:lpstr>
      <vt:lpstr>Libre Franklin</vt:lpstr>
      <vt:lpstr>Arial</vt:lpstr>
      <vt:lpstr>Calibri</vt:lpstr>
      <vt:lpstr>Noto Sans Symbols</vt:lpstr>
      <vt:lpstr>Office Theme</vt:lpstr>
      <vt:lpstr>Diapositive think-cell</vt:lpstr>
      <vt:lpstr>PowerPoint Presentation</vt:lpstr>
      <vt:lpstr>PowerPoint Presentation</vt:lpstr>
      <vt:lpstr>PowerPoint Presentation</vt:lpstr>
      <vt:lpstr>PowerPoint Presentation</vt:lpstr>
      <vt:lpstr>Time Series Analysis: Real Estate</vt:lpstr>
      <vt:lpstr>PowerPoint Presentation</vt:lpstr>
      <vt:lpstr>Price Estimation App</vt:lpstr>
      <vt:lpstr>Time Series Analysis: MART SALES PREDICTIONS</vt:lpstr>
      <vt:lpstr>Analyzing and cleaning data</vt:lpstr>
      <vt:lpstr>Modelling linear regres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Title</dc:title>
  <dc:creator>User1</dc:creator>
  <cp:lastModifiedBy>OLUDAYO ABASS</cp:lastModifiedBy>
  <cp:revision>6</cp:revision>
  <dcterms:created xsi:type="dcterms:W3CDTF">2022-09-30T10:53:53Z</dcterms:created>
  <dcterms:modified xsi:type="dcterms:W3CDTF">2023-03-09T17:53:24Z</dcterms:modified>
</cp:coreProperties>
</file>